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2"/>
  </p:notesMasterIdLst>
  <p:handoutMasterIdLst>
    <p:handoutMasterId r:id="rId23"/>
  </p:handoutMasterIdLst>
  <p:sldIdLst>
    <p:sldId id="257" r:id="rId2"/>
    <p:sldId id="300" r:id="rId3"/>
    <p:sldId id="386" r:id="rId4"/>
    <p:sldId id="302" r:id="rId5"/>
    <p:sldId id="303" r:id="rId6"/>
    <p:sldId id="267" r:id="rId7"/>
    <p:sldId id="387" r:id="rId8"/>
    <p:sldId id="269" r:id="rId9"/>
    <p:sldId id="389" r:id="rId10"/>
    <p:sldId id="273" r:id="rId11"/>
    <p:sldId id="276" r:id="rId12"/>
    <p:sldId id="418" r:id="rId13"/>
    <p:sldId id="419" r:id="rId14"/>
    <p:sldId id="420" r:id="rId15"/>
    <p:sldId id="421" r:id="rId16"/>
    <p:sldId id="422" r:id="rId17"/>
    <p:sldId id="423" r:id="rId18"/>
    <p:sldId id="424" r:id="rId19"/>
    <p:sldId id="260" r:id="rId20"/>
    <p:sldId id="425" r:id="rId21"/>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0378A1"/>
    <a:srgbClr val="0099CC"/>
    <a:srgbClr val="00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55" autoAdjust="0"/>
    <p:restoredTop sz="96311" autoAdjust="0"/>
  </p:normalViewPr>
  <p:slideViewPr>
    <p:cSldViewPr>
      <p:cViewPr>
        <p:scale>
          <a:sx n="70" d="100"/>
          <a:sy n="70" d="100"/>
        </p:scale>
        <p:origin x="-1380" y="-72"/>
      </p:cViewPr>
      <p:guideLst>
        <p:guide orient="horz" pos="2208"/>
        <p:guide pos="2940"/>
      </p:guideLst>
    </p:cSldViewPr>
  </p:slideViewPr>
  <p:outlineViewPr>
    <p:cViewPr>
      <p:scale>
        <a:sx n="33" d="100"/>
        <a:sy n="33" d="100"/>
      </p:scale>
      <p:origin x="0" y="4698"/>
    </p:cViewPr>
  </p:outlineViewPr>
  <p:notesTextViewPr>
    <p:cViewPr>
      <p:scale>
        <a:sx n="1" d="1"/>
        <a:sy n="1" d="1"/>
      </p:scale>
      <p:origin x="0" y="0"/>
    </p:cViewPr>
  </p:notesTextViewPr>
  <p:notesViewPr>
    <p:cSldViewPr>
      <p:cViewPr varScale="1">
        <p:scale>
          <a:sx n="41" d="100"/>
          <a:sy n="41" d="100"/>
        </p:scale>
        <p:origin x="-2395" y="-82"/>
      </p:cViewPr>
      <p:guideLst>
        <p:guide orient="horz" pos="2944"/>
        <p:guide pos="22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17/10/1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411612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E152DDD-48EF-4D21-B760-EB45F4B1B071}" type="datetimeFigureOut">
              <a:rPr lang="fr-FR" smtClean="0"/>
              <a:t>13/10/2017</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Tree>
    <p:extLst>
      <p:ext uri="{BB962C8B-B14F-4D97-AF65-F5344CB8AC3E}">
        <p14:creationId xmlns:p14="http://schemas.microsoft.com/office/powerpoint/2010/main" val="1432595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5632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fr-FR" altLang="fr-FR" dirty="0" smtClean="0"/>
          </a:p>
        </p:txBody>
      </p:sp>
      <p:sp>
        <p:nvSpPr>
          <p:cNvPr id="46084" name="Espace réservé du numéro de diapositive 3"/>
          <p:cNvSpPr>
            <a:spLocks noGrp="1"/>
          </p:cNvSpPr>
          <p:nvPr>
            <p:ph type="sldNum" sz="quarter" idx="5"/>
          </p:nvPr>
        </p:nvSpPr>
        <p:spPr bwMode="auto">
          <a:xfrm>
            <a:off x="3884613" y="8685213"/>
            <a:ext cx="2971800" cy="45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fld id="{A001846B-242A-4817-B6F6-A1EEED9AEAA0}" type="slidenum">
              <a:rPr lang="fr-FR" altLang="fr-FR" smtClean="0"/>
              <a:t>1</a:t>
            </a:fld>
            <a:endParaRPr lang="fr-FR" altLang="fr-FR"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5734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fr-FR" altLang="fr-FR" dirty="0" smtClean="0"/>
          </a:p>
        </p:txBody>
      </p:sp>
      <p:sp>
        <p:nvSpPr>
          <p:cNvPr id="47108" name="Espace réservé du numéro de diapositive 3"/>
          <p:cNvSpPr>
            <a:spLocks noGrp="1"/>
          </p:cNvSpPr>
          <p:nvPr>
            <p:ph type="sldNum" sz="quarter" idx="5"/>
          </p:nvPr>
        </p:nvSpPr>
        <p:spPr bwMode="auto">
          <a:xfrm>
            <a:off x="3884613" y="8685213"/>
            <a:ext cx="2971800" cy="45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fld id="{DCA5F5E2-F2B1-4B14-9F65-FF0381AE5E8F}" type="slidenum">
              <a:rPr lang="fr-FR" altLang="fr-FR" smtClean="0"/>
              <a:t>2</a:t>
            </a:fld>
            <a:endParaRPr lang="fr-FR" altLang="fr-FR"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5734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fr-FR" altLang="fr-FR" dirty="0" smtClean="0"/>
          </a:p>
        </p:txBody>
      </p:sp>
      <p:sp>
        <p:nvSpPr>
          <p:cNvPr id="47108" name="Espace réservé du numéro de diapositive 3"/>
          <p:cNvSpPr>
            <a:spLocks noGrp="1"/>
          </p:cNvSpPr>
          <p:nvPr>
            <p:ph type="sldNum" sz="quarter" idx="5"/>
          </p:nvPr>
        </p:nvSpPr>
        <p:spPr bwMode="auto">
          <a:xfrm>
            <a:off x="3884613" y="8685213"/>
            <a:ext cx="2971800" cy="45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fld id="{DCA5F5E2-F2B1-4B14-9F65-FF0381AE5E8F}" type="slidenum">
              <a:rPr lang="fr-FR" altLang="fr-FR" smtClean="0"/>
              <a:t>4</a:t>
            </a:fld>
            <a:endParaRPr lang="fr-FR" altLang="fr-FR"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5734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fr-FR" altLang="fr-FR" dirty="0" smtClean="0"/>
          </a:p>
        </p:txBody>
      </p:sp>
      <p:sp>
        <p:nvSpPr>
          <p:cNvPr id="47108" name="Espace réservé du numéro de diapositive 3"/>
          <p:cNvSpPr>
            <a:spLocks noGrp="1"/>
          </p:cNvSpPr>
          <p:nvPr>
            <p:ph type="sldNum" sz="quarter" idx="5"/>
          </p:nvPr>
        </p:nvSpPr>
        <p:spPr bwMode="auto">
          <a:xfrm>
            <a:off x="3884613" y="8685213"/>
            <a:ext cx="2971800" cy="45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fld id="{DCA5F5E2-F2B1-4B14-9F65-FF0381AE5E8F}" type="slidenum">
              <a:rPr lang="fr-FR" altLang="fr-FR" smtClean="0"/>
              <a:t>5</a:t>
            </a:fld>
            <a:endParaRPr lang="fr-FR" altLang="fr-FR"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5734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fr-FR" altLang="fr-FR" dirty="0" smtClean="0"/>
          </a:p>
        </p:txBody>
      </p:sp>
      <p:sp>
        <p:nvSpPr>
          <p:cNvPr id="47108" name="Espace réservé du numéro de diapositive 3"/>
          <p:cNvSpPr>
            <a:spLocks noGrp="1"/>
          </p:cNvSpPr>
          <p:nvPr>
            <p:ph type="sldNum" sz="quarter" idx="5"/>
          </p:nvPr>
        </p:nvSpPr>
        <p:spPr bwMode="auto">
          <a:xfrm>
            <a:off x="3884613" y="8685213"/>
            <a:ext cx="2971800" cy="45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fld id="{DCA5F5E2-F2B1-4B14-9F65-FF0381AE5E8F}" type="slidenum">
              <a:rPr lang="fr-FR" altLang="fr-FR" smtClean="0"/>
              <a:t>12</a:t>
            </a:fld>
            <a:endParaRPr lang="fr-FR" altLang="fr-FR"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758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fr-FR" smtClean="0"/>
          </a:p>
        </p:txBody>
      </p:sp>
      <p:sp>
        <p:nvSpPr>
          <p:cNvPr id="67588" name="Espace réservé du numéro de diapositive 3"/>
          <p:cNvSpPr>
            <a:spLocks noGrp="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eaLnBrk="0" hangingPunct="0">
              <a:spcBef>
                <a:spcPct val="30000"/>
              </a:spcBef>
              <a:defRPr sz="1200">
                <a:solidFill>
                  <a:schemeClr val="tx1"/>
                </a:solidFill>
                <a:latin typeface="Calibri" panose="020F0502020204030204" pitchFamily="34" charset="0"/>
              </a:defRPr>
            </a:lvl1pPr>
            <a:lvl2pPr marL="742950" indent="-285750" eaLnBrk="0" hangingPunct="0">
              <a:spcBef>
                <a:spcPct val="30000"/>
              </a:spcBef>
              <a:defRPr sz="1200">
                <a:solidFill>
                  <a:schemeClr val="tx1"/>
                </a:solidFill>
                <a:latin typeface="Calibri" panose="020F0502020204030204" pitchFamily="34" charset="0"/>
              </a:defRPr>
            </a:lvl2pPr>
            <a:lvl3pPr marL="1143000" indent="-228600" eaLnBrk="0" hangingPunct="0">
              <a:spcBef>
                <a:spcPct val="30000"/>
              </a:spcBef>
              <a:defRPr sz="1200">
                <a:solidFill>
                  <a:schemeClr val="tx1"/>
                </a:solidFill>
                <a:latin typeface="Calibri" panose="020F0502020204030204" pitchFamily="34" charset="0"/>
              </a:defRPr>
            </a:lvl3pPr>
            <a:lvl4pPr marL="1600200" indent="-228600" eaLnBrk="0" hangingPunct="0">
              <a:spcBef>
                <a:spcPct val="30000"/>
              </a:spcBef>
              <a:defRPr sz="1200">
                <a:solidFill>
                  <a:schemeClr val="tx1"/>
                </a:solidFill>
                <a:latin typeface="Calibri" panose="020F0502020204030204" pitchFamily="34" charset="0"/>
              </a:defRPr>
            </a:lvl4pPr>
            <a:lvl5pPr marL="2057400" indent="-228600" eaLnBrk="0" hangingPunct="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eaLnBrk="1" fontAlgn="base" hangingPunct="1">
              <a:spcBef>
                <a:spcPct val="0"/>
              </a:spcBef>
              <a:spcAft>
                <a:spcPct val="0"/>
              </a:spcAft>
            </a:pPr>
            <a:fld id="{D881CEDC-ED62-400A-9D05-166231132252}" type="slidenum">
              <a:rPr lang="en-US" altLang="fr-FR" smtClean="0">
                <a:cs typeface="Arial" panose="020B0604020202020204" pitchFamily="34" charset="0"/>
              </a:rPr>
              <a:t>19</a:t>
            </a:fld>
            <a:endParaRPr lang="en-US" altLang="fr-FR" smtClean="0">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hasCustomPrompt="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DD41A930-3535-4E25-ACD6-597F12D3C34A}" type="datetimeFigureOut">
              <a:rPr lang="fr-FR" smtClean="0"/>
              <a:t>13/10/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478BC53-FC8B-4170-8444-FD051DEAC338}" type="slidenum">
              <a:rPr lang="fr-FR" smtClean="0"/>
              <a:t>‹#›</a:t>
            </a:fld>
            <a:endParaRPr lang="fr-FR"/>
          </a:p>
        </p:txBody>
      </p: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hasCustomPrompt="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DD41A930-3535-4E25-ACD6-597F12D3C34A}" type="datetimeFigureOut">
              <a:rPr lang="fr-FR" smtClean="0"/>
              <a:t>13/10/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478BC53-FC8B-4170-8444-FD051DEAC338}" type="slidenum">
              <a:rPr lang="fr-FR" smtClean="0"/>
              <a:t>‹#›</a:t>
            </a:fld>
            <a:endParaRPr lang="fr-FR"/>
          </a:p>
        </p:txBody>
      </p: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hasCustomPrompt="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DD41A930-3535-4E25-ACD6-597F12D3C34A}" type="datetimeFigureOut">
              <a:rPr lang="fr-FR" smtClean="0"/>
              <a:t>13/10/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478BC53-FC8B-4170-8444-FD051DEAC338}" type="slidenum">
              <a:rPr lang="fr-FR" smtClean="0"/>
              <a:t>‹#›</a:t>
            </a:fld>
            <a:endParaRPr lang="fr-FR"/>
          </a:p>
        </p:txBody>
      </p: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4" name="Espace réservé du numéro de diapositive 5"/>
          <p:cNvSpPr>
            <a:spLocks noGrp="1"/>
          </p:cNvSpPr>
          <p:nvPr>
            <p:ph type="sldNum" sz="quarter" idx="10"/>
          </p:nvPr>
        </p:nvSpPr>
        <p:spPr/>
        <p:txBody>
          <a:bodyPr/>
          <a:lstStyle>
            <a:lvl1pPr>
              <a:defRPr/>
            </a:lvl1pPr>
          </a:lstStyle>
          <a:p>
            <a:pPr>
              <a:defRPr/>
            </a:pPr>
            <a:fld id="{5A96C6D7-7C01-4A99-9249-6C5AD595466D}" type="slidenum">
              <a:rPr lang="fr-FR" altLang="en-US"/>
              <a:t>‹#›</a:t>
            </a:fld>
            <a:endParaRPr lang="fr-FR" altLang="en-US"/>
          </a:p>
        </p:txBody>
      </p:sp>
      <p:pic>
        <p:nvPicPr>
          <p:cNvPr id="4099"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13" y="105632"/>
            <a:ext cx="9158159" cy="6649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Titre et contenu">
    <p:spTree>
      <p:nvGrpSpPr>
        <p:cNvPr id="1" name=""/>
        <p:cNvGrpSpPr/>
        <p:nvPr/>
      </p:nvGrpSpPr>
      <p:grpSpPr>
        <a:xfrm>
          <a:off x="0" y="0"/>
          <a:ext cx="0" cy="0"/>
          <a:chOff x="0" y="0"/>
          <a:chExt cx="0" cy="0"/>
        </a:xfrm>
      </p:grpSpPr>
      <p:pic>
        <p:nvPicPr>
          <p:cNvPr id="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hasCustomPrompt="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DD41A930-3535-4E25-ACD6-597F12D3C34A}" type="datetimeFigureOut">
              <a:rPr lang="fr-FR" smtClean="0"/>
              <a:t>13/10/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478BC53-FC8B-4170-8444-FD051DEAC338}" type="slidenum">
              <a:rPr lang="fr-FR" smtClean="0"/>
              <a:t>‹#›</a:t>
            </a:fld>
            <a:endParaRPr lang="fr-FR"/>
          </a:p>
        </p:txBody>
      </p: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27384"/>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hasCustomPrompt="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DD41A930-3535-4E25-ACD6-597F12D3C34A}" type="datetimeFigureOut">
              <a:rPr lang="fr-FR" smtClean="0"/>
              <a:t>13/10/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478BC53-FC8B-4170-8444-FD051DEAC338}" type="slidenum">
              <a:rPr lang="fr-FR" smtClean="0"/>
              <a:t>‹#›</a:t>
            </a:fld>
            <a:endParaRPr lang="fr-FR"/>
          </a:p>
        </p:txBody>
      </p: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hasCustomPrompt="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hasCustomPrompt="1"/>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DD41A930-3535-4E25-ACD6-597F12D3C34A}" type="datetimeFigureOut">
              <a:rPr lang="fr-FR" smtClean="0"/>
              <a:t>13/10/2017</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478BC53-FC8B-4170-8444-FD051DEAC338}" type="slidenum">
              <a:rPr lang="fr-FR" smtClean="0"/>
              <a:t>‹#›</a:t>
            </a:fld>
            <a:endParaRPr lang="fr-FR"/>
          </a:p>
        </p:txBody>
      </p:sp>
      <p:pic>
        <p:nvPicPr>
          <p:cNvPr id="8"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hasCustomPrompt="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hasCustomPrompt="1"/>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hasCustomPrompt="1"/>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hasCustomPrompt="1"/>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DD41A930-3535-4E25-ACD6-597F12D3C34A}" type="datetimeFigureOut">
              <a:rPr lang="fr-FR" smtClean="0"/>
              <a:t>13/10/2017</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3478BC53-FC8B-4170-8444-FD051DEAC338}" type="slidenum">
              <a:rPr lang="fr-FR" smtClean="0"/>
              <a:t>‹#›</a:t>
            </a:fld>
            <a:endParaRPr lang="fr-FR"/>
          </a:p>
        </p:txBody>
      </p:sp>
      <p:pic>
        <p:nvPicPr>
          <p:cNvPr id="10"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DD41A930-3535-4E25-ACD6-597F12D3C34A}" type="datetimeFigureOut">
              <a:rPr lang="fr-FR" smtClean="0"/>
              <a:t>13/10/2017</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3478BC53-FC8B-4170-8444-FD051DEAC338}" type="slidenum">
              <a:rPr lang="fr-FR" smtClean="0"/>
              <a:t>‹#›</a:t>
            </a:fld>
            <a:endParaRPr lang="fr-FR"/>
          </a:p>
        </p:txBody>
      </p:sp>
      <p:pic>
        <p:nvPicPr>
          <p:cNvPr id="6"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DD41A930-3535-4E25-ACD6-597F12D3C34A}" type="datetimeFigureOut">
              <a:rPr lang="fr-FR" smtClean="0"/>
              <a:t>13/10/2017</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3478BC53-FC8B-4170-8444-FD051DEAC338}" type="slidenum">
              <a:rPr lang="fr-FR" smtClean="0"/>
              <a:t>‹#›</a:t>
            </a:fld>
            <a:endParaRPr lang="fr-F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hasCustomPrompt="1"/>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D41A930-3535-4E25-ACD6-597F12D3C34A}" type="datetimeFigureOut">
              <a:rPr lang="fr-FR" smtClean="0"/>
              <a:t>13/10/2017</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478BC53-FC8B-4170-8444-FD051DEAC338}" type="slidenum">
              <a:rPr lang="fr-FR" smtClean="0"/>
              <a:t>‹#›</a:t>
            </a:fld>
            <a:endParaRPr lang="fr-FR"/>
          </a:p>
        </p:txBody>
      </p:sp>
      <p:pic>
        <p:nvPicPr>
          <p:cNvPr id="8"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hasCustomPrompt="1"/>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D41A930-3535-4E25-ACD6-597F12D3C34A}" type="datetimeFigureOut">
              <a:rPr lang="fr-FR" smtClean="0"/>
              <a:t>13/10/2017</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478BC53-FC8B-4170-8444-FD051DEAC338}" type="slidenum">
              <a:rPr lang="fr-FR" smtClean="0"/>
              <a:t>‹#›</a:t>
            </a:fld>
            <a:endParaRPr lang="fr-FR"/>
          </a:p>
        </p:txBody>
      </p:sp>
      <p:pic>
        <p:nvPicPr>
          <p:cNvPr id="8"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9" y="-15240"/>
            <a:ext cx="9142077" cy="6873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41A930-3535-4E25-ACD6-597F12D3C34A}" type="datetimeFigureOut">
              <a:rPr lang="fr-FR" smtClean="0"/>
              <a:t>13/10/2017</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78BC53-FC8B-4170-8444-FD051DEAC338}" type="slidenum">
              <a:rPr lang="fr-FR" smtClean="0"/>
              <a:t>‹#›</a:t>
            </a:fld>
            <a:endParaRPr lang="fr-F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2.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9.xml"/><Relationship Id="rId7" Type="http://schemas.openxmlformats.org/officeDocument/2006/relationships/image" Target="../media/image4.emf"/><Relationship Id="rId12"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jpeg"/><Relationship Id="rId5" Type="http://schemas.openxmlformats.org/officeDocument/2006/relationships/notesSlide" Target="../notesSlides/notesSlide6.xml"/><Relationship Id="rId10" Type="http://schemas.openxmlformats.org/officeDocument/2006/relationships/image" Target="../media/image7.png"/><Relationship Id="rId4" Type="http://schemas.openxmlformats.org/officeDocument/2006/relationships/slideLayout" Target="../slideLayouts/slideLayout12.xml"/><Relationship Id="rId9"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 Type="http://schemas.openxmlformats.org/officeDocument/2006/relationships/tags" Target="../tags/tag22.xml"/><Relationship Id="rId21" Type="http://schemas.openxmlformats.org/officeDocument/2006/relationships/tags" Target="../tags/tag40.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slideLayout" Target="../slideLayouts/slideLayout2.xml"/><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9.png"/><Relationship Id="rId3" Type="http://schemas.openxmlformats.org/officeDocument/2006/relationships/tags" Target="../tags/tag2.xml"/><Relationship Id="rId7" Type="http://schemas.openxmlformats.org/officeDocument/2006/relationships/oleObject" Target="../embeddings/oleObject1.bin"/><Relationship Id="rId12" Type="http://schemas.openxmlformats.org/officeDocument/2006/relationships/image" Target="../media/image8.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2.xml"/><Relationship Id="rId11" Type="http://schemas.openxmlformats.org/officeDocument/2006/relationships/image" Target="../media/image7.png"/><Relationship Id="rId5" Type="http://schemas.openxmlformats.org/officeDocument/2006/relationships/slideLayout" Target="../slideLayouts/slideLayout12.xml"/><Relationship Id="rId10" Type="http://schemas.openxmlformats.org/officeDocument/2006/relationships/image" Target="../media/image6.png"/><Relationship Id="rId4" Type="http://schemas.openxmlformats.org/officeDocument/2006/relationships/tags" Target="../tags/tag3.xml"/><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hyperlink" Target="mailto:smikram@smit.gov.ma" TargetMode="External"/><Relationship Id="rId3" Type="http://schemas.openxmlformats.org/officeDocument/2006/relationships/slideLayout" Target="../slideLayouts/slideLayout4.xml"/><Relationship Id="rId7" Type="http://schemas.openxmlformats.org/officeDocument/2006/relationships/hyperlink" Target="http://www.smit.gov.ma/" TargetMode="Externa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image" Target="../media/image79.emf"/><Relationship Id="rId5" Type="http://schemas.openxmlformats.org/officeDocument/2006/relationships/oleObject" Target="../embeddings/oleObject5.bin"/><Relationship Id="rId4" Type="http://schemas.openxmlformats.org/officeDocument/2006/relationships/image" Target="../media/image80.jpeg"/><Relationship Id="rId9" Type="http://schemas.openxmlformats.org/officeDocument/2006/relationships/hyperlink" Target="mailto:yhajoui@smit.gov.ma"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slideLayout" Target="../slideLayouts/slideLayout13.xml"/><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2" Type="http://schemas.openxmlformats.org/officeDocument/2006/relationships/tags" Target="../tags/tag4.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vmlDrawing" Target="../drawings/vmlDrawing2.vml"/><Relationship Id="rId6" Type="http://schemas.openxmlformats.org/officeDocument/2006/relationships/image" Target="../media/image4.emf"/><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5" Type="http://schemas.openxmlformats.org/officeDocument/2006/relationships/oleObject" Target="../embeddings/oleObject2.bin"/><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 Type="http://schemas.openxmlformats.org/officeDocument/2006/relationships/notesSlide" Target="../notesSlides/notesSlide4.xml"/><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9.png"/><Relationship Id="rId3" Type="http://schemas.openxmlformats.org/officeDocument/2006/relationships/tags" Target="../tags/tag6.xml"/><Relationship Id="rId7" Type="http://schemas.openxmlformats.org/officeDocument/2006/relationships/oleObject" Target="../embeddings/oleObject3.bin"/><Relationship Id="rId12" Type="http://schemas.openxmlformats.org/officeDocument/2006/relationships/image" Target="../media/image8.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notesSlide" Target="../notesSlides/notesSlide5.xml"/><Relationship Id="rId11" Type="http://schemas.openxmlformats.org/officeDocument/2006/relationships/image" Target="../media/image7.png"/><Relationship Id="rId5" Type="http://schemas.openxmlformats.org/officeDocument/2006/relationships/slideLayout" Target="../slideLayouts/slideLayout12.xml"/><Relationship Id="rId10" Type="http://schemas.openxmlformats.org/officeDocument/2006/relationships/image" Target="../media/image6.png"/><Relationship Id="rId4" Type="http://schemas.openxmlformats.org/officeDocument/2006/relationships/tags" Target="../tags/tag7.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GIF"/><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image" Target="../media/image42.png"/><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46.jpeg"/><Relationship Id="rId11" Type="http://schemas.openxmlformats.org/officeDocument/2006/relationships/image" Target="../media/image51.jpeg"/><Relationship Id="rId5" Type="http://schemas.openxmlformats.org/officeDocument/2006/relationships/image" Target="../media/image45.jpeg"/><Relationship Id="rId15" Type="http://schemas.openxmlformats.org/officeDocument/2006/relationships/image" Target="../media/image55.png"/><Relationship Id="rId10" Type="http://schemas.openxmlformats.org/officeDocument/2006/relationships/image" Target="../media/image50.jpe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jpeg"/><Relationship Id="rId14" Type="http://schemas.openxmlformats.org/officeDocument/2006/relationships/image" Target="../media/image54.jpeg"/></Relationships>
</file>

<file path=ppt/slides/_rels/slide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61.jpeg"/><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65.jpeg"/><Relationship Id="rId5" Type="http://schemas.openxmlformats.org/officeDocument/2006/relationships/image" Target="../media/image64.jpeg"/><Relationship Id="rId10" Type="http://schemas.openxmlformats.org/officeDocument/2006/relationships/image" Target="../media/image69.jpeg"/><Relationship Id="rId4" Type="http://schemas.openxmlformats.org/officeDocument/2006/relationships/image" Target="../media/image63.png"/><Relationship Id="rId9"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7" name="Picture 9" descr="C:\Users\nfermli\Desktop\image00000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9300"/>
            <a:ext cx="9157647" cy="6887300"/>
          </a:xfrm>
          <a:prstGeom prst="rect">
            <a:avLst/>
          </a:prstGeom>
          <a:noFill/>
          <a:extLst>
            <a:ext uri="{909E8E84-426E-40DD-AFC4-6F175D3DCCD1}">
              <a14:hiddenFill xmlns:a14="http://schemas.microsoft.com/office/drawing/2010/main">
                <a:solidFill>
                  <a:srgbClr val="FFFFFF"/>
                </a:solidFill>
              </a14:hiddenFill>
            </a:ext>
          </a:extLst>
        </p:spPr>
      </p:pic>
      <p:sp>
        <p:nvSpPr>
          <p:cNvPr id="22534" name="Rectangle 1"/>
          <p:cNvSpPr>
            <a:spLocks noChangeArrowheads="1"/>
          </p:cNvSpPr>
          <p:nvPr/>
        </p:nvSpPr>
        <p:spPr bwMode="auto">
          <a:xfrm>
            <a:off x="2551113" y="2852738"/>
            <a:ext cx="1847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fr-FR" sz="2000" b="1" dirty="0">
              <a:solidFill>
                <a:schemeClr val="bg1"/>
              </a:solidFill>
              <a:latin typeface="Georgia" panose="02040502050405020303" pitchFamily="18" charset="0"/>
            </a:endParaRPr>
          </a:p>
        </p:txBody>
      </p:sp>
      <p:sp>
        <p:nvSpPr>
          <p:cNvPr id="2" name="Rectangle 1"/>
          <p:cNvSpPr/>
          <p:nvPr/>
        </p:nvSpPr>
        <p:spPr>
          <a:xfrm>
            <a:off x="107504" y="2062011"/>
            <a:ext cx="8568952" cy="607695"/>
          </a:xfrm>
          <a:prstGeom prst="rect">
            <a:avLst/>
          </a:prstGeom>
        </p:spPr>
        <p:txBody>
          <a:bodyPr wrap="square">
            <a:spAutoFit/>
          </a:bodyPr>
          <a:lstStyle/>
          <a:p>
            <a:pPr marL="3182620" marR="5080" indent="-3170555">
              <a:lnSpc>
                <a:spcPct val="120000"/>
              </a:lnSpc>
            </a:pPr>
            <a:r>
              <a:rPr lang="zh-CN" sz="2800" b="1" spc="5" dirty="0" smtClean="0">
                <a:solidFill>
                  <a:srgbClr val="FFFFFF"/>
                </a:solidFill>
                <a:latin typeface="+mj-lt"/>
                <a:cs typeface="Garamond" panose="02020404030301010803"/>
              </a:rPr>
              <a:t>摩洛哥旅游业与酒店业的投资机遇</a:t>
            </a:r>
          </a:p>
        </p:txBody>
      </p:sp>
      <p:sp>
        <p:nvSpPr>
          <p:cNvPr id="5" name="object 28"/>
          <p:cNvSpPr txBox="1"/>
          <p:nvPr/>
        </p:nvSpPr>
        <p:spPr>
          <a:xfrm>
            <a:off x="132973" y="3717032"/>
            <a:ext cx="4150995" cy="292100"/>
          </a:xfrm>
          <a:prstGeom prst="rect">
            <a:avLst/>
          </a:prstGeom>
        </p:spPr>
        <p:txBody>
          <a:bodyPr vert="horz" wrap="square" lIns="0" tIns="0" rIns="0" bIns="0" rtlCol="0">
            <a:spAutoFit/>
          </a:bodyPr>
          <a:lstStyle/>
          <a:p>
            <a:pPr marL="12700">
              <a:lnSpc>
                <a:spcPct val="100000"/>
              </a:lnSpc>
            </a:pPr>
            <a:r>
              <a:rPr lang="zh-CN" altLang="fr-FR" sz="1900" b="1" i="1" spc="-70" dirty="0">
                <a:solidFill>
                  <a:srgbClr val="F1F1F1"/>
                </a:solidFill>
                <a:cs typeface="Garamond" panose="02020404030301010803"/>
              </a:rPr>
              <a:t>摩洛哥旅游发展署（SMIT）</a:t>
            </a:r>
            <a:endParaRPr lang="zh-CN" altLang="en-US" sz="1900" b="1" i="1" spc="-70" dirty="0">
              <a:solidFill>
                <a:srgbClr val="F1F1F1"/>
              </a:solidFill>
              <a:cs typeface="Garamond" panose="02020404030301010803"/>
            </a:endParaRPr>
          </a:p>
        </p:txBody>
      </p:sp>
      <p:sp>
        <p:nvSpPr>
          <p:cNvPr id="6" name="object 28"/>
          <p:cNvSpPr txBox="1"/>
          <p:nvPr/>
        </p:nvSpPr>
        <p:spPr>
          <a:xfrm>
            <a:off x="132973" y="6448980"/>
            <a:ext cx="4150995" cy="292100"/>
          </a:xfrm>
          <a:prstGeom prst="rect">
            <a:avLst/>
          </a:prstGeom>
        </p:spPr>
        <p:txBody>
          <a:bodyPr vert="horz" wrap="square" lIns="0" tIns="0" rIns="0" bIns="0" rtlCol="0">
            <a:spAutoFit/>
          </a:bodyPr>
          <a:lstStyle/>
          <a:p>
            <a:pPr marL="12700">
              <a:lnSpc>
                <a:spcPct val="100000"/>
              </a:lnSpc>
            </a:pPr>
            <a:r>
              <a:rPr lang="fr-FR" sz="1900" b="1" i="1" spc="-70" dirty="0" smtClean="0">
                <a:solidFill>
                  <a:srgbClr val="F1F1F1"/>
                </a:solidFill>
                <a:latin typeface="+mj-lt"/>
                <a:cs typeface="Garamond" panose="02020404030301010803"/>
              </a:rPr>
              <a:t> </a:t>
            </a:r>
            <a:r>
              <a:rPr lang="en-US" altLang="fr-FR" sz="1900" b="1" i="1" spc="-70" dirty="0" smtClean="0">
                <a:solidFill>
                  <a:srgbClr val="F1F1F1"/>
                </a:solidFill>
                <a:latin typeface="+mj-lt"/>
                <a:cs typeface="Garamond" panose="02020404030301010803"/>
              </a:rPr>
              <a:t>2017</a:t>
            </a:r>
            <a:r>
              <a:rPr lang="zh-CN" altLang="en-US" sz="1900" b="1" i="1" spc="-70" dirty="0" smtClean="0">
                <a:solidFill>
                  <a:srgbClr val="F1F1F1"/>
                </a:solidFill>
                <a:latin typeface="+mj-lt"/>
                <a:cs typeface="Garamond" panose="02020404030301010803"/>
              </a:rPr>
              <a:t>年</a:t>
            </a:r>
            <a:r>
              <a:rPr lang="en-US" altLang="zh-CN" sz="1900" b="1" i="1" spc="-70" dirty="0" smtClean="0">
                <a:solidFill>
                  <a:srgbClr val="F1F1F1"/>
                </a:solidFill>
                <a:latin typeface="+mj-lt"/>
                <a:cs typeface="Garamond" panose="02020404030301010803"/>
              </a:rPr>
              <a:t>10</a:t>
            </a:r>
            <a:r>
              <a:rPr lang="zh-CN" altLang="en-US" sz="1900" b="1" i="1" spc="-70" dirty="0" smtClean="0">
                <a:solidFill>
                  <a:srgbClr val="F1F1F1"/>
                </a:solidFill>
                <a:latin typeface="+mj-lt"/>
                <a:cs typeface="Garamond" panose="02020404030301010803"/>
              </a:rPr>
              <a:t>月</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0"/>
          <p:cNvSpPr txBox="1"/>
          <p:nvPr/>
        </p:nvSpPr>
        <p:spPr>
          <a:xfrm>
            <a:off x="395536" y="75104"/>
            <a:ext cx="8352928" cy="768350"/>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dirty="0">
                <a:ea typeface="宋体" panose="02010600030101010101" pitchFamily="2" charset="-122"/>
                <a:sym typeface="+mn-ea"/>
              </a:rPr>
              <a:t>为何投资摩洛哥旅游业？</a:t>
            </a:r>
            <a:endParaRPr dirty="0"/>
          </a:p>
          <a:p>
            <a:r>
              <a:rPr lang="zh-CN" altLang="en-US" sz="2000" dirty="0">
                <a:ea typeface="宋体" panose="02010600030101010101" pitchFamily="2" charset="-122"/>
              </a:rPr>
              <a:t>地处</a:t>
            </a:r>
            <a:r>
              <a:rPr lang="en-US" sz="2000" dirty="0"/>
              <a:t>战略位置</a:t>
            </a:r>
            <a:r>
              <a:rPr lang="zh-CN" altLang="en-US" sz="2000" dirty="0">
                <a:ea typeface="宋体" panose="02010600030101010101" pitchFamily="2" charset="-122"/>
              </a:rPr>
              <a:t>，享</a:t>
            </a:r>
            <a:r>
              <a:rPr lang="en-US" altLang="zh-CN" sz="2000" dirty="0">
                <a:ea typeface="宋体" panose="02010600030101010101" pitchFamily="2" charset="-122"/>
              </a:rPr>
              <a:t>“</a:t>
            </a:r>
            <a:r>
              <a:rPr lang="zh-CN" altLang="en-US" sz="2000" dirty="0" smtClean="0">
                <a:ea typeface="宋体" panose="02010600030101010101" pitchFamily="2" charset="-122"/>
              </a:rPr>
              <a:t>欧洲门户</a:t>
            </a:r>
            <a:r>
              <a:rPr lang="en-US" altLang="zh-CN" sz="2000" dirty="0" smtClean="0">
                <a:ea typeface="宋体" panose="02010600030101010101" pitchFamily="2" charset="-122"/>
              </a:rPr>
              <a:t>”</a:t>
            </a:r>
            <a:r>
              <a:rPr lang="zh-CN" altLang="en-US" sz="2000" dirty="0">
                <a:ea typeface="宋体" panose="02010600030101010101" pitchFamily="2" charset="-122"/>
              </a:rPr>
              <a:t>之美誉</a:t>
            </a:r>
          </a:p>
        </p:txBody>
      </p:sp>
      <p:sp>
        <p:nvSpPr>
          <p:cNvPr id="8" name="object 6"/>
          <p:cNvSpPr/>
          <p:nvPr/>
        </p:nvSpPr>
        <p:spPr>
          <a:xfrm>
            <a:off x="0" y="6259511"/>
            <a:ext cx="414655" cy="598805"/>
          </a:xfrm>
          <a:custGeom>
            <a:avLst/>
            <a:gdLst/>
            <a:ahLst/>
            <a:cxnLst/>
            <a:rect l="l" t="t" r="r" b="b"/>
            <a:pathLst>
              <a:path w="414655" h="598804">
                <a:moveTo>
                  <a:pt x="414336" y="598485"/>
                </a:moveTo>
                <a:lnTo>
                  <a:pt x="414336" y="0"/>
                </a:lnTo>
                <a:lnTo>
                  <a:pt x="0" y="0"/>
                </a:lnTo>
                <a:lnTo>
                  <a:pt x="0" y="598485"/>
                </a:lnTo>
                <a:lnTo>
                  <a:pt x="414336" y="598485"/>
                </a:lnTo>
                <a:close/>
              </a:path>
            </a:pathLst>
          </a:cu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10" name="object 8"/>
          <p:cNvSpPr/>
          <p:nvPr/>
        </p:nvSpPr>
        <p:spPr>
          <a:xfrm>
            <a:off x="458787" y="6308723"/>
            <a:ext cx="2076450" cy="500062"/>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latin typeface="Bookman Old Style" panose="02050604050505020204" pitchFamily="18" charset="0"/>
            </a:endParaRPr>
          </a:p>
        </p:txBody>
      </p:sp>
      <p:sp>
        <p:nvSpPr>
          <p:cNvPr id="13" name="object 11"/>
          <p:cNvSpPr txBox="1"/>
          <p:nvPr/>
        </p:nvSpPr>
        <p:spPr>
          <a:xfrm>
            <a:off x="650240" y="4114672"/>
            <a:ext cx="7293609" cy="553720"/>
          </a:xfrm>
          <a:prstGeom prst="rect">
            <a:avLst/>
          </a:prstGeom>
        </p:spPr>
        <p:txBody>
          <a:bodyPr vert="horz" wrap="square" lIns="0" tIns="0" rIns="0" bIns="0" rtlCol="0">
            <a:spAutoFit/>
          </a:bodyPr>
          <a:lstStyle/>
          <a:p>
            <a:pPr marL="299085" marR="5080" indent="-286385">
              <a:lnSpc>
                <a:spcPct val="100000"/>
              </a:lnSpc>
              <a:buFont typeface="Arial" panose="020B0604020202020204" pitchFamily="34" charset="0"/>
              <a:buChar char="•"/>
              <a:tabLst>
                <a:tab pos="299085" algn="l"/>
                <a:tab pos="299720" algn="l"/>
              </a:tabLst>
            </a:pPr>
            <a:r>
              <a:rPr lang="zh-CN" b="0" i="1" spc="-10" dirty="0">
                <a:latin typeface="+mj-lt"/>
                <a:cs typeface="Bookman Old Style" panose="02050604050505020204"/>
              </a:rPr>
              <a:t>摩洛哥交通便利，从欧洲搭乘航班飞往摩洛哥</a:t>
            </a:r>
            <a:r>
              <a:rPr lang="zh-CN" b="1" i="1" spc="-10" dirty="0">
                <a:latin typeface="+mj-lt"/>
                <a:cs typeface="Bookman Old Style" panose="02050604050505020204"/>
              </a:rPr>
              <a:t>仅需两个多小时</a:t>
            </a:r>
            <a:r>
              <a:rPr lang="zh-CN" b="0" i="1" spc="-10" dirty="0">
                <a:latin typeface="+mj-lt"/>
                <a:cs typeface="Bookman Old Style" panose="02050604050505020204"/>
              </a:rPr>
              <a:t>，是欢度小假期的最佳目的地</a:t>
            </a:r>
          </a:p>
        </p:txBody>
      </p:sp>
      <p:sp>
        <p:nvSpPr>
          <p:cNvPr id="14" name="object 12"/>
          <p:cNvSpPr txBox="1"/>
          <p:nvPr/>
        </p:nvSpPr>
        <p:spPr>
          <a:xfrm>
            <a:off x="650240" y="4755133"/>
            <a:ext cx="8308340" cy="1108710"/>
          </a:xfrm>
          <a:prstGeom prst="rect">
            <a:avLst/>
          </a:prstGeom>
        </p:spPr>
        <p:txBody>
          <a:bodyPr vert="horz" wrap="square" lIns="0" tIns="0" rIns="0" bIns="0" rtlCol="0">
            <a:spAutoFit/>
          </a:bodyPr>
          <a:lstStyle/>
          <a:p>
            <a:pPr marL="299085" indent="-286385">
              <a:lnSpc>
                <a:spcPct val="100000"/>
              </a:lnSpc>
              <a:buFont typeface="Arial" panose="020B0604020202020204" pitchFamily="34" charset="0"/>
              <a:buChar char="•"/>
              <a:tabLst>
                <a:tab pos="299085" algn="l"/>
                <a:tab pos="299720" algn="l"/>
              </a:tabLst>
            </a:pPr>
            <a:r>
              <a:rPr lang="zh-CN" i="1" spc="-5" dirty="0">
                <a:latin typeface="+mj-lt"/>
                <a:cs typeface="Bookman Old Style" panose="02050604050505020204"/>
              </a:rPr>
              <a:t>与至少</a:t>
            </a:r>
            <a:r>
              <a:rPr lang="en-US" altLang="zh-CN" b="1" i="1" spc="-5" dirty="0">
                <a:latin typeface="+mj-lt"/>
                <a:cs typeface="Bookman Old Style" panose="02050604050505020204"/>
              </a:rPr>
              <a:t>32</a:t>
            </a:r>
            <a:r>
              <a:rPr lang="zh-CN" altLang="en-US" b="1" i="1" spc="-5" dirty="0">
                <a:latin typeface="+mj-lt"/>
                <a:cs typeface="Bookman Old Style" panose="02050604050505020204"/>
              </a:rPr>
              <a:t>个欧洲城市和</a:t>
            </a:r>
            <a:r>
              <a:rPr lang="en-US" altLang="zh-CN" b="1" i="1" spc="-5" dirty="0">
                <a:latin typeface="+mj-lt"/>
                <a:cs typeface="Bookman Old Style" panose="02050604050505020204"/>
              </a:rPr>
              <a:t>18</a:t>
            </a:r>
            <a:r>
              <a:rPr lang="zh-CN" altLang="en-US" b="1" i="1" spc="-5" dirty="0">
                <a:latin typeface="+mj-lt"/>
                <a:cs typeface="Bookman Old Style" panose="02050604050505020204"/>
              </a:rPr>
              <a:t>个非洲城市</a:t>
            </a:r>
            <a:r>
              <a:rPr lang="zh-CN" altLang="en-US" i="1" spc="-5" dirty="0">
                <a:latin typeface="+mj-lt"/>
                <a:cs typeface="Bookman Old Style" panose="02050604050505020204"/>
              </a:rPr>
              <a:t>直接连接</a:t>
            </a:r>
          </a:p>
          <a:p>
            <a:pPr marL="285750" indent="-285750">
              <a:lnSpc>
                <a:spcPct val="100000"/>
              </a:lnSpc>
              <a:spcBef>
                <a:spcPts val="10"/>
              </a:spcBef>
              <a:buFont typeface="Arial" panose="020B0604020202020204" pitchFamily="34" charset="0"/>
              <a:buChar char="•"/>
            </a:pPr>
            <a:endParaRPr b="0" i="1" spc="-10" dirty="0">
              <a:latin typeface="+mj-lt"/>
              <a:cs typeface="Bookman Old Style" panose="02050604050505020204"/>
            </a:endParaRPr>
          </a:p>
          <a:p>
            <a:pPr marL="299085" marR="5080" indent="-286385" algn="just">
              <a:lnSpc>
                <a:spcPct val="100000"/>
              </a:lnSpc>
              <a:buFont typeface="Arial" panose="020B0604020202020204" pitchFamily="34" charset="0"/>
              <a:buChar char="•"/>
              <a:tabLst>
                <a:tab pos="299720" algn="l"/>
              </a:tabLst>
            </a:pPr>
            <a:r>
              <a:rPr lang="en-US" dirty="0">
                <a:latin typeface="+mj-lt"/>
                <a:cs typeface="Bookman Old Style" panose="02050604050505020204"/>
              </a:rPr>
              <a:t>2015</a:t>
            </a:r>
            <a:r>
              <a:rPr lang="zh-CN" altLang="en-US" dirty="0">
                <a:latin typeface="+mj-lt"/>
                <a:cs typeface="Bookman Old Style" panose="02050604050505020204"/>
              </a:rPr>
              <a:t>年</a:t>
            </a:r>
            <a:r>
              <a:rPr lang="en-US" altLang="zh-CN" dirty="0">
                <a:latin typeface="+mj-lt"/>
                <a:cs typeface="Bookman Old Style" panose="02050604050505020204"/>
              </a:rPr>
              <a:t>8</a:t>
            </a:r>
            <a:r>
              <a:rPr lang="zh-CN" altLang="en-US" dirty="0">
                <a:latin typeface="+mj-lt"/>
                <a:cs typeface="Bookman Old Style" panose="02050604050505020204"/>
              </a:rPr>
              <a:t>月，摩洛哥皇家航空（</a:t>
            </a:r>
            <a:r>
              <a:rPr i="1" spc="-10" dirty="0">
                <a:latin typeface="+mj-lt"/>
                <a:cs typeface="Bookman Old Style" panose="02050604050505020204"/>
                <a:sym typeface="+mn-ea"/>
              </a:rPr>
              <a:t>Royal Air </a:t>
            </a:r>
            <a:r>
              <a:rPr i="1" spc="-5" dirty="0">
                <a:latin typeface="+mj-lt"/>
                <a:cs typeface="Bookman Old Style" panose="02050604050505020204"/>
                <a:sym typeface="+mn-ea"/>
              </a:rPr>
              <a:t>Maroc</a:t>
            </a:r>
            <a:r>
              <a:rPr lang="zh-CN" i="1" spc="-5" dirty="0">
                <a:latin typeface="+mj-lt"/>
                <a:cs typeface="Bookman Old Style" panose="02050604050505020204"/>
                <a:sym typeface="+mn-ea"/>
              </a:rPr>
              <a:t>）</a:t>
            </a:r>
            <a:r>
              <a:rPr lang="zh-CN" b="1" i="1" spc="-5" dirty="0">
                <a:latin typeface="+mj-lt"/>
                <a:cs typeface="Bookman Old Style" panose="02050604050505020204"/>
                <a:sym typeface="+mn-ea"/>
              </a:rPr>
              <a:t>载客量突破</a:t>
            </a:r>
            <a:r>
              <a:rPr lang="en-US" altLang="zh-CN" b="1" i="1" spc="-5" dirty="0">
                <a:latin typeface="+mj-lt"/>
                <a:cs typeface="Bookman Old Style" panose="02050604050505020204"/>
                <a:sym typeface="+mn-ea"/>
              </a:rPr>
              <a:t>55000人次</a:t>
            </a:r>
            <a:r>
              <a:rPr lang="zh-CN" altLang="en-US" i="1" spc="-5" dirty="0">
                <a:latin typeface="+mj-lt"/>
                <a:cs typeface="Bookman Old Style" panose="02050604050505020204"/>
                <a:sym typeface="+mn-ea"/>
              </a:rPr>
              <a:t>，随着客流量和收益的增加，预计在未来几年内，摩洛哥航线运力将增长</a:t>
            </a:r>
            <a:r>
              <a:rPr lang="en-US" altLang="zh-CN" i="1" spc="-5" dirty="0">
                <a:latin typeface="+mj-lt"/>
                <a:cs typeface="Bookman Old Style" panose="02050604050505020204"/>
                <a:sym typeface="+mn-ea"/>
              </a:rPr>
              <a:t>50%</a:t>
            </a:r>
            <a:r>
              <a:rPr lang="zh-CN" altLang="en-US" i="1" spc="-5" dirty="0">
                <a:latin typeface="+mj-lt"/>
                <a:cs typeface="Bookman Old Style" panose="02050604050505020204"/>
                <a:sym typeface="+mn-ea"/>
              </a:rPr>
              <a:t>。</a:t>
            </a:r>
          </a:p>
        </p:txBody>
      </p:sp>
      <p:sp>
        <p:nvSpPr>
          <p:cNvPr id="15" name="object 13"/>
          <p:cNvSpPr/>
          <p:nvPr/>
        </p:nvSpPr>
        <p:spPr>
          <a:xfrm>
            <a:off x="755650" y="1300225"/>
            <a:ext cx="3257550" cy="2633599"/>
          </a:xfrm>
          <a:prstGeom prst="rect">
            <a:avLst/>
          </a:prstGeom>
          <a:blipFill>
            <a:blip r:embed="rId2" cstate="print"/>
            <a:stretch>
              <a:fillRect/>
            </a:stretch>
          </a:blipFill>
        </p:spPr>
        <p:txBody>
          <a:bodyPr wrap="square" lIns="0" tIns="0" rIns="0" bIns="0" rtlCol="0"/>
          <a:lstStyle/>
          <a:p>
            <a:endParaRPr/>
          </a:p>
        </p:txBody>
      </p:sp>
      <p:sp>
        <p:nvSpPr>
          <p:cNvPr id="16" name="object 14"/>
          <p:cNvSpPr txBox="1"/>
          <p:nvPr/>
        </p:nvSpPr>
        <p:spPr>
          <a:xfrm>
            <a:off x="5100954" y="3689222"/>
            <a:ext cx="2865120" cy="215265"/>
          </a:xfrm>
          <a:prstGeom prst="rect">
            <a:avLst/>
          </a:prstGeom>
        </p:spPr>
        <p:txBody>
          <a:bodyPr vert="horz" wrap="square" lIns="0" tIns="0" rIns="0" bIns="0" rtlCol="0">
            <a:spAutoFit/>
          </a:bodyPr>
          <a:lstStyle/>
          <a:p>
            <a:pPr marL="12700">
              <a:lnSpc>
                <a:spcPct val="100000"/>
              </a:lnSpc>
            </a:pPr>
            <a:r>
              <a:rPr lang="zh-CN" sz="1400" b="1" i="1" dirty="0">
                <a:latin typeface="+mj-lt"/>
                <a:cs typeface="Bookman Old Style" panose="02050604050505020204"/>
              </a:rPr>
              <a:t>在丹吉尔隔海眺望西班牙</a:t>
            </a:r>
          </a:p>
        </p:txBody>
      </p:sp>
      <p:sp>
        <p:nvSpPr>
          <p:cNvPr id="17" name="object 15"/>
          <p:cNvSpPr/>
          <p:nvPr/>
        </p:nvSpPr>
        <p:spPr>
          <a:xfrm>
            <a:off x="4572000" y="1292097"/>
            <a:ext cx="4003675" cy="2294001"/>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4"/>
          <p:cNvSpPr/>
          <p:nvPr/>
        </p:nvSpPr>
        <p:spPr>
          <a:xfrm>
            <a:off x="0" y="1176400"/>
            <a:ext cx="414655" cy="38100"/>
          </a:xfrm>
          <a:custGeom>
            <a:avLst/>
            <a:gdLst/>
            <a:ahLst/>
            <a:cxnLst/>
            <a:rect l="l" t="t" r="r" b="b"/>
            <a:pathLst>
              <a:path w="414655" h="38100">
                <a:moveTo>
                  <a:pt x="0" y="38100"/>
                </a:moveTo>
                <a:lnTo>
                  <a:pt x="414337" y="38100"/>
                </a:lnTo>
                <a:lnTo>
                  <a:pt x="414337" y="0"/>
                </a:lnTo>
                <a:lnTo>
                  <a:pt x="0" y="0"/>
                </a:lnTo>
                <a:lnTo>
                  <a:pt x="0" y="38100"/>
                </a:lnTo>
                <a:close/>
              </a:path>
            </a:pathLst>
          </a:custGeom>
          <a:solidFill>
            <a:srgbClr val="FFFFFF"/>
          </a:solidFill>
        </p:spPr>
        <p:txBody>
          <a:bodyPr wrap="square" lIns="0" tIns="0" rIns="0" bIns="0" rtlCol="0"/>
          <a:lstStyle/>
          <a:p>
            <a:endParaRPr/>
          </a:p>
        </p:txBody>
      </p:sp>
      <p:sp>
        <p:nvSpPr>
          <p:cNvPr id="7" name="object 5"/>
          <p:cNvSpPr/>
          <p:nvPr/>
        </p:nvSpPr>
        <p:spPr>
          <a:xfrm>
            <a:off x="0" y="6218237"/>
            <a:ext cx="414655" cy="38100"/>
          </a:xfrm>
          <a:custGeom>
            <a:avLst/>
            <a:gdLst/>
            <a:ahLst/>
            <a:cxnLst/>
            <a:rect l="l" t="t" r="r" b="b"/>
            <a:pathLst>
              <a:path w="414655" h="38100">
                <a:moveTo>
                  <a:pt x="0" y="38100"/>
                </a:moveTo>
                <a:lnTo>
                  <a:pt x="414337" y="38100"/>
                </a:lnTo>
                <a:lnTo>
                  <a:pt x="414337" y="0"/>
                </a:lnTo>
                <a:lnTo>
                  <a:pt x="0" y="0"/>
                </a:lnTo>
                <a:lnTo>
                  <a:pt x="0" y="38100"/>
                </a:lnTo>
                <a:close/>
              </a:path>
            </a:pathLst>
          </a:custGeom>
          <a:solidFill>
            <a:srgbClr val="FFFFFF"/>
          </a:solidFill>
        </p:spPr>
        <p:txBody>
          <a:bodyPr wrap="square" lIns="0" tIns="0" rIns="0" bIns="0" rtlCol="0"/>
          <a:lstStyle/>
          <a:p>
            <a:endParaRPr/>
          </a:p>
        </p:txBody>
      </p:sp>
      <p:sp>
        <p:nvSpPr>
          <p:cNvPr id="9" name="object 7"/>
          <p:cNvSpPr/>
          <p:nvPr/>
        </p:nvSpPr>
        <p:spPr>
          <a:xfrm>
            <a:off x="441325" y="1195387"/>
            <a:ext cx="8702675" cy="5041900"/>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12" name="object 10"/>
          <p:cNvSpPr txBox="1"/>
          <p:nvPr/>
        </p:nvSpPr>
        <p:spPr>
          <a:xfrm>
            <a:off x="3131840" y="1412776"/>
            <a:ext cx="1456564" cy="245745"/>
          </a:xfrm>
          <a:prstGeom prst="rect">
            <a:avLst/>
          </a:prstGeom>
        </p:spPr>
        <p:txBody>
          <a:bodyPr vert="horz" wrap="square" lIns="0" tIns="0" rIns="0" bIns="0" rtlCol="0">
            <a:spAutoFit/>
          </a:bodyPr>
          <a:lstStyle/>
          <a:p>
            <a:pPr marL="12700">
              <a:lnSpc>
                <a:spcPct val="100000"/>
              </a:lnSpc>
            </a:pPr>
            <a:r>
              <a:rPr lang="en-US" sz="1600" b="1" i="1" spc="-5" dirty="0">
                <a:latin typeface="+mj-lt"/>
                <a:cs typeface="Bookman Old Style" panose="02050604050505020204"/>
              </a:rPr>
              <a:t>17</a:t>
            </a:r>
            <a:r>
              <a:rPr sz="1600" b="1" i="1" spc="-5" dirty="0" smtClean="0">
                <a:latin typeface="+mj-lt"/>
                <a:cs typeface="Bookman Old Style" panose="02050604050505020204"/>
              </a:rPr>
              <a:t>个国际机场</a:t>
            </a:r>
          </a:p>
        </p:txBody>
      </p:sp>
      <p:sp>
        <p:nvSpPr>
          <p:cNvPr id="13" name="object 11"/>
          <p:cNvSpPr txBox="1"/>
          <p:nvPr/>
        </p:nvSpPr>
        <p:spPr>
          <a:xfrm>
            <a:off x="3151123" y="2009266"/>
            <a:ext cx="1372870" cy="738505"/>
          </a:xfrm>
          <a:prstGeom prst="rect">
            <a:avLst/>
          </a:prstGeom>
        </p:spPr>
        <p:txBody>
          <a:bodyPr vert="horz" wrap="square" lIns="0" tIns="0" rIns="0" bIns="0" rtlCol="0">
            <a:spAutoFit/>
          </a:bodyPr>
          <a:lstStyle/>
          <a:p>
            <a:pPr marL="12700" marR="5080">
              <a:lnSpc>
                <a:spcPct val="100000"/>
              </a:lnSpc>
            </a:pPr>
            <a:r>
              <a:rPr sz="1600" b="0" i="1" dirty="0">
                <a:latin typeface="+mj-lt"/>
                <a:cs typeface="Bookman Old Style" panose="02050604050505020204"/>
              </a:rPr>
              <a:t>欧洲与非洲间最重要的枢纽机场</a:t>
            </a:r>
          </a:p>
        </p:txBody>
      </p:sp>
      <p:sp>
        <p:nvSpPr>
          <p:cNvPr id="14" name="object 12"/>
          <p:cNvSpPr txBox="1"/>
          <p:nvPr/>
        </p:nvSpPr>
        <p:spPr>
          <a:xfrm>
            <a:off x="7404607" y="1412905"/>
            <a:ext cx="1622425" cy="492125"/>
          </a:xfrm>
          <a:prstGeom prst="rect">
            <a:avLst/>
          </a:prstGeom>
        </p:spPr>
        <p:txBody>
          <a:bodyPr vert="horz" wrap="square" lIns="0" tIns="0" rIns="0" bIns="0" rtlCol="0">
            <a:spAutoFit/>
          </a:bodyPr>
          <a:lstStyle/>
          <a:p>
            <a:pPr marL="12700" marR="5080">
              <a:lnSpc>
                <a:spcPct val="100000"/>
              </a:lnSpc>
            </a:pPr>
            <a:r>
              <a:rPr lang="zh-CN" sz="1600" i="1" dirty="0">
                <a:latin typeface="+mj-lt"/>
                <a:cs typeface="Bookman Old Style" panose="02050604050505020204"/>
              </a:rPr>
              <a:t>现代化的</a:t>
            </a:r>
            <a:r>
              <a:rPr sz="1600" b="1" i="1" dirty="0">
                <a:latin typeface="+mj-lt"/>
                <a:cs typeface="Bookman Old Style" panose="02050604050505020204"/>
              </a:rPr>
              <a:t>城市交通基础设施</a:t>
            </a:r>
          </a:p>
        </p:txBody>
      </p:sp>
      <p:sp>
        <p:nvSpPr>
          <p:cNvPr id="15" name="object 13"/>
          <p:cNvSpPr txBox="1"/>
          <p:nvPr/>
        </p:nvSpPr>
        <p:spPr>
          <a:xfrm>
            <a:off x="7404607" y="2136902"/>
            <a:ext cx="1739393" cy="492125"/>
          </a:xfrm>
          <a:prstGeom prst="rect">
            <a:avLst/>
          </a:prstGeom>
        </p:spPr>
        <p:txBody>
          <a:bodyPr vert="horz" wrap="square" lIns="0" tIns="0" rIns="0" bIns="0" rtlCol="0">
            <a:spAutoFit/>
          </a:bodyPr>
          <a:lstStyle/>
          <a:p>
            <a:pPr marL="12700" marR="5080">
              <a:lnSpc>
                <a:spcPct val="100000"/>
              </a:lnSpc>
            </a:pPr>
            <a:r>
              <a:rPr lang="en-US" sz="1600" b="0" i="1" spc="-5" dirty="0">
                <a:latin typeface="+mj-lt"/>
                <a:cs typeface="Bookman Old Style" panose="02050604050505020204"/>
              </a:rPr>
              <a:t>2</a:t>
            </a:r>
            <a:r>
              <a:rPr lang="zh-CN" altLang="en-US" sz="1600" b="0" i="1" spc="-5" dirty="0">
                <a:latin typeface="+mj-lt"/>
                <a:cs typeface="Bookman Old Style" panose="02050604050505020204"/>
              </a:rPr>
              <a:t>条</a:t>
            </a:r>
            <a:r>
              <a:rPr lang="zh-CN" altLang="en-US" sz="1600" b="1" i="1" spc="-5" dirty="0">
                <a:latin typeface="+mj-lt"/>
                <a:cs typeface="Bookman Old Style" panose="02050604050505020204"/>
              </a:rPr>
              <a:t>有轨电车线路</a:t>
            </a:r>
            <a:r>
              <a:rPr lang="zh-CN" altLang="en-US" sz="1600" b="0" i="1" spc="-5" dirty="0">
                <a:latin typeface="+mj-lt"/>
                <a:cs typeface="Bookman Old Style" panose="02050604050505020204"/>
              </a:rPr>
              <a:t>已经运行</a:t>
            </a:r>
          </a:p>
        </p:txBody>
      </p:sp>
      <p:sp>
        <p:nvSpPr>
          <p:cNvPr id="16" name="object 14"/>
          <p:cNvSpPr txBox="1"/>
          <p:nvPr/>
        </p:nvSpPr>
        <p:spPr>
          <a:xfrm>
            <a:off x="3138297" y="3215640"/>
            <a:ext cx="1469390" cy="738505"/>
          </a:xfrm>
          <a:prstGeom prst="rect">
            <a:avLst/>
          </a:prstGeom>
        </p:spPr>
        <p:txBody>
          <a:bodyPr vert="horz" wrap="square" lIns="0" tIns="0" rIns="0" bIns="0" rtlCol="0">
            <a:spAutoFit/>
          </a:bodyPr>
          <a:lstStyle/>
          <a:p>
            <a:pPr marL="12700" marR="5080">
              <a:lnSpc>
                <a:spcPct val="100000"/>
              </a:lnSpc>
            </a:pPr>
            <a:r>
              <a:rPr lang="zh-CN" altLang="en-US" sz="1600" b="0" i="1" spc="-5" smtClean="0">
                <a:latin typeface="+mj-lt"/>
                <a:cs typeface="Bookman Old Style" panose="02050604050505020204"/>
              </a:rPr>
              <a:t>逾</a:t>
            </a:r>
            <a:r>
              <a:rPr lang="en-US" altLang="zh-CN" sz="1600" b="0" i="1" spc="-5" smtClean="0">
                <a:latin typeface="+mj-lt"/>
                <a:cs typeface="Bookman Old Style" panose="02050604050505020204"/>
              </a:rPr>
              <a:t>2000</a:t>
            </a:r>
            <a:r>
              <a:rPr lang="zh-CN" altLang="en-US" sz="1600" b="0" i="1" spc="-5" smtClean="0">
                <a:latin typeface="+mj-lt"/>
                <a:cs typeface="Bookman Old Style" panose="02050604050505020204"/>
              </a:rPr>
              <a:t>公里长的高速公路，覆盖主要的旅游中心</a:t>
            </a:r>
          </a:p>
        </p:txBody>
      </p:sp>
      <p:sp>
        <p:nvSpPr>
          <p:cNvPr id="17" name="object 15"/>
          <p:cNvSpPr txBox="1"/>
          <p:nvPr/>
        </p:nvSpPr>
        <p:spPr>
          <a:xfrm>
            <a:off x="7366507" y="3177651"/>
            <a:ext cx="1684020" cy="984885"/>
          </a:xfrm>
          <a:prstGeom prst="rect">
            <a:avLst/>
          </a:prstGeom>
        </p:spPr>
        <p:txBody>
          <a:bodyPr vert="horz" wrap="square" lIns="0" tIns="0" rIns="0" bIns="0" rtlCol="0">
            <a:spAutoFit/>
          </a:bodyPr>
          <a:lstStyle/>
          <a:p>
            <a:pPr marL="12700" marR="5080">
              <a:lnSpc>
                <a:spcPct val="100000"/>
              </a:lnSpc>
            </a:pPr>
            <a:r>
              <a:rPr lang="zh-CN" sz="1600" b="1" i="1" dirty="0">
                <a:latin typeface="+mj-lt"/>
                <a:cs typeface="Bookman Old Style" panose="02050604050505020204"/>
              </a:rPr>
              <a:t>高速火车：</a:t>
            </a:r>
          </a:p>
          <a:p>
            <a:pPr marL="12700" marR="5080">
              <a:lnSpc>
                <a:spcPct val="100000"/>
              </a:lnSpc>
            </a:pPr>
            <a:r>
              <a:rPr lang="zh-CN" sz="1600" b="0" i="1" spc="-5" dirty="0">
                <a:latin typeface="+mj-lt"/>
                <a:cs typeface="Bookman Old Style" panose="02050604050505020204"/>
              </a:rPr>
              <a:t>卡萨布兰卡</a:t>
            </a:r>
            <a:r>
              <a:rPr lang="en-US" altLang="zh-CN" sz="1600" b="0" i="1" spc="-5" dirty="0">
                <a:latin typeface="+mj-lt"/>
                <a:cs typeface="Bookman Old Style" panose="02050604050505020204"/>
              </a:rPr>
              <a:t>-</a:t>
            </a:r>
            <a:r>
              <a:rPr lang="zh-CN" altLang="en-US" sz="1600" b="0" i="1" spc="-5" dirty="0">
                <a:latin typeface="+mj-lt"/>
                <a:cs typeface="Bookman Old Style" panose="02050604050505020204"/>
              </a:rPr>
              <a:t>丹吉尔线路于</a:t>
            </a:r>
            <a:r>
              <a:rPr lang="en-US" altLang="zh-CN" sz="1600" b="0" i="1" spc="-5" dirty="0">
                <a:latin typeface="+mj-lt"/>
                <a:cs typeface="Bookman Old Style" panose="02050604050505020204"/>
              </a:rPr>
              <a:t>2017</a:t>
            </a:r>
            <a:r>
              <a:rPr lang="zh-CN" altLang="en-US" sz="1600" b="0" i="1" spc="-5" dirty="0">
                <a:latin typeface="+mj-lt"/>
                <a:cs typeface="Bookman Old Style" panose="02050604050505020204"/>
              </a:rPr>
              <a:t>年使用</a:t>
            </a:r>
          </a:p>
        </p:txBody>
      </p:sp>
      <p:sp>
        <p:nvSpPr>
          <p:cNvPr id="18" name="object 16"/>
          <p:cNvSpPr txBox="1"/>
          <p:nvPr/>
        </p:nvSpPr>
        <p:spPr>
          <a:xfrm>
            <a:off x="3168523" y="4769856"/>
            <a:ext cx="5236845" cy="912495"/>
          </a:xfrm>
          <a:prstGeom prst="rect">
            <a:avLst/>
          </a:prstGeom>
        </p:spPr>
        <p:txBody>
          <a:bodyPr vert="horz" wrap="square" lIns="0" tIns="0" rIns="0" bIns="0" rtlCol="0">
            <a:spAutoFit/>
          </a:bodyPr>
          <a:lstStyle/>
          <a:p>
            <a:pPr marL="12700">
              <a:lnSpc>
                <a:spcPts val="1360"/>
              </a:lnSpc>
            </a:pPr>
            <a:r>
              <a:rPr sz="1600" b="1" i="1" spc="-5" dirty="0">
                <a:latin typeface="+mj-lt"/>
                <a:cs typeface="Bookman Old Style" panose="02050604050505020204"/>
              </a:rPr>
              <a:t>丹吉尔地中海港：</a:t>
            </a:r>
            <a:r>
              <a:rPr lang="zh-CN" sz="1600" b="1" i="1" spc="-5" dirty="0">
                <a:latin typeface="+mj-lt"/>
                <a:cs typeface="Bookman Old Style" panose="02050604050505020204"/>
              </a:rPr>
              <a:t>世界</a:t>
            </a:r>
            <a:r>
              <a:rPr sz="1600" b="1" i="1" spc="-5" dirty="0">
                <a:latin typeface="+mj-lt"/>
                <a:cs typeface="Bookman Old Style" panose="02050604050505020204"/>
              </a:rPr>
              <a:t>第5大港</a:t>
            </a:r>
          </a:p>
          <a:p>
            <a:pPr marL="302260" indent="-175260">
              <a:buClr>
                <a:srgbClr val="3C6D81"/>
              </a:buClr>
              <a:buFont typeface="Bookman Old Style" panose="02050604050505020204"/>
              <a:buChar char="•"/>
              <a:tabLst>
                <a:tab pos="302260" algn="l"/>
              </a:tabLst>
            </a:pPr>
            <a:r>
              <a:rPr lang="zh-CN" sz="1600" b="0" i="1" spc="-5" dirty="0">
                <a:latin typeface="+mj-lt"/>
                <a:cs typeface="Bookman Old Style" panose="02050604050505020204"/>
              </a:rPr>
              <a:t>目前容量：</a:t>
            </a:r>
            <a:r>
              <a:rPr lang="en-US" altLang="zh-CN" sz="1600" b="0" i="1" spc="-5" dirty="0">
                <a:latin typeface="+mj-lt"/>
                <a:cs typeface="Bookman Old Style" panose="02050604050505020204"/>
              </a:rPr>
              <a:t>300</a:t>
            </a:r>
            <a:r>
              <a:rPr lang="zh-CN" altLang="en-US" sz="1600" b="0" i="1" spc="-5" dirty="0">
                <a:latin typeface="+mj-lt"/>
                <a:cs typeface="Bookman Old Style" panose="02050604050505020204"/>
              </a:rPr>
              <a:t>万集装箱</a:t>
            </a:r>
          </a:p>
          <a:p>
            <a:pPr marL="302260" indent="-175260">
              <a:buClr>
                <a:srgbClr val="3C6D81"/>
              </a:buClr>
              <a:buFont typeface="Bookman Old Style" panose="02050604050505020204"/>
              <a:buChar char="•"/>
              <a:tabLst>
                <a:tab pos="302260" algn="l"/>
              </a:tabLst>
            </a:pPr>
            <a:r>
              <a:rPr sz="1600" b="0" i="1" spc="-5" dirty="0">
                <a:latin typeface="+mj-lt"/>
                <a:cs typeface="Bookman Old Style" panose="02050604050505020204"/>
              </a:rPr>
              <a:t>201</a:t>
            </a:r>
            <a:r>
              <a:rPr lang="en-US" sz="1600" b="0" i="1" spc="-5" dirty="0">
                <a:latin typeface="+mj-lt"/>
                <a:cs typeface="Bookman Old Style" panose="02050604050505020204"/>
              </a:rPr>
              <a:t>7</a:t>
            </a:r>
            <a:r>
              <a:rPr sz="1600" b="0" i="1" spc="-5" dirty="0">
                <a:latin typeface="+mj-lt"/>
                <a:cs typeface="Bookman Old Style" panose="02050604050505020204"/>
              </a:rPr>
              <a:t>年容量达到850万集装箱</a:t>
            </a:r>
          </a:p>
          <a:p>
            <a:pPr marL="302260" marR="5080" indent="-175260">
              <a:buClr>
                <a:srgbClr val="3C6D81"/>
              </a:buClr>
              <a:buFont typeface="Bookman Old Style" panose="02050604050505020204"/>
              <a:buChar char="•"/>
              <a:tabLst>
                <a:tab pos="302260" algn="l"/>
              </a:tabLst>
            </a:pPr>
            <a:r>
              <a:rPr lang="zh-CN" sz="1600" b="0" i="1" spc="-5" dirty="0">
                <a:latin typeface="+mj-lt"/>
                <a:cs typeface="Bookman Old Style" panose="02050604050505020204"/>
              </a:rPr>
              <a:t>集工业、物流和商业于一体，基础设施完善</a:t>
            </a:r>
          </a:p>
        </p:txBody>
      </p:sp>
      <p:sp>
        <p:nvSpPr>
          <p:cNvPr id="19" name="object 17"/>
          <p:cNvSpPr/>
          <p:nvPr/>
        </p:nvSpPr>
        <p:spPr>
          <a:xfrm>
            <a:off x="4886325" y="1357249"/>
            <a:ext cx="2335149" cy="1527175"/>
          </a:xfrm>
          <a:prstGeom prst="rect">
            <a:avLst/>
          </a:prstGeom>
          <a:blipFill>
            <a:blip r:embed="rId2" cstate="print"/>
            <a:stretch>
              <a:fillRect/>
            </a:stretch>
          </a:blipFill>
        </p:spPr>
        <p:txBody>
          <a:bodyPr wrap="square" lIns="0" tIns="0" rIns="0" bIns="0" rtlCol="0"/>
          <a:lstStyle/>
          <a:p>
            <a:endParaRPr sz="2400">
              <a:latin typeface="+mj-lt"/>
            </a:endParaRPr>
          </a:p>
        </p:txBody>
      </p:sp>
      <p:sp>
        <p:nvSpPr>
          <p:cNvPr id="20" name="object 18"/>
          <p:cNvSpPr/>
          <p:nvPr/>
        </p:nvSpPr>
        <p:spPr>
          <a:xfrm>
            <a:off x="611187" y="4716526"/>
            <a:ext cx="2384425" cy="1357249"/>
          </a:xfrm>
          <a:prstGeom prst="rect">
            <a:avLst/>
          </a:prstGeom>
          <a:blipFill>
            <a:blip r:embed="rId3" cstate="print"/>
            <a:stretch>
              <a:fillRect/>
            </a:stretch>
          </a:blipFill>
        </p:spPr>
        <p:txBody>
          <a:bodyPr wrap="square" lIns="0" tIns="0" rIns="0" bIns="0" rtlCol="0"/>
          <a:lstStyle/>
          <a:p>
            <a:endParaRPr/>
          </a:p>
        </p:txBody>
      </p:sp>
      <p:sp>
        <p:nvSpPr>
          <p:cNvPr id="21" name="object 19"/>
          <p:cNvSpPr/>
          <p:nvPr/>
        </p:nvSpPr>
        <p:spPr>
          <a:xfrm>
            <a:off x="608012" y="3021076"/>
            <a:ext cx="2387600" cy="1525524"/>
          </a:xfrm>
          <a:prstGeom prst="rect">
            <a:avLst/>
          </a:prstGeom>
          <a:blipFill>
            <a:blip r:embed="rId4" cstate="print"/>
            <a:stretch>
              <a:fillRect/>
            </a:stretch>
          </a:blipFill>
        </p:spPr>
        <p:txBody>
          <a:bodyPr wrap="square" lIns="0" tIns="0" rIns="0" bIns="0" rtlCol="0"/>
          <a:lstStyle/>
          <a:p>
            <a:endParaRPr/>
          </a:p>
        </p:txBody>
      </p:sp>
      <p:sp>
        <p:nvSpPr>
          <p:cNvPr id="22" name="object 20"/>
          <p:cNvSpPr/>
          <p:nvPr/>
        </p:nvSpPr>
        <p:spPr>
          <a:xfrm>
            <a:off x="590550" y="1316100"/>
            <a:ext cx="2390775" cy="1493774"/>
          </a:xfrm>
          <a:prstGeom prst="rect">
            <a:avLst/>
          </a:prstGeom>
          <a:blipFill>
            <a:blip r:embed="rId5" cstate="print"/>
            <a:stretch>
              <a:fillRect/>
            </a:stretch>
          </a:blipFill>
        </p:spPr>
        <p:txBody>
          <a:bodyPr wrap="square" lIns="0" tIns="0" rIns="0" bIns="0" rtlCol="0"/>
          <a:lstStyle/>
          <a:p>
            <a:endParaRPr/>
          </a:p>
        </p:txBody>
      </p:sp>
      <p:sp>
        <p:nvSpPr>
          <p:cNvPr id="23" name="object 21"/>
          <p:cNvSpPr/>
          <p:nvPr/>
        </p:nvSpPr>
        <p:spPr>
          <a:xfrm>
            <a:off x="4907026" y="3021076"/>
            <a:ext cx="2327275" cy="1604899"/>
          </a:xfrm>
          <a:prstGeom prst="rect">
            <a:avLst/>
          </a:prstGeom>
          <a:blipFill>
            <a:blip r:embed="rId6" cstate="print"/>
            <a:stretch>
              <a:fillRect/>
            </a:stretch>
          </a:blipFill>
        </p:spPr>
        <p:txBody>
          <a:bodyPr wrap="square" lIns="0" tIns="0" rIns="0" bIns="0" rtlCol="0"/>
          <a:lstStyle/>
          <a:p>
            <a:endParaRPr sz="2400">
              <a:latin typeface="+mj-lt"/>
            </a:endParaRPr>
          </a:p>
        </p:txBody>
      </p:sp>
      <p:sp>
        <p:nvSpPr>
          <p:cNvPr id="24" name="object 10"/>
          <p:cNvSpPr txBox="1"/>
          <p:nvPr/>
        </p:nvSpPr>
        <p:spPr>
          <a:xfrm>
            <a:off x="498590" y="67271"/>
            <a:ext cx="8352928" cy="768350"/>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dirty="0">
                <a:ea typeface="宋体" panose="02010600030101010101" pitchFamily="2" charset="-122"/>
                <a:sym typeface="+mn-ea"/>
              </a:rPr>
              <a:t>为何投资摩洛哥旅游业？</a:t>
            </a:r>
            <a:endParaRPr dirty="0"/>
          </a:p>
          <a:p>
            <a:r>
              <a:rPr lang="zh-CN" altLang="en-US" sz="2000" dirty="0" smtClean="0">
                <a:ea typeface="宋体" panose="02010600030101010101" pitchFamily="2" charset="-122"/>
              </a:rPr>
              <a:t>一流的基础设施</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5" name="Objet 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8" name="think-cell Slide" r:id="rId6" imgW="12700" imgH="12700" progId="">
                  <p:embed/>
                </p:oleObj>
              </mc:Choice>
              <mc:Fallback>
                <p:oleObj name="think-cell Slide" r:id="rId6" imgW="12700" imgH="12700" progId="">
                  <p:embed/>
                  <p:pic>
                    <p:nvPicPr>
                      <p:cNvPr id="0" name="图片 4096"/>
                      <p:cNvPicPr>
                        <a:picLocks noChangeAspect="1"/>
                      </p:cNvPicPr>
                      <p:nvPr/>
                    </p:nvPicPr>
                    <p:blipFill>
                      <a:blip r:embed="rId7"/>
                      <a:stretch>
                        <a:fillRect/>
                      </a:stretch>
                    </p:blipFill>
                    <p:spPr>
                      <a:xfrm>
                        <a:off x="0" y="0"/>
                        <a:ext cx="158750" cy="158750"/>
                      </a:xfrm>
                      <a:prstGeom prst="rect">
                        <a:avLst/>
                      </a:prstGeom>
                      <a:noFill/>
                      <a:ln w="9525">
                        <a:noFill/>
                      </a:ln>
                    </p:spPr>
                  </p:pic>
                </p:oleObj>
              </mc:Fallback>
            </mc:AlternateContent>
          </a:graphicData>
        </a:graphic>
      </p:graphicFrame>
      <p:sp>
        <p:nvSpPr>
          <p:cNvPr id="23556" name="Rectangle 11"/>
          <p:cNvSpPr>
            <a:spLocks noChangeArrowheads="1"/>
          </p:cNvSpPr>
          <p:nvPr/>
        </p:nvSpPr>
        <p:spPr bwMode="auto">
          <a:xfrm>
            <a:off x="1374775" y="765175"/>
            <a:ext cx="1857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89535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SzPct val="120000"/>
              <a:buFontTx/>
              <a:buNone/>
            </a:pPr>
            <a:endParaRPr lang="fr-FR" altLang="fr-FR" sz="1600" b="1" dirty="0">
              <a:solidFill>
                <a:schemeClr val="bg1"/>
              </a:solidFill>
              <a:latin typeface="Georgia" panose="02040502050405020303" pitchFamily="18" charset="0"/>
            </a:endParaRPr>
          </a:p>
        </p:txBody>
      </p:sp>
      <p:sp>
        <p:nvSpPr>
          <p:cNvPr id="3" name="Rectangle 2"/>
          <p:cNvSpPr/>
          <p:nvPr/>
        </p:nvSpPr>
        <p:spPr>
          <a:xfrm>
            <a:off x="3486900" y="260648"/>
            <a:ext cx="184731" cy="369332"/>
          </a:xfrm>
          <a:prstGeom prst="rect">
            <a:avLst/>
          </a:prstGeom>
        </p:spPr>
        <p:txBody>
          <a:bodyPr wrap="none">
            <a:spAutoFit/>
          </a:bodyPr>
          <a:lstStyle/>
          <a:p>
            <a:pPr algn="ctr" fontAlgn="auto">
              <a:spcBef>
                <a:spcPts val="0"/>
              </a:spcBef>
              <a:spcAft>
                <a:spcPts val="0"/>
              </a:spcAft>
              <a:defRPr/>
            </a:pPr>
            <a:endParaRPr lang="en-US" b="1" dirty="0">
              <a:solidFill>
                <a:schemeClr val="bg1">
                  <a:lumMod val="95000"/>
                </a:schemeClr>
              </a:solidFill>
              <a:latin typeface="Georgia" panose="02040502050405020303" pitchFamily="18" charset="0"/>
              <a:cs typeface="+mn-cs"/>
            </a:endParaRPr>
          </a:p>
        </p:txBody>
      </p:sp>
      <p:sp>
        <p:nvSpPr>
          <p:cNvPr id="8" name="ZoneTexte 67"/>
          <p:cNvSpPr txBox="1">
            <a:spLocks noChangeArrowheads="1"/>
          </p:cNvSpPr>
          <p:nvPr>
            <p:custDataLst>
              <p:tags r:id="rId2"/>
            </p:custDataLst>
          </p:nvPr>
        </p:nvSpPr>
        <p:spPr bwMode="auto">
          <a:xfrm>
            <a:off x="92264" y="230168"/>
            <a:ext cx="82477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just" eaLnBrk="1" hangingPunct="1">
              <a:spcBef>
                <a:spcPct val="0"/>
              </a:spcBef>
              <a:buFontTx/>
              <a:buNone/>
            </a:pPr>
            <a:r>
              <a:rPr lang="fr-FR" altLang="fr-FR" sz="2400" b="1" dirty="0" smtClean="0">
                <a:solidFill>
                  <a:schemeClr val="bg1"/>
                </a:solidFill>
                <a:latin typeface="+mj-lt"/>
              </a:rPr>
              <a:t>MARKETING- Réalisation 1</a:t>
            </a:r>
            <a:r>
              <a:rPr lang="fr-FR" altLang="fr-FR" sz="2400" b="1" baseline="30000" dirty="0" smtClean="0">
                <a:solidFill>
                  <a:schemeClr val="bg1"/>
                </a:solidFill>
                <a:latin typeface="+mj-lt"/>
              </a:rPr>
              <a:t>er</a:t>
            </a:r>
            <a:r>
              <a:rPr lang="fr-FR" altLang="fr-FR" sz="2400" b="1" dirty="0" smtClean="0">
                <a:solidFill>
                  <a:schemeClr val="bg1"/>
                </a:solidFill>
                <a:latin typeface="+mj-lt"/>
              </a:rPr>
              <a:t> Semestre 2017</a:t>
            </a:r>
            <a:endParaRPr lang="fr-FR" altLang="fr-FR" sz="2400" b="1" dirty="0">
              <a:solidFill>
                <a:schemeClr val="bg1"/>
              </a:solidFill>
              <a:latin typeface="+mj-lt"/>
            </a:endParaRPr>
          </a:p>
        </p:txBody>
      </p:sp>
      <p:sp>
        <p:nvSpPr>
          <p:cNvPr id="9" name="ZoneTexte 67"/>
          <p:cNvSpPr txBox="1">
            <a:spLocks noChangeArrowheads="1"/>
          </p:cNvSpPr>
          <p:nvPr>
            <p:custDataLst>
              <p:tags r:id="rId3"/>
            </p:custDataLst>
          </p:nvPr>
        </p:nvSpPr>
        <p:spPr bwMode="auto">
          <a:xfrm>
            <a:off x="323528" y="2952240"/>
            <a:ext cx="84249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just" eaLnBrk="1" hangingPunct="1">
              <a:spcBef>
                <a:spcPct val="0"/>
              </a:spcBef>
              <a:buFontTx/>
              <a:buNone/>
            </a:pPr>
            <a:r>
              <a:rPr lang="zh-CN" altLang="en-US" sz="2400" b="1" dirty="0" smtClean="0">
                <a:solidFill>
                  <a:schemeClr val="bg1"/>
                </a:solidFill>
                <a:latin typeface="+mj-lt"/>
              </a:rPr>
              <a:t>政府支持与激励措施</a:t>
            </a:r>
            <a:endParaRPr lang="en-US" altLang="fr-FR" sz="2400" b="1" dirty="0">
              <a:solidFill>
                <a:schemeClr val="bg1"/>
              </a:solidFill>
              <a:latin typeface="+mj-lt"/>
            </a:endParaRPr>
          </a:p>
        </p:txBody>
      </p:sp>
      <p:sp>
        <p:nvSpPr>
          <p:cNvPr id="12" name="object 9"/>
          <p:cNvSpPr/>
          <p:nvPr/>
        </p:nvSpPr>
        <p:spPr>
          <a:xfrm>
            <a:off x="76998" y="3805001"/>
            <a:ext cx="414655" cy="2786380"/>
          </a:xfrm>
          <a:custGeom>
            <a:avLst/>
            <a:gdLst/>
            <a:ahLst/>
            <a:cxnLst/>
            <a:rect l="l" t="t" r="r" b="b"/>
            <a:pathLst>
              <a:path w="414655" h="2786379">
                <a:moveTo>
                  <a:pt x="0" y="2785999"/>
                </a:moveTo>
                <a:lnTo>
                  <a:pt x="414336" y="2785999"/>
                </a:lnTo>
                <a:lnTo>
                  <a:pt x="414336" y="0"/>
                </a:lnTo>
                <a:lnTo>
                  <a:pt x="0" y="0"/>
                </a:lnTo>
                <a:lnTo>
                  <a:pt x="0" y="2785999"/>
                </a:lnTo>
                <a:close/>
              </a:path>
            </a:pathLst>
          </a:cu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15" name="object 13"/>
          <p:cNvSpPr/>
          <p:nvPr/>
        </p:nvSpPr>
        <p:spPr>
          <a:xfrm>
            <a:off x="293583" y="3858978"/>
            <a:ext cx="2097024" cy="1357249"/>
          </a:xfrm>
          <a:prstGeom prst="rect">
            <a:avLst/>
          </a:prstGeom>
          <a:blipFill>
            <a:blip r:embed="rId8" cstate="print"/>
            <a:stretch>
              <a:fillRect/>
            </a:stretch>
          </a:blipFill>
        </p:spPr>
        <p:txBody>
          <a:bodyPr wrap="square" lIns="0" tIns="0" rIns="0" bIns="0" rtlCol="0"/>
          <a:lstStyle/>
          <a:p>
            <a:endParaRPr/>
          </a:p>
        </p:txBody>
      </p:sp>
      <p:sp>
        <p:nvSpPr>
          <p:cNvPr id="16" name="object 14"/>
          <p:cNvSpPr/>
          <p:nvPr/>
        </p:nvSpPr>
        <p:spPr>
          <a:xfrm>
            <a:off x="299933" y="5227403"/>
            <a:ext cx="4241863" cy="1369949"/>
          </a:xfrm>
          <a:prstGeom prst="rect">
            <a:avLst/>
          </a:prstGeom>
          <a:blipFill>
            <a:blip r:embed="rId9" cstate="print"/>
            <a:stretch>
              <a:fillRect/>
            </a:stretch>
          </a:blipFill>
        </p:spPr>
        <p:txBody>
          <a:bodyPr wrap="square" lIns="0" tIns="0" rIns="0" bIns="0" rtlCol="0"/>
          <a:lstStyle/>
          <a:p>
            <a:endParaRPr/>
          </a:p>
        </p:txBody>
      </p:sp>
      <p:sp>
        <p:nvSpPr>
          <p:cNvPr id="17" name="object 15"/>
          <p:cNvSpPr/>
          <p:nvPr/>
        </p:nvSpPr>
        <p:spPr>
          <a:xfrm>
            <a:off x="2401847" y="3860502"/>
            <a:ext cx="4348099" cy="1368425"/>
          </a:xfrm>
          <a:prstGeom prst="rect">
            <a:avLst/>
          </a:prstGeom>
          <a:blipFill>
            <a:blip r:embed="rId10" cstate="print"/>
            <a:stretch>
              <a:fillRect/>
            </a:stretch>
          </a:blipFill>
        </p:spPr>
        <p:txBody>
          <a:bodyPr wrap="square" lIns="0" tIns="0" rIns="0" bIns="0" rtlCol="0"/>
          <a:lstStyle/>
          <a:p>
            <a:endParaRPr/>
          </a:p>
        </p:txBody>
      </p:sp>
      <p:sp>
        <p:nvSpPr>
          <p:cNvPr id="18" name="object 16"/>
          <p:cNvSpPr/>
          <p:nvPr/>
        </p:nvSpPr>
        <p:spPr>
          <a:xfrm>
            <a:off x="4552846" y="5238451"/>
            <a:ext cx="2197100" cy="1352550"/>
          </a:xfrm>
          <a:prstGeom prst="rect">
            <a:avLst/>
          </a:prstGeom>
          <a:blipFill>
            <a:blip r:embed="rId11" cstate="print"/>
            <a:stretch>
              <a:fillRect/>
            </a:stretch>
          </a:blipFill>
        </p:spPr>
        <p:txBody>
          <a:bodyPr wrap="square" lIns="0" tIns="0" rIns="0" bIns="0" rtlCol="0"/>
          <a:lstStyle/>
          <a:p>
            <a:endParaRPr/>
          </a:p>
        </p:txBody>
      </p:sp>
      <p:sp>
        <p:nvSpPr>
          <p:cNvPr id="19" name="object 17"/>
          <p:cNvSpPr/>
          <p:nvPr/>
        </p:nvSpPr>
        <p:spPr>
          <a:xfrm>
            <a:off x="6761122" y="3860628"/>
            <a:ext cx="2217673" cy="2730373"/>
          </a:xfrm>
          <a:prstGeom prst="rect">
            <a:avLst/>
          </a:prstGeom>
          <a:blipFill>
            <a:blip r:embed="rId12"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10"/>
          <p:cNvSpPr txBox="1"/>
          <p:nvPr/>
        </p:nvSpPr>
        <p:spPr>
          <a:xfrm>
            <a:off x="498590" y="188640"/>
            <a:ext cx="8352928" cy="461665"/>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altLang="en-US" dirty="0" smtClean="0"/>
              <a:t>政府支持与愿景</a:t>
            </a:r>
            <a:r>
              <a:rPr lang="en-US" altLang="zh-CN" dirty="0" smtClean="0"/>
              <a:t>2020</a:t>
            </a:r>
            <a:endParaRPr lang="en-US" sz="2000" dirty="0"/>
          </a:p>
        </p:txBody>
      </p:sp>
      <p:sp>
        <p:nvSpPr>
          <p:cNvPr id="6" name="object 4"/>
          <p:cNvSpPr/>
          <p:nvPr/>
        </p:nvSpPr>
        <p:spPr>
          <a:xfrm>
            <a:off x="0" y="1176400"/>
            <a:ext cx="414655" cy="38100"/>
          </a:xfrm>
          <a:custGeom>
            <a:avLst/>
            <a:gdLst/>
            <a:ahLst/>
            <a:cxnLst/>
            <a:rect l="l" t="t" r="r" b="b"/>
            <a:pathLst>
              <a:path w="414655" h="38100">
                <a:moveTo>
                  <a:pt x="0" y="38100"/>
                </a:moveTo>
                <a:lnTo>
                  <a:pt x="414337" y="38100"/>
                </a:lnTo>
                <a:lnTo>
                  <a:pt x="414337" y="0"/>
                </a:lnTo>
                <a:lnTo>
                  <a:pt x="0" y="0"/>
                </a:lnTo>
                <a:lnTo>
                  <a:pt x="0" y="38100"/>
                </a:lnTo>
                <a:close/>
              </a:path>
            </a:pathLst>
          </a:custGeom>
          <a:solidFill>
            <a:srgbClr val="FFFFFF"/>
          </a:solidFill>
        </p:spPr>
        <p:txBody>
          <a:bodyPr wrap="square" lIns="0" tIns="0" rIns="0" bIns="0" rtlCol="0"/>
          <a:lstStyle/>
          <a:p>
            <a:endParaRPr/>
          </a:p>
        </p:txBody>
      </p:sp>
      <p:sp>
        <p:nvSpPr>
          <p:cNvPr id="9" name="object 7"/>
          <p:cNvSpPr/>
          <p:nvPr/>
        </p:nvSpPr>
        <p:spPr>
          <a:xfrm>
            <a:off x="441325" y="1195387"/>
            <a:ext cx="8702675" cy="5041900"/>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12" name="object 10"/>
          <p:cNvSpPr/>
          <p:nvPr/>
        </p:nvSpPr>
        <p:spPr>
          <a:xfrm>
            <a:off x="539552" y="1505583"/>
            <a:ext cx="2166747" cy="1563377"/>
          </a:xfrm>
          <a:prstGeom prst="rect">
            <a:avLst/>
          </a:prstGeom>
          <a:blipFill>
            <a:blip r:embed="rId2" cstate="print"/>
            <a:stretch>
              <a:fillRect/>
            </a:stretch>
          </a:blipFill>
        </p:spPr>
        <p:txBody>
          <a:bodyPr wrap="square" lIns="0" tIns="0" rIns="0" bIns="0" rtlCol="0"/>
          <a:lstStyle/>
          <a:p>
            <a:endParaRPr/>
          </a:p>
        </p:txBody>
      </p:sp>
      <p:sp>
        <p:nvSpPr>
          <p:cNvPr id="13" name="object 11"/>
          <p:cNvSpPr txBox="1"/>
          <p:nvPr/>
        </p:nvSpPr>
        <p:spPr>
          <a:xfrm>
            <a:off x="2824098" y="3902859"/>
            <a:ext cx="5986145" cy="246221"/>
          </a:xfrm>
          <a:prstGeom prst="rect">
            <a:avLst/>
          </a:prstGeom>
        </p:spPr>
        <p:txBody>
          <a:bodyPr vert="horz" wrap="square" lIns="0" tIns="0" rIns="0" bIns="0" rtlCol="0">
            <a:spAutoFit/>
          </a:bodyPr>
          <a:lstStyle/>
          <a:p>
            <a:pPr marL="299085" indent="-286385">
              <a:lnSpc>
                <a:spcPct val="100000"/>
              </a:lnSpc>
              <a:buFont typeface="Arial" panose="020B0604020202020204"/>
              <a:buChar char="•"/>
              <a:tabLst>
                <a:tab pos="299085" algn="l"/>
                <a:tab pos="299720" algn="l"/>
              </a:tabLst>
            </a:pPr>
            <a:r>
              <a:rPr lang="zh-CN" altLang="en-US" sz="1600" b="1" dirty="0" smtClean="0">
                <a:latin typeface="+mj-lt"/>
                <a:cs typeface="Bookman Old Style" panose="02050604050505020204"/>
              </a:rPr>
              <a:t>政府官员直接参与</a:t>
            </a:r>
            <a:r>
              <a:rPr lang="zh-CN" altLang="en-US" sz="1600" dirty="0" smtClean="0">
                <a:latin typeface="+mj-lt"/>
                <a:cs typeface="Bookman Old Style" panose="02050604050505020204"/>
              </a:rPr>
              <a:t>，容易接触到</a:t>
            </a:r>
            <a:r>
              <a:rPr lang="zh-CN" altLang="en-US" sz="1600" b="1" dirty="0" smtClean="0">
                <a:latin typeface="+mj-lt"/>
                <a:cs typeface="Bookman Old Style" panose="02050604050505020204"/>
              </a:rPr>
              <a:t>旅游部长和其他重要官员</a:t>
            </a:r>
            <a:endParaRPr lang="en-US" sz="1600" dirty="0">
              <a:latin typeface="+mj-lt"/>
              <a:cs typeface="Bookman Old Style" panose="02050604050505020204"/>
            </a:endParaRPr>
          </a:p>
        </p:txBody>
      </p:sp>
      <p:sp>
        <p:nvSpPr>
          <p:cNvPr id="14" name="object 12"/>
          <p:cNvSpPr txBox="1"/>
          <p:nvPr/>
        </p:nvSpPr>
        <p:spPr>
          <a:xfrm>
            <a:off x="2779522" y="4880773"/>
            <a:ext cx="6179820" cy="492443"/>
          </a:xfrm>
          <a:prstGeom prst="rect">
            <a:avLst/>
          </a:prstGeom>
        </p:spPr>
        <p:txBody>
          <a:bodyPr vert="horz" wrap="square" lIns="0" tIns="0" rIns="0" bIns="0" rtlCol="0">
            <a:spAutoFit/>
          </a:bodyPr>
          <a:lstStyle/>
          <a:p>
            <a:pPr marL="299085" marR="5080" indent="-286385" algn="just">
              <a:lnSpc>
                <a:spcPct val="100000"/>
              </a:lnSpc>
              <a:buFont typeface="Arial" panose="020B0604020202020204"/>
              <a:buChar char="•"/>
              <a:tabLst>
                <a:tab pos="299720" algn="l"/>
              </a:tabLst>
            </a:pPr>
            <a:r>
              <a:rPr lang="zh-CN" altLang="en-US" sz="1600" b="0" spc="-10" dirty="0" smtClean="0">
                <a:latin typeface="+mj-lt"/>
                <a:cs typeface="Bookman Old Style" panose="02050604050505020204"/>
              </a:rPr>
              <a:t>政府还鼓励</a:t>
            </a:r>
            <a:r>
              <a:rPr lang="zh-CN" altLang="en-US" sz="1600" b="1" spc="-10" dirty="0" smtClean="0">
                <a:latin typeface="+mj-lt"/>
                <a:cs typeface="Bookman Old Style" panose="02050604050505020204"/>
              </a:rPr>
              <a:t>银行体系</a:t>
            </a:r>
            <a:r>
              <a:rPr lang="zh-CN" altLang="en-US" sz="1600" b="0" spc="-10" dirty="0" smtClean="0">
                <a:latin typeface="+mj-lt"/>
                <a:cs typeface="Bookman Old Style" panose="02050604050505020204"/>
              </a:rPr>
              <a:t>参与其中：</a:t>
            </a:r>
            <a:r>
              <a:rPr lang="en-US" altLang="zh-CN" sz="1600" spc="-10" dirty="0" smtClean="0">
                <a:latin typeface="+mj-lt"/>
                <a:cs typeface="Bookman Old Style" panose="02050604050505020204"/>
              </a:rPr>
              <a:t>3</a:t>
            </a:r>
            <a:r>
              <a:rPr lang="zh-CN" altLang="en-US" sz="1600" spc="-10" dirty="0" smtClean="0">
                <a:latin typeface="+mj-lt"/>
                <a:cs typeface="Bookman Old Style" panose="02050604050505020204"/>
              </a:rPr>
              <a:t>家</a:t>
            </a:r>
            <a:r>
              <a:rPr lang="zh-CN" altLang="en-US" sz="1600" b="1" spc="-10" dirty="0" smtClean="0">
                <a:latin typeface="+mj-lt"/>
                <a:cs typeface="Bookman Old Style" panose="02050604050505020204"/>
              </a:rPr>
              <a:t>在非洲排名前十</a:t>
            </a:r>
            <a:r>
              <a:rPr lang="zh-CN" altLang="en-US" sz="1600" b="0" spc="-10" dirty="0" smtClean="0">
                <a:latin typeface="+mj-lt"/>
                <a:cs typeface="Bookman Old Style" panose="02050604050505020204"/>
              </a:rPr>
              <a:t>的摩洛哥银行可以为旅游业提供高效和定制化的融资解决方案。</a:t>
            </a:r>
            <a:endParaRPr sz="1600" dirty="0">
              <a:latin typeface="+mj-lt"/>
              <a:cs typeface="Bookman Old Style" panose="02050604050505020204"/>
            </a:endParaRPr>
          </a:p>
        </p:txBody>
      </p:sp>
      <p:sp>
        <p:nvSpPr>
          <p:cNvPr id="18" name="object 16"/>
          <p:cNvSpPr txBox="1"/>
          <p:nvPr/>
        </p:nvSpPr>
        <p:spPr>
          <a:xfrm>
            <a:off x="2824098" y="1519624"/>
            <a:ext cx="6068382" cy="1477328"/>
          </a:xfrm>
          <a:prstGeom prst="rect">
            <a:avLst/>
          </a:prstGeom>
        </p:spPr>
        <p:txBody>
          <a:bodyPr vert="horz" wrap="square" lIns="0" tIns="0" rIns="0" bIns="0" rtlCol="0">
            <a:spAutoFit/>
          </a:bodyPr>
          <a:lstStyle/>
          <a:p>
            <a:pPr marL="182245" marR="5080" algn="just">
              <a:lnSpc>
                <a:spcPct val="100000"/>
              </a:lnSpc>
            </a:pPr>
            <a:r>
              <a:rPr lang="zh-CN" altLang="en-US" sz="1600" b="0" dirty="0" smtClean="0">
                <a:latin typeface="+mj-lt"/>
                <a:cs typeface="Bookman Old Style" panose="02050604050505020204"/>
              </a:rPr>
              <a:t>在</a:t>
            </a:r>
            <a:r>
              <a:rPr lang="zh-CN" altLang="en-US" sz="1600" b="1" dirty="0" smtClean="0">
                <a:latin typeface="+mj-lt"/>
                <a:cs typeface="Bookman Old Style" panose="02050604050505020204"/>
              </a:rPr>
              <a:t>国王穆罕默德六世</a:t>
            </a:r>
            <a:r>
              <a:rPr lang="zh-CN" altLang="en-US" sz="1600" b="0" dirty="0" smtClean="0">
                <a:latin typeface="+mj-lt"/>
                <a:cs typeface="Bookman Old Style" panose="02050604050505020204"/>
              </a:rPr>
              <a:t>的指导下，摩洛哥启动了“</a:t>
            </a:r>
            <a:r>
              <a:rPr lang="zh-CN" altLang="en-US" sz="1600" b="1" dirty="0" smtClean="0">
                <a:latin typeface="+mj-lt"/>
                <a:cs typeface="Bookman Old Style" panose="02050604050505020204"/>
              </a:rPr>
              <a:t>愿景</a:t>
            </a:r>
            <a:r>
              <a:rPr lang="en-US" altLang="zh-CN" sz="1600" b="1" dirty="0" smtClean="0">
                <a:latin typeface="+mj-lt"/>
                <a:cs typeface="Bookman Old Style" panose="02050604050505020204"/>
              </a:rPr>
              <a:t>2020</a:t>
            </a:r>
            <a:r>
              <a:rPr lang="zh-CN" altLang="en-US" sz="1600" b="0" dirty="0" smtClean="0">
                <a:latin typeface="+mj-lt"/>
                <a:cs typeface="Bookman Old Style" panose="02050604050505020204"/>
              </a:rPr>
              <a:t>”，这是一系列雄心勃勃的旅游发展战略目标：</a:t>
            </a:r>
            <a:endParaRPr sz="1600" dirty="0">
              <a:latin typeface="+mj-lt"/>
              <a:cs typeface="Bookman Old Style" panose="02050604050505020204"/>
            </a:endParaRPr>
          </a:p>
          <a:p>
            <a:pPr marL="468630" indent="-286385" algn="just">
              <a:lnSpc>
                <a:spcPct val="100000"/>
              </a:lnSpc>
              <a:buFont typeface="Arial" panose="020B0604020202020204"/>
              <a:buChar char="•"/>
              <a:tabLst>
                <a:tab pos="469265" algn="l"/>
              </a:tabLst>
            </a:pPr>
            <a:r>
              <a:rPr lang="zh-CN" altLang="en-US" sz="1600" b="0" spc="-5" dirty="0" smtClean="0">
                <a:latin typeface="+mj-lt"/>
                <a:cs typeface="Bookman Old Style" panose="02050604050505020204"/>
              </a:rPr>
              <a:t>增加</a:t>
            </a:r>
            <a:r>
              <a:rPr lang="en-US" altLang="zh-CN" sz="1600" b="0" spc="-5" dirty="0" smtClean="0">
                <a:latin typeface="+mj-lt"/>
                <a:cs typeface="Bookman Old Style" panose="02050604050505020204"/>
              </a:rPr>
              <a:t>20</a:t>
            </a:r>
            <a:r>
              <a:rPr lang="zh-CN" altLang="en-US" sz="1600" b="0" spc="-5" dirty="0" smtClean="0">
                <a:latin typeface="+mj-lt"/>
                <a:cs typeface="Bookman Old Style" panose="02050604050505020204"/>
              </a:rPr>
              <a:t>万个床位，</a:t>
            </a:r>
            <a:r>
              <a:rPr lang="zh-CN" altLang="en-US" sz="1600" b="1" spc="-5" dirty="0" smtClean="0">
                <a:latin typeface="+mj-lt"/>
                <a:cs typeface="Bookman Old Style" panose="02050604050505020204"/>
              </a:rPr>
              <a:t>使床位数量增加一倍</a:t>
            </a:r>
            <a:endParaRPr sz="1600" b="1" dirty="0">
              <a:latin typeface="+mj-lt"/>
              <a:cs typeface="Bookman Old Style" panose="02050604050505020204"/>
            </a:endParaRPr>
          </a:p>
          <a:p>
            <a:pPr marL="468630" marR="5080" indent="-286385">
              <a:lnSpc>
                <a:spcPct val="100000"/>
              </a:lnSpc>
              <a:buFont typeface="Arial" panose="020B0604020202020204"/>
              <a:buChar char="•"/>
              <a:tabLst>
                <a:tab pos="468630" algn="l"/>
                <a:tab pos="469265" algn="l"/>
              </a:tabLst>
            </a:pPr>
            <a:r>
              <a:rPr lang="zh-CN" altLang="en-US" sz="1600" b="1" spc="-15" dirty="0" smtClean="0">
                <a:latin typeface="+mj-lt"/>
                <a:cs typeface="Bookman Old Style" panose="02050604050505020204"/>
              </a:rPr>
              <a:t>使国际游客数量增加一倍</a:t>
            </a:r>
            <a:r>
              <a:rPr lang="zh-CN" altLang="en-US" sz="1600" b="0" spc="-15" dirty="0" smtClean="0">
                <a:latin typeface="+mj-lt"/>
                <a:cs typeface="Bookman Old Style" panose="02050604050505020204"/>
              </a:rPr>
              <a:t>，国内旅游人数增加两倍</a:t>
            </a:r>
            <a:endParaRPr sz="1600" dirty="0">
              <a:latin typeface="+mj-lt"/>
              <a:cs typeface="Bookman Old Style" panose="02050604050505020204"/>
            </a:endParaRPr>
          </a:p>
          <a:p>
            <a:pPr marL="468630" indent="-286385" algn="just">
              <a:lnSpc>
                <a:spcPct val="100000"/>
              </a:lnSpc>
              <a:buFont typeface="Arial" panose="020B0604020202020204"/>
              <a:buChar char="•"/>
              <a:tabLst>
                <a:tab pos="469265" algn="l"/>
              </a:tabLst>
            </a:pPr>
            <a:r>
              <a:rPr lang="zh-CN" altLang="en-US" sz="1600" b="0" spc="-10" dirty="0" smtClean="0">
                <a:latin typeface="+mj-lt"/>
                <a:cs typeface="Bookman Old Style" panose="02050604050505020204"/>
              </a:rPr>
              <a:t>使旅游业就业人数增加一倍</a:t>
            </a:r>
            <a:endParaRPr sz="1600" dirty="0">
              <a:latin typeface="+mj-lt"/>
              <a:cs typeface="Bookman Old Style" panose="02050604050505020204"/>
            </a:endParaRPr>
          </a:p>
          <a:p>
            <a:pPr marL="468630" indent="-286385" algn="just">
              <a:lnSpc>
                <a:spcPct val="100000"/>
              </a:lnSpc>
              <a:buFont typeface="Arial" panose="020B0604020202020204"/>
              <a:buChar char="•"/>
              <a:tabLst>
                <a:tab pos="469265" algn="l"/>
              </a:tabLst>
            </a:pPr>
            <a:r>
              <a:rPr lang="zh-CN" altLang="en-US" sz="1600" b="1" spc="-5" dirty="0" smtClean="0">
                <a:latin typeface="+mj-lt"/>
                <a:cs typeface="Bookman Old Style" panose="02050604050505020204"/>
              </a:rPr>
              <a:t>使旅游业年度</a:t>
            </a:r>
            <a:r>
              <a:rPr lang="en-US" altLang="zh-CN" sz="1600" b="1" spc="-5" dirty="0" smtClean="0">
                <a:latin typeface="+mj-lt"/>
                <a:cs typeface="Bookman Old Style" panose="02050604050505020204"/>
              </a:rPr>
              <a:t>GDP</a:t>
            </a:r>
            <a:r>
              <a:rPr lang="zh-CN" altLang="en-US" sz="1600" b="1" spc="-5" dirty="0" smtClean="0">
                <a:latin typeface="+mj-lt"/>
                <a:cs typeface="Bookman Old Style" panose="02050604050505020204"/>
              </a:rPr>
              <a:t>增至</a:t>
            </a:r>
            <a:r>
              <a:rPr lang="en-US" altLang="zh-CN" sz="1600" b="0" spc="-5" dirty="0" smtClean="0">
                <a:latin typeface="+mj-lt"/>
                <a:cs typeface="Bookman Old Style" panose="02050604050505020204"/>
              </a:rPr>
              <a:t>150</a:t>
            </a:r>
            <a:r>
              <a:rPr lang="zh-CN" altLang="en-US" sz="1600" b="0" spc="-5" dirty="0" smtClean="0">
                <a:latin typeface="+mj-lt"/>
                <a:cs typeface="Bookman Old Style" panose="02050604050505020204"/>
              </a:rPr>
              <a:t>亿美元</a:t>
            </a:r>
            <a:endParaRPr sz="1600" dirty="0">
              <a:latin typeface="+mj-lt"/>
              <a:cs typeface="Bookman Old Style" panose="02050604050505020204"/>
            </a:endParaRPr>
          </a:p>
        </p:txBody>
      </p:sp>
      <p:sp>
        <p:nvSpPr>
          <p:cNvPr id="20" name="object 18"/>
          <p:cNvSpPr/>
          <p:nvPr/>
        </p:nvSpPr>
        <p:spPr>
          <a:xfrm>
            <a:off x="429388" y="3573016"/>
            <a:ext cx="2009065" cy="981304"/>
          </a:xfrm>
          <a:prstGeom prst="notchedRightArrow">
            <a:avLst/>
          </a:prstGeom>
          <a:solidFill>
            <a:srgbClr val="0378A1"/>
          </a:solidFill>
        </p:spPr>
        <p:txBody>
          <a:bodyPr wrap="square" lIns="0" tIns="0" rIns="0" bIns="0" rtlCol="0"/>
          <a:lstStyle/>
          <a:p>
            <a:endParaRPr/>
          </a:p>
        </p:txBody>
      </p:sp>
      <p:sp>
        <p:nvSpPr>
          <p:cNvPr id="22" name="object 20"/>
          <p:cNvSpPr txBox="1"/>
          <p:nvPr/>
        </p:nvSpPr>
        <p:spPr>
          <a:xfrm>
            <a:off x="827584" y="3933056"/>
            <a:ext cx="1800200" cy="215444"/>
          </a:xfrm>
          <a:prstGeom prst="rect">
            <a:avLst/>
          </a:prstGeom>
        </p:spPr>
        <p:txBody>
          <a:bodyPr vert="horz" wrap="square" lIns="0" tIns="0" rIns="0" bIns="0" rtlCol="0">
            <a:spAutoFit/>
          </a:bodyPr>
          <a:lstStyle/>
          <a:p>
            <a:pPr marL="12700" marR="5080">
              <a:lnSpc>
                <a:spcPct val="100000"/>
              </a:lnSpc>
            </a:pPr>
            <a:r>
              <a:rPr lang="zh-CN" altLang="en-US" sz="1400" b="1" spc="-5" dirty="0" smtClean="0">
                <a:solidFill>
                  <a:srgbClr val="FFFFFF"/>
                </a:solidFill>
                <a:latin typeface="Bookman Old Style" panose="02050604050505020204"/>
                <a:cs typeface="Bookman Old Style" panose="02050604050505020204"/>
              </a:rPr>
              <a:t>直接参与</a:t>
            </a:r>
            <a:endParaRPr sz="1400" dirty="0">
              <a:latin typeface="Bookman Old Style" panose="02050604050505020204"/>
              <a:cs typeface="Bookman Old Style" panose="02050604050505020204"/>
            </a:endParaRPr>
          </a:p>
        </p:txBody>
      </p:sp>
      <p:sp>
        <p:nvSpPr>
          <p:cNvPr id="23" name="object 21"/>
          <p:cNvSpPr/>
          <p:nvPr/>
        </p:nvSpPr>
        <p:spPr>
          <a:xfrm>
            <a:off x="458787" y="4554320"/>
            <a:ext cx="1952689" cy="962430"/>
          </a:xfrm>
          <a:prstGeom prst="notchedRightArrow">
            <a:avLst/>
          </a:prstGeom>
          <a:solidFill>
            <a:srgbClr val="0378A1"/>
          </a:solidFill>
        </p:spPr>
        <p:txBody>
          <a:bodyPr wrap="square" lIns="0" tIns="0" rIns="0" bIns="0" rtlCol="0"/>
          <a:lstStyle/>
          <a:p>
            <a:endParaRPr/>
          </a:p>
        </p:txBody>
      </p:sp>
      <p:sp>
        <p:nvSpPr>
          <p:cNvPr id="25" name="object 23"/>
          <p:cNvSpPr txBox="1"/>
          <p:nvPr/>
        </p:nvSpPr>
        <p:spPr>
          <a:xfrm>
            <a:off x="834644" y="4941748"/>
            <a:ext cx="1217076" cy="215444"/>
          </a:xfrm>
          <a:prstGeom prst="rect">
            <a:avLst/>
          </a:prstGeom>
        </p:spPr>
        <p:txBody>
          <a:bodyPr vert="horz" wrap="square" lIns="0" tIns="0" rIns="0" bIns="0" rtlCol="0">
            <a:spAutoFit/>
          </a:bodyPr>
          <a:lstStyle/>
          <a:p>
            <a:pPr marL="12700" marR="5080">
              <a:lnSpc>
                <a:spcPct val="100000"/>
              </a:lnSpc>
            </a:pPr>
            <a:r>
              <a:rPr lang="zh-CN" altLang="en-US" sz="1400" b="1" dirty="0" smtClean="0">
                <a:solidFill>
                  <a:srgbClr val="FFFFFF"/>
                </a:solidFill>
                <a:latin typeface="Bookman Old Style" panose="02050604050505020204"/>
                <a:cs typeface="Bookman Old Style" panose="02050604050505020204"/>
              </a:rPr>
              <a:t>银行体系</a:t>
            </a:r>
            <a:endParaRPr sz="1400" dirty="0">
              <a:latin typeface="Bookman Old Style" panose="02050604050505020204"/>
              <a:cs typeface="Bookman Old Style" panose="02050604050505020204"/>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10"/>
          <p:cNvSpPr txBox="1"/>
          <p:nvPr/>
        </p:nvSpPr>
        <p:spPr>
          <a:xfrm>
            <a:off x="323528" y="67271"/>
            <a:ext cx="8527990" cy="769441"/>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altLang="en-US" dirty="0" smtClean="0"/>
              <a:t>有什么激励措施？</a:t>
            </a:r>
            <a:endParaRPr dirty="0"/>
          </a:p>
          <a:p>
            <a:r>
              <a:rPr lang="zh-CN" altLang="en-US" sz="2000" dirty="0" smtClean="0"/>
              <a:t>通过习惯法提供的激励措施：免税</a:t>
            </a:r>
            <a:endParaRPr lang="en-US" sz="2000" dirty="0"/>
          </a:p>
        </p:txBody>
      </p:sp>
      <p:sp>
        <p:nvSpPr>
          <p:cNvPr id="9" name="object 7"/>
          <p:cNvSpPr/>
          <p:nvPr/>
        </p:nvSpPr>
        <p:spPr>
          <a:xfrm>
            <a:off x="138568" y="926136"/>
            <a:ext cx="8897928" cy="5611986"/>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15" name="object 11"/>
          <p:cNvSpPr txBox="1"/>
          <p:nvPr/>
        </p:nvSpPr>
        <p:spPr>
          <a:xfrm>
            <a:off x="243623" y="1096283"/>
            <a:ext cx="8635191" cy="4708981"/>
          </a:xfrm>
          <a:prstGeom prst="rect">
            <a:avLst/>
          </a:prstGeom>
        </p:spPr>
        <p:txBody>
          <a:bodyPr vert="horz" wrap="square" lIns="0" tIns="0" rIns="0" bIns="0" rtlCol="0">
            <a:spAutoFit/>
          </a:bodyPr>
          <a:lstStyle/>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资本性支出全部免征增值税</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范围：在摩洛哥获得的和进口的货物、设备和工具。</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期限：从公司成立之日或建筑公司获得建筑许可证之日起</a:t>
            </a:r>
            <a:r>
              <a:rPr lang="en-US" altLang="zh-CN" dirty="0" smtClean="0">
                <a:latin typeface="+mj-lt"/>
                <a:cs typeface="Bookman Old Style" panose="02050604050505020204"/>
              </a:rPr>
              <a:t>36</a:t>
            </a:r>
            <a:r>
              <a:rPr lang="zh-CN" altLang="en-US" dirty="0" smtClean="0">
                <a:latin typeface="+mj-lt"/>
                <a:cs typeface="Bookman Old Style" panose="02050604050505020204"/>
              </a:rPr>
              <a:t>个月。</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这一期限可延长一次，再延长</a:t>
            </a:r>
            <a:r>
              <a:rPr lang="en-US" altLang="zh-CN" dirty="0" smtClean="0">
                <a:latin typeface="+mj-lt"/>
                <a:cs typeface="Bookman Old Style" panose="02050604050505020204"/>
              </a:rPr>
              <a:t>6</a:t>
            </a:r>
            <a:r>
              <a:rPr lang="zh-CN" altLang="en-US" dirty="0" smtClean="0">
                <a:latin typeface="+mj-lt"/>
                <a:cs typeface="Bookman Old Style" panose="02050604050505020204"/>
              </a:rPr>
              <a:t>个月。</a:t>
            </a:r>
            <a:endParaRPr lang="en-US" dirty="0" smtClean="0">
              <a:latin typeface="+mj-lt"/>
              <a:cs typeface="Bookman Old Style" panose="02050604050505020204"/>
            </a:endParaRPr>
          </a:p>
          <a:p>
            <a:pPr marL="12700" algn="just">
              <a:lnSpc>
                <a:spcPct val="100000"/>
              </a:lnSpc>
              <a:tabLst>
                <a:tab pos="299085" algn="l"/>
                <a:tab pos="299720" algn="l"/>
              </a:tabLst>
            </a:pP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公司税全部免征</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范围：以外币结算的销售额。</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期限：公司运营的头五年。</a:t>
            </a:r>
            <a:endParaRPr lang="en-US" dirty="0" smtClean="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公司税税率降低为</a:t>
            </a:r>
            <a:r>
              <a:rPr lang="en-US" altLang="zh-CN" b="1" dirty="0" smtClean="0">
                <a:latin typeface="+mj-lt"/>
                <a:cs typeface="Bookman Old Style" panose="02050604050505020204"/>
              </a:rPr>
              <a:t>17.5%</a:t>
            </a:r>
            <a:r>
              <a:rPr lang="zh-CN" altLang="en-US" b="1" dirty="0" smtClean="0">
                <a:latin typeface="+mj-lt"/>
                <a:cs typeface="Bookman Old Style" panose="02050604050505020204"/>
              </a:rPr>
              <a:t>：</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范围：以外币结算的销售额。</a:t>
            </a:r>
            <a:endParaRPr lang="en-US" dirty="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期限：从公司运营的第六年起。</a:t>
            </a:r>
            <a:endParaRPr lang="en-US" dirty="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相比之下，一般公司税税率为</a:t>
            </a:r>
            <a:r>
              <a:rPr lang="en-US" altLang="zh-CN" dirty="0" smtClean="0">
                <a:latin typeface="+mj-lt"/>
                <a:cs typeface="Bookman Old Style" panose="02050604050505020204"/>
              </a:rPr>
              <a:t>30%</a:t>
            </a:r>
            <a:r>
              <a:rPr lang="zh-CN" altLang="en-US" dirty="0" smtClean="0">
                <a:latin typeface="+mj-lt"/>
                <a:cs typeface="Bookman Old Style" panose="02050604050505020204"/>
              </a:rPr>
              <a:t>。</a:t>
            </a: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b="1"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销售额增值税税率降低为</a:t>
            </a:r>
            <a:r>
              <a:rPr lang="en-US" altLang="zh-CN" b="1" dirty="0" smtClean="0">
                <a:latin typeface="+mj-lt"/>
                <a:cs typeface="Bookman Old Style" panose="02050604050505020204"/>
              </a:rPr>
              <a:t>10%</a:t>
            </a:r>
            <a:r>
              <a:rPr lang="zh-CN" altLang="en-US" b="1" dirty="0" smtClean="0">
                <a:latin typeface="+mj-lt"/>
                <a:cs typeface="Bookman Old Style" panose="02050604050505020204"/>
              </a:rPr>
              <a:t>（一般为</a:t>
            </a:r>
            <a:r>
              <a:rPr lang="en-US" altLang="zh-CN" b="1" dirty="0" smtClean="0">
                <a:latin typeface="+mj-lt"/>
                <a:cs typeface="Bookman Old Style" panose="02050604050505020204"/>
              </a:rPr>
              <a:t>20%</a:t>
            </a:r>
            <a:r>
              <a:rPr lang="zh-CN" altLang="en-US" b="1" dirty="0" smtClean="0">
                <a:latin typeface="+mj-lt"/>
                <a:cs typeface="Bookman Old Style" panose="02050604050505020204"/>
              </a:rPr>
              <a:t>）</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范围：住宿</a:t>
            </a:r>
            <a:r>
              <a:rPr lang="en-US" altLang="zh-CN" dirty="0" smtClean="0">
                <a:latin typeface="+mj-lt"/>
                <a:cs typeface="Bookman Old Style" panose="02050604050505020204"/>
              </a:rPr>
              <a:t>/</a:t>
            </a:r>
            <a:r>
              <a:rPr lang="zh-CN" altLang="en-US" dirty="0" smtClean="0">
                <a:latin typeface="+mj-lt"/>
                <a:cs typeface="Bookman Old Style" panose="02050604050505020204"/>
              </a:rPr>
              <a:t>客房销售。</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期限：不限。</a:t>
            </a:r>
            <a:endParaRPr lang="en-US" dirty="0">
              <a:latin typeface="+mj-lt"/>
              <a:cs typeface="Bookman Old Style" panose="02050604050505020204"/>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10"/>
          <p:cNvSpPr txBox="1"/>
          <p:nvPr/>
        </p:nvSpPr>
        <p:spPr>
          <a:xfrm>
            <a:off x="323528" y="67271"/>
            <a:ext cx="8748464" cy="769441"/>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altLang="en-US" dirty="0" smtClean="0"/>
              <a:t>有什么激励措施？</a:t>
            </a:r>
            <a:endParaRPr dirty="0"/>
          </a:p>
          <a:p>
            <a:r>
              <a:rPr lang="zh-CN" altLang="en-US" sz="2000" dirty="0" smtClean="0"/>
              <a:t>通过与政府达成协议提供的激励措施：现金出资 </a:t>
            </a:r>
            <a:endParaRPr lang="en-US" sz="2000" dirty="0"/>
          </a:p>
        </p:txBody>
      </p:sp>
      <p:sp>
        <p:nvSpPr>
          <p:cNvPr id="9" name="object 7"/>
          <p:cNvSpPr/>
          <p:nvPr/>
        </p:nvSpPr>
        <p:spPr>
          <a:xfrm>
            <a:off x="138568" y="926136"/>
            <a:ext cx="8897928" cy="5611986"/>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15" name="object 11"/>
          <p:cNvSpPr txBox="1"/>
          <p:nvPr/>
        </p:nvSpPr>
        <p:spPr>
          <a:xfrm>
            <a:off x="243623" y="984496"/>
            <a:ext cx="8635191" cy="5262979"/>
          </a:xfrm>
          <a:prstGeom prst="rect">
            <a:avLst/>
          </a:prstGeom>
        </p:spPr>
        <p:txBody>
          <a:bodyPr vert="horz" wrap="square" lIns="0" tIns="0" rIns="0" bIns="0" rtlCol="0">
            <a:spAutoFit/>
          </a:bodyPr>
          <a:lstStyle/>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政府现金出资高达土地价值的</a:t>
            </a:r>
            <a:r>
              <a:rPr lang="en-US" altLang="zh-CN" b="1" dirty="0" smtClean="0">
                <a:latin typeface="+mj-lt"/>
                <a:cs typeface="Bookman Old Style" panose="02050604050505020204"/>
              </a:rPr>
              <a:t>50%</a:t>
            </a:r>
            <a:r>
              <a:rPr lang="zh-CN" altLang="en-US" b="1" dirty="0" smtClean="0">
                <a:latin typeface="+mj-lt"/>
                <a:cs typeface="Bookman Old Style" panose="02050604050505020204"/>
              </a:rPr>
              <a:t>，限定在每平方米</a:t>
            </a:r>
            <a:r>
              <a:rPr lang="en-US" altLang="zh-CN" b="1" dirty="0" smtClean="0">
                <a:latin typeface="+mj-lt"/>
                <a:cs typeface="Bookman Old Style" panose="02050604050505020204"/>
              </a:rPr>
              <a:t>250</a:t>
            </a:r>
            <a:r>
              <a:rPr lang="en-US" b="1" dirty="0" smtClean="0">
                <a:latin typeface="+mj-lt"/>
                <a:cs typeface="Bookman Old Style" panose="02050604050505020204"/>
              </a:rPr>
              <a:t> </a:t>
            </a:r>
            <a:r>
              <a:rPr lang="zh-CN" altLang="en-US" b="1" dirty="0" smtClean="0">
                <a:latin typeface="+mj-lt"/>
                <a:cs typeface="Bookman Old Style" panose="02050604050505020204"/>
              </a:rPr>
              <a:t>摩洛哥迪拉姆之内</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范围：位于</a:t>
            </a:r>
            <a:r>
              <a:rPr lang="en-US" altLang="zh-CN" b="1" dirty="0" smtClean="0">
                <a:cs typeface="Bookman Old Style" panose="02050604050505020204"/>
              </a:rPr>
              <a:t>Azur Plan</a:t>
            </a:r>
            <a:r>
              <a:rPr lang="zh-CN" altLang="en-US" b="1" dirty="0" smtClean="0">
                <a:cs typeface="Bookman Old Style" panose="02050604050505020204"/>
              </a:rPr>
              <a:t>度假胜地</a:t>
            </a:r>
            <a:r>
              <a:rPr lang="zh-CN" altLang="en-US" dirty="0" smtClean="0">
                <a:cs typeface="Bookman Old Style" panose="02050604050505020204"/>
              </a:rPr>
              <a:t>之内的地块。</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时间段：开发完成后支付。</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资金来源：哈桑二世经济与社会发展基金（</a:t>
            </a:r>
            <a:r>
              <a:rPr lang="en-US" altLang="zh-CN" dirty="0" smtClean="0">
                <a:cs typeface="Bookman Old Style" panose="02050604050505020204"/>
              </a:rPr>
              <a:t> Hassan II fund for Economic and Social Development </a:t>
            </a:r>
            <a:r>
              <a:rPr lang="zh-CN" altLang="en-US" dirty="0" smtClean="0">
                <a:latin typeface="+mj-lt"/>
                <a:cs typeface="Bookman Old Style" panose="02050604050505020204"/>
              </a:rPr>
              <a:t>）</a:t>
            </a:r>
            <a:endParaRPr lang="en-US" dirty="0" smtClean="0">
              <a:latin typeface="+mj-lt"/>
              <a:cs typeface="Bookman Old Style" panose="02050604050505020204"/>
            </a:endParaRPr>
          </a:p>
          <a:p>
            <a:pPr marL="12700" algn="just">
              <a:lnSpc>
                <a:spcPct val="100000"/>
              </a:lnSpc>
              <a:tabLst>
                <a:tab pos="299085" algn="l"/>
                <a:tab pos="299720" algn="l"/>
              </a:tabLst>
            </a:pPr>
            <a:endParaRPr lang="en-US" dirty="0" smtClean="0">
              <a:latin typeface="+mj-lt"/>
              <a:cs typeface="Bookman Old Style" panose="02050604050505020204"/>
            </a:endParaRPr>
          </a:p>
          <a:p>
            <a:pPr marL="12700" algn="just">
              <a:lnSpc>
                <a:spcPct val="100000"/>
              </a:lnSpc>
              <a:tabLst>
                <a:tab pos="299085" algn="l"/>
                <a:tab pos="299720" algn="l"/>
              </a:tabLst>
            </a:pPr>
            <a:r>
              <a:rPr lang="en-US" dirty="0" smtClean="0">
                <a:latin typeface="+mj-lt"/>
                <a:cs typeface="Bookman Old Style" panose="02050604050505020204"/>
                <a:sym typeface="Wingdings" panose="05000000000000000000" pitchFamily="2" charset="2"/>
              </a:rPr>
              <a:t> </a:t>
            </a:r>
            <a:r>
              <a:rPr lang="zh-CN" altLang="en-US" dirty="0" smtClean="0">
                <a:latin typeface="+mj-lt"/>
                <a:cs typeface="Bookman Old Style" panose="02050604050505020204"/>
              </a:rPr>
              <a:t>通过</a:t>
            </a:r>
            <a:r>
              <a:rPr lang="zh-CN" altLang="en-US" b="1" dirty="0" smtClean="0">
                <a:latin typeface="+mj-lt"/>
                <a:cs typeface="Bookman Old Style" panose="02050604050505020204"/>
              </a:rPr>
              <a:t>工业开发和投资基金</a:t>
            </a:r>
            <a:r>
              <a:rPr lang="zh-CN" altLang="en-US" dirty="0" smtClean="0">
                <a:latin typeface="+mj-lt"/>
                <a:cs typeface="Bookman Old Style" panose="02050604050505020204"/>
              </a:rPr>
              <a:t>（</a:t>
            </a:r>
            <a:r>
              <a:rPr lang="en-US" altLang="zh-CN" b="1" dirty="0" smtClean="0">
                <a:cs typeface="Bookman Old Style" panose="02050604050505020204"/>
              </a:rPr>
              <a:t>Industrial Development and Investment Fund </a:t>
            </a:r>
            <a:r>
              <a:rPr lang="zh-CN" altLang="en-US" b="1" dirty="0" smtClean="0">
                <a:cs typeface="Bookman Old Style" panose="02050604050505020204"/>
              </a:rPr>
              <a:t>，简称</a:t>
            </a:r>
            <a:r>
              <a:rPr lang="en-US" altLang="zh-CN" b="1" dirty="0" smtClean="0">
                <a:cs typeface="Bookman Old Style" panose="02050604050505020204"/>
              </a:rPr>
              <a:t>FDII </a:t>
            </a:r>
            <a:r>
              <a:rPr lang="zh-CN" altLang="en-US" dirty="0" smtClean="0">
                <a:latin typeface="+mj-lt"/>
                <a:cs typeface="Bookman Old Style" panose="02050604050505020204"/>
              </a:rPr>
              <a:t>）的资助提供以下激励措施：</a:t>
            </a: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在私人土地价值中，政府现金出资占比高达</a:t>
            </a:r>
            <a:r>
              <a:rPr lang="en-US" altLang="zh-CN" b="1" dirty="0" smtClean="0">
                <a:latin typeface="+mj-lt"/>
                <a:cs typeface="Bookman Old Style" panose="02050604050505020204"/>
              </a:rPr>
              <a:t>20%</a:t>
            </a:r>
            <a:r>
              <a:rPr lang="zh-CN" altLang="en-US" b="1" dirty="0" smtClean="0">
                <a:latin typeface="+mj-lt"/>
                <a:cs typeface="Bookman Old Style" panose="02050604050505020204"/>
              </a:rPr>
              <a:t>。</a:t>
            </a: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政府对厂区外基础设施建设成本进行现金出资。</a:t>
            </a:r>
            <a:endParaRPr lang="en-US" b="1"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在员工培训总成本中，政府现金出资占比高达</a:t>
            </a:r>
            <a:r>
              <a:rPr lang="en-US" altLang="zh-CN" b="1" dirty="0" smtClean="0">
                <a:latin typeface="+mj-lt"/>
                <a:cs typeface="Bookman Old Style" panose="02050604050505020204"/>
              </a:rPr>
              <a:t>20%</a:t>
            </a:r>
            <a:r>
              <a:rPr lang="zh-CN" altLang="en-US" b="1" dirty="0" smtClean="0">
                <a:latin typeface="+mj-lt"/>
                <a:cs typeface="Bookman Old Style" panose="02050604050505020204"/>
              </a:rPr>
              <a:t>。</a:t>
            </a:r>
            <a:endParaRPr lang="en-US" b="1" dirty="0" smtClean="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b="1" dirty="0">
              <a:latin typeface="+mj-lt"/>
              <a:cs typeface="Bookman Old Style" panose="02050604050505020204"/>
            </a:endParaRPr>
          </a:p>
          <a:p>
            <a:pPr marL="12700" algn="just">
              <a:lnSpc>
                <a:spcPct val="100000"/>
              </a:lnSpc>
              <a:tabLst>
                <a:tab pos="299085" algn="l"/>
                <a:tab pos="299720" algn="l"/>
              </a:tabLst>
            </a:pPr>
            <a:r>
              <a:rPr lang="zh-CN" altLang="en-US" dirty="0" smtClean="0">
                <a:latin typeface="+mj-lt"/>
                <a:cs typeface="Bookman Old Style" panose="02050604050505020204"/>
              </a:rPr>
              <a:t>上述所有激励措施的金额总和不得超过</a:t>
            </a:r>
            <a:r>
              <a:rPr lang="zh-CN" altLang="en-US" b="1" dirty="0" smtClean="0">
                <a:latin typeface="+mj-lt"/>
                <a:cs typeface="Bookman Old Style" panose="02050604050505020204"/>
              </a:rPr>
              <a:t>投资项目总额的</a:t>
            </a:r>
            <a:r>
              <a:rPr lang="en-US" altLang="zh-CN" b="1" dirty="0" smtClean="0">
                <a:latin typeface="+mj-lt"/>
                <a:cs typeface="Bookman Old Style" panose="02050604050505020204"/>
              </a:rPr>
              <a:t>5%</a:t>
            </a:r>
            <a:r>
              <a:rPr lang="zh-CN" altLang="en-US" dirty="0" smtClean="0">
                <a:latin typeface="+mj-lt"/>
                <a:cs typeface="Bookman Old Style" panose="02050604050505020204"/>
              </a:rPr>
              <a:t>。在某些新兴领域，这一上限达到</a:t>
            </a:r>
            <a:r>
              <a:rPr lang="en-US" altLang="zh-CN" dirty="0" smtClean="0">
                <a:latin typeface="+mj-lt"/>
                <a:cs typeface="Bookman Old Style" panose="02050604050505020204"/>
              </a:rPr>
              <a:t>10%</a:t>
            </a:r>
            <a:r>
              <a:rPr lang="zh-CN" altLang="en-US" dirty="0" smtClean="0">
                <a:latin typeface="+mj-lt"/>
                <a:cs typeface="Bookman Old Style" panose="02050604050505020204"/>
              </a:rPr>
              <a:t>。</a:t>
            </a:r>
            <a:endParaRPr lang="en-US" dirty="0" smtClean="0">
              <a:latin typeface="+mj-lt"/>
              <a:cs typeface="Bookman Old Style" panose="02050604050505020204"/>
            </a:endParaRPr>
          </a:p>
          <a:p>
            <a:pPr marL="12700" algn="just">
              <a:lnSpc>
                <a:spcPct val="100000"/>
              </a:lnSpc>
              <a:tabLst>
                <a:tab pos="299085" algn="l"/>
                <a:tab pos="299720" algn="l"/>
              </a:tabLst>
            </a:pPr>
            <a:endParaRPr lang="en-US" dirty="0">
              <a:latin typeface="+mj-lt"/>
              <a:cs typeface="Bookman Old Style" panose="02050604050505020204"/>
            </a:endParaRPr>
          </a:p>
          <a:p>
            <a:pPr marL="298450" indent="-285750" algn="just">
              <a:buFont typeface="Arial" panose="020B0604020202020204" pitchFamily="34" charset="0"/>
              <a:buChar char="•"/>
              <a:tabLst>
                <a:tab pos="299085" algn="l"/>
                <a:tab pos="299720" algn="l"/>
              </a:tabLst>
            </a:pPr>
            <a:r>
              <a:rPr lang="zh-CN" altLang="en-US" b="1" dirty="0" smtClean="0">
                <a:cs typeface="Bookman Old Style" panose="02050604050505020204"/>
              </a:rPr>
              <a:t>进口资本性支出关税全免</a:t>
            </a:r>
            <a:endParaRPr lang="en-US" b="1" dirty="0">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范围：进口的货物、设备和工具</a:t>
            </a:r>
            <a:endParaRPr lang="en-US" dirty="0">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期限：从公司成立之日或建筑公司获得建筑许可证之日起</a:t>
            </a:r>
            <a:r>
              <a:rPr lang="en-US" altLang="zh-CN" dirty="0" smtClean="0">
                <a:cs typeface="Bookman Old Style" panose="02050604050505020204"/>
              </a:rPr>
              <a:t>36</a:t>
            </a:r>
            <a:r>
              <a:rPr lang="zh-CN" altLang="en-US" dirty="0" smtClean="0">
                <a:cs typeface="Bookman Old Style" panose="02050604050505020204"/>
              </a:rPr>
              <a:t>个月。</a:t>
            </a:r>
            <a:endParaRPr lang="en-US" dirty="0">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这一期限可延长一次，再延长</a:t>
            </a:r>
            <a:r>
              <a:rPr lang="en-US" altLang="zh-CN" dirty="0" smtClean="0">
                <a:cs typeface="Bookman Old Style" panose="02050604050505020204"/>
              </a:rPr>
              <a:t>6</a:t>
            </a:r>
            <a:r>
              <a:rPr lang="zh-CN" altLang="en-US" dirty="0" smtClean="0">
                <a:cs typeface="Bookman Old Style" panose="02050604050505020204"/>
              </a:rPr>
              <a:t>个月。</a:t>
            </a:r>
            <a:endParaRPr lang="en-US" dirty="0">
              <a:cs typeface="Bookman Old Style" panose="02050604050505020204"/>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10"/>
          <p:cNvSpPr txBox="1"/>
          <p:nvPr/>
        </p:nvSpPr>
        <p:spPr>
          <a:xfrm>
            <a:off x="323528" y="67271"/>
            <a:ext cx="8748464" cy="769441"/>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altLang="en-US" dirty="0" smtClean="0"/>
              <a:t>有什么激励措施？</a:t>
            </a:r>
            <a:endParaRPr dirty="0"/>
          </a:p>
          <a:p>
            <a:r>
              <a:rPr lang="zh-CN" altLang="en-US" sz="2000" dirty="0" smtClean="0"/>
              <a:t>摩洛哥旅游地图和</a:t>
            </a:r>
            <a:r>
              <a:rPr lang="en-US" altLang="zh-CN" sz="2000" dirty="0" smtClean="0"/>
              <a:t>Azur plan </a:t>
            </a:r>
            <a:r>
              <a:rPr lang="zh-CN" altLang="en-US" sz="2000" dirty="0" smtClean="0"/>
              <a:t>度假胜地</a:t>
            </a:r>
            <a:endParaRPr lang="en-US" sz="2000" dirty="0"/>
          </a:p>
        </p:txBody>
      </p:sp>
      <p:sp>
        <p:nvSpPr>
          <p:cNvPr id="9" name="object 7"/>
          <p:cNvSpPr/>
          <p:nvPr/>
        </p:nvSpPr>
        <p:spPr>
          <a:xfrm>
            <a:off x="138568" y="926136"/>
            <a:ext cx="8897928" cy="5611986"/>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5" name="Rectangle 4"/>
          <p:cNvSpPr/>
          <p:nvPr>
            <p:custDataLst>
              <p:tags r:id="rId1"/>
            </p:custDataLst>
          </p:nvPr>
        </p:nvSpPr>
        <p:spPr bwMode="gray">
          <a:xfrm>
            <a:off x="467544" y="1052736"/>
            <a:ext cx="4079219" cy="730569"/>
          </a:xfrm>
          <a:prstGeom prst="rect">
            <a:avLst/>
          </a:prstGeom>
        </p:spPr>
        <p:style>
          <a:lnRef idx="1">
            <a:schemeClr val="accent1"/>
          </a:lnRef>
          <a:fillRef idx="2">
            <a:schemeClr val="accent1"/>
          </a:fillRef>
          <a:effectRef idx="1">
            <a:schemeClr val="accent1"/>
          </a:effectRef>
          <a:fontRef idx="minor">
            <a:schemeClr val="dk1"/>
          </a:fontRef>
        </p:style>
        <p:txBody>
          <a:bodyPr lIns="72000" tIns="45710" rIns="72000" bIns="45710" anchor="ctr"/>
          <a:lstStyle/>
          <a:p>
            <a:pPr algn="ctr">
              <a:spcBef>
                <a:spcPts val="400"/>
              </a:spcBef>
              <a:defRPr/>
            </a:pPr>
            <a:r>
              <a:rPr lang="zh-CN" altLang="en-US" sz="2000" b="1" dirty="0" smtClean="0">
                <a:solidFill>
                  <a:srgbClr val="438086">
                    <a:lumMod val="75000"/>
                  </a:srgbClr>
                </a:solidFill>
                <a:latin typeface="+mj-lt"/>
              </a:rPr>
              <a:t>海滩</a:t>
            </a:r>
            <a:r>
              <a:rPr lang="en-US" altLang="zh-CN" sz="2000" b="1" dirty="0" smtClean="0">
                <a:solidFill>
                  <a:srgbClr val="438086">
                    <a:lumMod val="75000"/>
                  </a:srgbClr>
                </a:solidFill>
                <a:latin typeface="+mj-lt"/>
              </a:rPr>
              <a:t>/</a:t>
            </a:r>
            <a:r>
              <a:rPr lang="zh-CN" altLang="en-US" sz="2000" b="1" dirty="0" smtClean="0">
                <a:solidFill>
                  <a:srgbClr val="438086">
                    <a:lumMod val="75000"/>
                  </a:srgbClr>
                </a:solidFill>
                <a:latin typeface="+mj-lt"/>
              </a:rPr>
              <a:t>沿海旅游</a:t>
            </a:r>
            <a:endParaRPr lang="en-US" sz="2000" b="1" dirty="0">
              <a:solidFill>
                <a:srgbClr val="438086">
                  <a:lumMod val="75000"/>
                </a:srgbClr>
              </a:solidFill>
              <a:latin typeface="+mj-lt"/>
            </a:endParaRPr>
          </a:p>
        </p:txBody>
      </p:sp>
      <p:sp>
        <p:nvSpPr>
          <p:cNvPr id="6" name="Rectangle 5"/>
          <p:cNvSpPr/>
          <p:nvPr>
            <p:custDataLst>
              <p:tags r:id="rId2"/>
            </p:custDataLst>
          </p:nvPr>
        </p:nvSpPr>
        <p:spPr bwMode="gray">
          <a:xfrm>
            <a:off x="5652120" y="4547484"/>
            <a:ext cx="3210453" cy="684000"/>
          </a:xfrm>
          <a:prstGeom prst="rect">
            <a:avLst/>
          </a:prstGeom>
        </p:spPr>
        <p:style>
          <a:lnRef idx="1">
            <a:schemeClr val="accent6"/>
          </a:lnRef>
          <a:fillRef idx="2">
            <a:schemeClr val="accent6"/>
          </a:fillRef>
          <a:effectRef idx="1">
            <a:schemeClr val="accent6"/>
          </a:effectRef>
          <a:fontRef idx="minor">
            <a:schemeClr val="dk1"/>
          </a:fontRef>
        </p:style>
        <p:txBody>
          <a:bodyPr lIns="72000" tIns="45710" rIns="72000" bIns="45710" anchor="ctr"/>
          <a:lstStyle/>
          <a:p>
            <a:pPr algn="ctr">
              <a:spcBef>
                <a:spcPts val="400"/>
              </a:spcBef>
              <a:defRPr/>
            </a:pPr>
            <a:r>
              <a:rPr lang="zh-CN" altLang="en-US" sz="2000" b="1" dirty="0" smtClean="0">
                <a:solidFill>
                  <a:srgbClr val="438086">
                    <a:lumMod val="75000"/>
                  </a:srgbClr>
                </a:solidFill>
              </a:rPr>
              <a:t>文化</a:t>
            </a:r>
            <a:r>
              <a:rPr lang="en-US" altLang="zh-CN" sz="2000" b="1" dirty="0" smtClean="0">
                <a:solidFill>
                  <a:srgbClr val="438086">
                    <a:lumMod val="75000"/>
                  </a:srgbClr>
                </a:solidFill>
              </a:rPr>
              <a:t>/</a:t>
            </a:r>
            <a:r>
              <a:rPr lang="zh-CN" altLang="en-US" sz="2000" b="1" dirty="0" smtClean="0">
                <a:solidFill>
                  <a:srgbClr val="438086">
                    <a:lumMod val="75000"/>
                  </a:srgbClr>
                </a:solidFill>
              </a:rPr>
              <a:t>遗产旅游</a:t>
            </a:r>
            <a:endParaRPr lang="en-US" sz="2000" b="1" dirty="0">
              <a:solidFill>
                <a:srgbClr val="438086">
                  <a:lumMod val="75000"/>
                </a:srgbClr>
              </a:solidFill>
            </a:endParaRPr>
          </a:p>
        </p:txBody>
      </p:sp>
      <p:sp>
        <p:nvSpPr>
          <p:cNvPr id="7" name="Rectangle 6"/>
          <p:cNvSpPr/>
          <p:nvPr>
            <p:custDataLst>
              <p:tags r:id="rId3"/>
            </p:custDataLst>
          </p:nvPr>
        </p:nvSpPr>
        <p:spPr bwMode="gray">
          <a:xfrm>
            <a:off x="5662784" y="5697328"/>
            <a:ext cx="3210453" cy="684000"/>
          </a:xfrm>
          <a:prstGeom prst="rect">
            <a:avLst/>
          </a:prstGeom>
        </p:spPr>
        <p:style>
          <a:lnRef idx="1">
            <a:schemeClr val="accent3"/>
          </a:lnRef>
          <a:fillRef idx="2">
            <a:schemeClr val="accent3"/>
          </a:fillRef>
          <a:effectRef idx="1">
            <a:schemeClr val="accent3"/>
          </a:effectRef>
          <a:fontRef idx="minor">
            <a:schemeClr val="dk1"/>
          </a:fontRef>
        </p:style>
        <p:txBody>
          <a:bodyPr lIns="72000" tIns="45710" rIns="72000" bIns="45710" anchor="ctr"/>
          <a:lstStyle/>
          <a:p>
            <a:pPr algn="ctr">
              <a:spcBef>
                <a:spcPts val="400"/>
              </a:spcBef>
              <a:defRPr/>
            </a:pPr>
            <a:r>
              <a:rPr lang="zh-CN" altLang="en-US" sz="2000" b="1" dirty="0" smtClean="0">
                <a:solidFill>
                  <a:srgbClr val="438086">
                    <a:lumMod val="75000"/>
                  </a:srgbClr>
                </a:solidFill>
              </a:rPr>
              <a:t>自然</a:t>
            </a:r>
            <a:r>
              <a:rPr lang="en-US" altLang="zh-CN" sz="2000" b="1" dirty="0" smtClean="0">
                <a:solidFill>
                  <a:srgbClr val="438086">
                    <a:lumMod val="75000"/>
                  </a:srgbClr>
                </a:solidFill>
              </a:rPr>
              <a:t>/</a:t>
            </a:r>
            <a:r>
              <a:rPr lang="zh-CN" altLang="en-US" sz="2000" b="1" dirty="0" smtClean="0">
                <a:solidFill>
                  <a:srgbClr val="438086">
                    <a:lumMod val="75000"/>
                  </a:srgbClr>
                </a:solidFill>
              </a:rPr>
              <a:t>生态旅游</a:t>
            </a:r>
            <a:endParaRPr lang="en-US" sz="2000" b="1" dirty="0">
              <a:solidFill>
                <a:srgbClr val="438086">
                  <a:lumMod val="75000"/>
                </a:srgbClr>
              </a:solidFill>
            </a:endParaRPr>
          </a:p>
        </p:txBody>
      </p:sp>
      <p:sp>
        <p:nvSpPr>
          <p:cNvPr id="8" name="Freeform 41"/>
          <p:cNvSpPr/>
          <p:nvPr>
            <p:custDataLst>
              <p:tags r:id="rId4"/>
            </p:custDataLst>
          </p:nvPr>
        </p:nvSpPr>
        <p:spPr bwMode="gray">
          <a:xfrm>
            <a:off x="6792333" y="1637779"/>
            <a:ext cx="1088853" cy="575901"/>
          </a:xfrm>
          <a:custGeom>
            <a:avLst/>
            <a:gdLst>
              <a:gd name="connsiteX0" fmla="*/ 0 w 1037063"/>
              <a:gd name="connsiteY0" fmla="*/ 200721 h 624468"/>
              <a:gd name="connsiteX1" fmla="*/ 200722 w 1037063"/>
              <a:gd name="connsiteY1" fmla="*/ 89209 h 624468"/>
              <a:gd name="connsiteX2" fmla="*/ 301083 w 1037063"/>
              <a:gd name="connsiteY2" fmla="*/ 78058 h 624468"/>
              <a:gd name="connsiteX3" fmla="*/ 390292 w 1037063"/>
              <a:gd name="connsiteY3" fmla="*/ 55756 h 624468"/>
              <a:gd name="connsiteX4" fmla="*/ 468351 w 1037063"/>
              <a:gd name="connsiteY4" fmla="*/ 89209 h 624468"/>
              <a:gd name="connsiteX5" fmla="*/ 591014 w 1037063"/>
              <a:gd name="connsiteY5" fmla="*/ 33453 h 624468"/>
              <a:gd name="connsiteX6" fmla="*/ 602166 w 1037063"/>
              <a:gd name="connsiteY6" fmla="*/ 0 h 624468"/>
              <a:gd name="connsiteX7" fmla="*/ 613317 w 1037063"/>
              <a:gd name="connsiteY7" fmla="*/ 89209 h 624468"/>
              <a:gd name="connsiteX8" fmla="*/ 735980 w 1037063"/>
              <a:gd name="connsiteY8" fmla="*/ 122663 h 624468"/>
              <a:gd name="connsiteX9" fmla="*/ 791736 w 1037063"/>
              <a:gd name="connsiteY9" fmla="*/ 100360 h 624468"/>
              <a:gd name="connsiteX10" fmla="*/ 1003609 w 1037063"/>
              <a:gd name="connsiteY10" fmla="*/ 211873 h 624468"/>
              <a:gd name="connsiteX11" fmla="*/ 1037063 w 1037063"/>
              <a:gd name="connsiteY11" fmla="*/ 568712 h 624468"/>
              <a:gd name="connsiteX12" fmla="*/ 892097 w 1037063"/>
              <a:gd name="connsiteY12" fmla="*/ 579863 h 624468"/>
              <a:gd name="connsiteX13" fmla="*/ 836341 w 1037063"/>
              <a:gd name="connsiteY13" fmla="*/ 568712 h 624468"/>
              <a:gd name="connsiteX14" fmla="*/ 657922 w 1037063"/>
              <a:gd name="connsiteY14" fmla="*/ 557560 h 624468"/>
              <a:gd name="connsiteX15" fmla="*/ 568712 w 1037063"/>
              <a:gd name="connsiteY15" fmla="*/ 624468 h 624468"/>
              <a:gd name="connsiteX16" fmla="*/ 479502 w 1037063"/>
              <a:gd name="connsiteY16" fmla="*/ 624468 h 624468"/>
              <a:gd name="connsiteX17" fmla="*/ 579863 w 1037063"/>
              <a:gd name="connsiteY17" fmla="*/ 535258 h 624468"/>
              <a:gd name="connsiteX18" fmla="*/ 512956 w 1037063"/>
              <a:gd name="connsiteY18" fmla="*/ 434897 h 624468"/>
              <a:gd name="connsiteX19" fmla="*/ 591014 w 1037063"/>
              <a:gd name="connsiteY19" fmla="*/ 423746 h 624468"/>
              <a:gd name="connsiteX20" fmla="*/ 501805 w 1037063"/>
              <a:gd name="connsiteY20" fmla="*/ 345687 h 624468"/>
              <a:gd name="connsiteX21" fmla="*/ 602166 w 1037063"/>
              <a:gd name="connsiteY21" fmla="*/ 245326 h 624468"/>
              <a:gd name="connsiteX22" fmla="*/ 501805 w 1037063"/>
              <a:gd name="connsiteY22" fmla="*/ 189570 h 624468"/>
              <a:gd name="connsiteX23" fmla="*/ 446048 w 1037063"/>
              <a:gd name="connsiteY23" fmla="*/ 267629 h 624468"/>
              <a:gd name="connsiteX24" fmla="*/ 356839 w 1037063"/>
              <a:gd name="connsiteY24" fmla="*/ 267629 h 624468"/>
              <a:gd name="connsiteX25" fmla="*/ 390292 w 1037063"/>
              <a:gd name="connsiteY25" fmla="*/ 189570 h 624468"/>
              <a:gd name="connsiteX26" fmla="*/ 256478 w 1037063"/>
              <a:gd name="connsiteY26" fmla="*/ 189570 h 624468"/>
              <a:gd name="connsiteX27" fmla="*/ 189570 w 1037063"/>
              <a:gd name="connsiteY27" fmla="*/ 223024 h 624468"/>
              <a:gd name="connsiteX28" fmla="*/ 89209 w 1037063"/>
              <a:gd name="connsiteY28" fmla="*/ 245326 h 624468"/>
              <a:gd name="connsiteX29" fmla="*/ 0 w 1037063"/>
              <a:gd name="connsiteY29" fmla="*/ 200721 h 624468"/>
              <a:gd name="connsiteX0-1" fmla="*/ 0 w 1037063"/>
              <a:gd name="connsiteY0-2" fmla="*/ 200721 h 624468"/>
              <a:gd name="connsiteX1-3" fmla="*/ 200722 w 1037063"/>
              <a:gd name="connsiteY1-4" fmla="*/ 89209 h 624468"/>
              <a:gd name="connsiteX2-5" fmla="*/ 301083 w 1037063"/>
              <a:gd name="connsiteY2-6" fmla="*/ 78058 h 624468"/>
              <a:gd name="connsiteX3-7" fmla="*/ 390292 w 1037063"/>
              <a:gd name="connsiteY3-8" fmla="*/ 55756 h 624468"/>
              <a:gd name="connsiteX4-9" fmla="*/ 468351 w 1037063"/>
              <a:gd name="connsiteY4-10" fmla="*/ 89209 h 624468"/>
              <a:gd name="connsiteX5-11" fmla="*/ 591014 w 1037063"/>
              <a:gd name="connsiteY5-12" fmla="*/ 33453 h 624468"/>
              <a:gd name="connsiteX6-13" fmla="*/ 602166 w 1037063"/>
              <a:gd name="connsiteY6-14" fmla="*/ 0 h 624468"/>
              <a:gd name="connsiteX7-15" fmla="*/ 613317 w 1037063"/>
              <a:gd name="connsiteY7-16" fmla="*/ 89209 h 624468"/>
              <a:gd name="connsiteX8-17" fmla="*/ 735980 w 1037063"/>
              <a:gd name="connsiteY8-18" fmla="*/ 122663 h 624468"/>
              <a:gd name="connsiteX9-19" fmla="*/ 791736 w 1037063"/>
              <a:gd name="connsiteY9-20" fmla="*/ 100360 h 624468"/>
              <a:gd name="connsiteX10-21" fmla="*/ 1003609 w 1037063"/>
              <a:gd name="connsiteY10-22" fmla="*/ 211873 h 624468"/>
              <a:gd name="connsiteX11-23" fmla="*/ 1037063 w 1037063"/>
              <a:gd name="connsiteY11-24" fmla="*/ 568712 h 624468"/>
              <a:gd name="connsiteX12-25" fmla="*/ 892097 w 1037063"/>
              <a:gd name="connsiteY12-26" fmla="*/ 579863 h 624468"/>
              <a:gd name="connsiteX13-27" fmla="*/ 836341 w 1037063"/>
              <a:gd name="connsiteY13-28" fmla="*/ 568712 h 624468"/>
              <a:gd name="connsiteX14-29" fmla="*/ 669407 w 1037063"/>
              <a:gd name="connsiteY14-30" fmla="*/ 557560 h 624468"/>
              <a:gd name="connsiteX15-31" fmla="*/ 568712 w 1037063"/>
              <a:gd name="connsiteY15-32" fmla="*/ 624468 h 624468"/>
              <a:gd name="connsiteX16-33" fmla="*/ 479502 w 1037063"/>
              <a:gd name="connsiteY16-34" fmla="*/ 624468 h 624468"/>
              <a:gd name="connsiteX17-35" fmla="*/ 579863 w 1037063"/>
              <a:gd name="connsiteY17-36" fmla="*/ 535258 h 624468"/>
              <a:gd name="connsiteX18-37" fmla="*/ 512956 w 1037063"/>
              <a:gd name="connsiteY18-38" fmla="*/ 434897 h 624468"/>
              <a:gd name="connsiteX19-39" fmla="*/ 591014 w 1037063"/>
              <a:gd name="connsiteY19-40" fmla="*/ 423746 h 624468"/>
              <a:gd name="connsiteX20-41" fmla="*/ 501805 w 1037063"/>
              <a:gd name="connsiteY20-42" fmla="*/ 345687 h 624468"/>
              <a:gd name="connsiteX21-43" fmla="*/ 602166 w 1037063"/>
              <a:gd name="connsiteY21-44" fmla="*/ 245326 h 624468"/>
              <a:gd name="connsiteX22-45" fmla="*/ 501805 w 1037063"/>
              <a:gd name="connsiteY22-46" fmla="*/ 189570 h 624468"/>
              <a:gd name="connsiteX23-47" fmla="*/ 446048 w 1037063"/>
              <a:gd name="connsiteY23-48" fmla="*/ 267629 h 624468"/>
              <a:gd name="connsiteX24-49" fmla="*/ 356839 w 1037063"/>
              <a:gd name="connsiteY24-50" fmla="*/ 267629 h 624468"/>
              <a:gd name="connsiteX25-51" fmla="*/ 390292 w 1037063"/>
              <a:gd name="connsiteY25-52" fmla="*/ 189570 h 624468"/>
              <a:gd name="connsiteX26-53" fmla="*/ 256478 w 1037063"/>
              <a:gd name="connsiteY26-54" fmla="*/ 189570 h 624468"/>
              <a:gd name="connsiteX27-55" fmla="*/ 189570 w 1037063"/>
              <a:gd name="connsiteY27-56" fmla="*/ 223024 h 624468"/>
              <a:gd name="connsiteX28-57" fmla="*/ 89209 w 1037063"/>
              <a:gd name="connsiteY28-58" fmla="*/ 245326 h 624468"/>
              <a:gd name="connsiteX29-59" fmla="*/ 0 w 1037063"/>
              <a:gd name="connsiteY29-60" fmla="*/ 200721 h 6244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Lst>
            <a:rect l="l" t="t" r="r" b="b"/>
            <a:pathLst>
              <a:path w="1037063" h="624468">
                <a:moveTo>
                  <a:pt x="0" y="200721"/>
                </a:moveTo>
                <a:lnTo>
                  <a:pt x="200722" y="89209"/>
                </a:lnTo>
                <a:lnTo>
                  <a:pt x="301083" y="78058"/>
                </a:lnTo>
                <a:lnTo>
                  <a:pt x="390292" y="55756"/>
                </a:lnTo>
                <a:lnTo>
                  <a:pt x="468351" y="89209"/>
                </a:lnTo>
                <a:lnTo>
                  <a:pt x="591014" y="33453"/>
                </a:lnTo>
                <a:lnTo>
                  <a:pt x="602166" y="0"/>
                </a:lnTo>
                <a:lnTo>
                  <a:pt x="613317" y="89209"/>
                </a:lnTo>
                <a:lnTo>
                  <a:pt x="735980" y="122663"/>
                </a:lnTo>
                <a:lnTo>
                  <a:pt x="791736" y="100360"/>
                </a:lnTo>
                <a:lnTo>
                  <a:pt x="1003609" y="211873"/>
                </a:lnTo>
                <a:lnTo>
                  <a:pt x="1037063" y="568712"/>
                </a:lnTo>
                <a:lnTo>
                  <a:pt x="892097" y="579863"/>
                </a:lnTo>
                <a:lnTo>
                  <a:pt x="836341" y="568712"/>
                </a:lnTo>
                <a:lnTo>
                  <a:pt x="669407" y="557560"/>
                </a:lnTo>
                <a:lnTo>
                  <a:pt x="568712" y="624468"/>
                </a:lnTo>
                <a:lnTo>
                  <a:pt x="479502" y="624468"/>
                </a:lnTo>
                <a:lnTo>
                  <a:pt x="579863" y="535258"/>
                </a:lnTo>
                <a:lnTo>
                  <a:pt x="512956" y="434897"/>
                </a:lnTo>
                <a:lnTo>
                  <a:pt x="591014" y="423746"/>
                </a:lnTo>
                <a:lnTo>
                  <a:pt x="501805" y="345687"/>
                </a:lnTo>
                <a:lnTo>
                  <a:pt x="602166" y="245326"/>
                </a:lnTo>
                <a:lnTo>
                  <a:pt x="501805" y="189570"/>
                </a:lnTo>
                <a:lnTo>
                  <a:pt x="446048" y="267629"/>
                </a:lnTo>
                <a:lnTo>
                  <a:pt x="356839" y="267629"/>
                </a:lnTo>
                <a:lnTo>
                  <a:pt x="390292" y="189570"/>
                </a:lnTo>
                <a:lnTo>
                  <a:pt x="256478" y="189570"/>
                </a:lnTo>
                <a:lnTo>
                  <a:pt x="189570" y="223024"/>
                </a:lnTo>
                <a:lnTo>
                  <a:pt x="89209" y="245326"/>
                </a:lnTo>
                <a:lnTo>
                  <a:pt x="0" y="200721"/>
                </a:lnTo>
                <a:close/>
              </a:path>
            </a:pathLst>
          </a:custGeom>
        </p:spPr>
        <p:style>
          <a:lnRef idx="1">
            <a:schemeClr val="accent1"/>
          </a:lnRef>
          <a:fillRef idx="2">
            <a:schemeClr val="accent1"/>
          </a:fillRef>
          <a:effectRef idx="1">
            <a:schemeClr val="accent1"/>
          </a:effectRef>
          <a:fontRef idx="minor">
            <a:schemeClr val="dk1"/>
          </a:fontRef>
        </p:style>
        <p:txBody>
          <a:bodyPr lIns="45710" tIns="45710" rIns="45710" bIns="45710" anchor="ctr"/>
          <a:lstStyle/>
          <a:p>
            <a:pPr algn="ctr">
              <a:spcBef>
                <a:spcPts val="400"/>
              </a:spcBef>
              <a:defRPr/>
            </a:pPr>
            <a:endParaRPr lang="en-US" sz="1200" kern="0">
              <a:solidFill>
                <a:srgbClr val="003366"/>
              </a:solidFill>
              <a:latin typeface="+mj-lt"/>
              <a:cs typeface="Arial" panose="020B0604020202020204" pitchFamily="34" charset="0"/>
            </a:endParaRPr>
          </a:p>
        </p:txBody>
      </p:sp>
      <p:sp>
        <p:nvSpPr>
          <p:cNvPr id="10" name="Freeform 43"/>
          <p:cNvSpPr/>
          <p:nvPr>
            <p:custDataLst>
              <p:tags r:id="rId5"/>
            </p:custDataLst>
          </p:nvPr>
        </p:nvSpPr>
        <p:spPr bwMode="gray">
          <a:xfrm>
            <a:off x="5739108" y="2152158"/>
            <a:ext cx="2376487" cy="1484639"/>
          </a:xfrm>
          <a:custGeom>
            <a:avLst/>
            <a:gdLst>
              <a:gd name="connsiteX0" fmla="*/ 0 w 2252546"/>
              <a:gd name="connsiteY0" fmla="*/ 880947 h 1405054"/>
              <a:gd name="connsiteX1" fmla="*/ 100361 w 2252546"/>
              <a:gd name="connsiteY1" fmla="*/ 1025913 h 1405054"/>
              <a:gd name="connsiteX2" fmla="*/ 89210 w 2252546"/>
              <a:gd name="connsiteY2" fmla="*/ 1126274 h 1405054"/>
              <a:gd name="connsiteX3" fmla="*/ 144966 w 2252546"/>
              <a:gd name="connsiteY3" fmla="*/ 1148576 h 1405054"/>
              <a:gd name="connsiteX4" fmla="*/ 156117 w 2252546"/>
              <a:gd name="connsiteY4" fmla="*/ 1059366 h 1405054"/>
              <a:gd name="connsiteX5" fmla="*/ 267629 w 2252546"/>
              <a:gd name="connsiteY5" fmla="*/ 1081669 h 1405054"/>
              <a:gd name="connsiteX6" fmla="*/ 401444 w 2252546"/>
              <a:gd name="connsiteY6" fmla="*/ 1048215 h 1405054"/>
              <a:gd name="connsiteX7" fmla="*/ 479502 w 2252546"/>
              <a:gd name="connsiteY7" fmla="*/ 1226635 h 1405054"/>
              <a:gd name="connsiteX8" fmla="*/ 479502 w 2252546"/>
              <a:gd name="connsiteY8" fmla="*/ 1360449 h 1405054"/>
              <a:gd name="connsiteX9" fmla="*/ 669073 w 2252546"/>
              <a:gd name="connsiteY9" fmla="*/ 1382752 h 1405054"/>
              <a:gd name="connsiteX10" fmla="*/ 713678 w 2252546"/>
              <a:gd name="connsiteY10" fmla="*/ 1405054 h 1405054"/>
              <a:gd name="connsiteX11" fmla="*/ 970156 w 2252546"/>
              <a:gd name="connsiteY11" fmla="*/ 1148576 h 1405054"/>
              <a:gd name="connsiteX12" fmla="*/ 1315844 w 2252546"/>
              <a:gd name="connsiteY12" fmla="*/ 1037064 h 1405054"/>
              <a:gd name="connsiteX13" fmla="*/ 1405054 w 2252546"/>
              <a:gd name="connsiteY13" fmla="*/ 903249 h 1405054"/>
              <a:gd name="connsiteX14" fmla="*/ 1326995 w 2252546"/>
              <a:gd name="connsiteY14" fmla="*/ 847493 h 1405054"/>
              <a:gd name="connsiteX15" fmla="*/ 1371600 w 2252546"/>
              <a:gd name="connsiteY15" fmla="*/ 747132 h 1405054"/>
              <a:gd name="connsiteX16" fmla="*/ 1650380 w 2252546"/>
              <a:gd name="connsiteY16" fmla="*/ 646771 h 1405054"/>
              <a:gd name="connsiteX17" fmla="*/ 1650380 w 2252546"/>
              <a:gd name="connsiteY17" fmla="*/ 591015 h 1405054"/>
              <a:gd name="connsiteX18" fmla="*/ 1806497 w 2252546"/>
              <a:gd name="connsiteY18" fmla="*/ 557561 h 1405054"/>
              <a:gd name="connsiteX19" fmla="*/ 1839951 w 2252546"/>
              <a:gd name="connsiteY19" fmla="*/ 579864 h 1405054"/>
              <a:gd name="connsiteX20" fmla="*/ 1929161 w 2252546"/>
              <a:gd name="connsiteY20" fmla="*/ 546410 h 1405054"/>
              <a:gd name="connsiteX21" fmla="*/ 2241395 w 2252546"/>
              <a:gd name="connsiteY21" fmla="*/ 591015 h 1405054"/>
              <a:gd name="connsiteX22" fmla="*/ 2174488 w 2252546"/>
              <a:gd name="connsiteY22" fmla="*/ 479503 h 1405054"/>
              <a:gd name="connsiteX23" fmla="*/ 2252546 w 2252546"/>
              <a:gd name="connsiteY23" fmla="*/ 434898 h 1405054"/>
              <a:gd name="connsiteX24" fmla="*/ 2062976 w 2252546"/>
              <a:gd name="connsiteY24" fmla="*/ 312235 h 1405054"/>
              <a:gd name="connsiteX25" fmla="*/ 2062976 w 2252546"/>
              <a:gd name="connsiteY25" fmla="*/ 312235 h 1405054"/>
              <a:gd name="connsiteX26" fmla="*/ 2085278 w 2252546"/>
              <a:gd name="connsiteY26" fmla="*/ 289932 h 1405054"/>
              <a:gd name="connsiteX27" fmla="*/ 2040673 w 2252546"/>
              <a:gd name="connsiteY27" fmla="*/ 189571 h 1405054"/>
              <a:gd name="connsiteX28" fmla="*/ 2029522 w 2252546"/>
              <a:gd name="connsiteY28" fmla="*/ 78059 h 1405054"/>
              <a:gd name="connsiteX29" fmla="*/ 1862254 w 2252546"/>
              <a:gd name="connsiteY29" fmla="*/ 100361 h 1405054"/>
              <a:gd name="connsiteX30" fmla="*/ 1661532 w 2252546"/>
              <a:gd name="connsiteY30" fmla="*/ 78059 h 1405054"/>
              <a:gd name="connsiteX31" fmla="*/ 1572322 w 2252546"/>
              <a:gd name="connsiteY31" fmla="*/ 156117 h 1405054"/>
              <a:gd name="connsiteX32" fmla="*/ 1449658 w 2252546"/>
              <a:gd name="connsiteY32" fmla="*/ 156117 h 1405054"/>
              <a:gd name="connsiteX33" fmla="*/ 1550019 w 2252546"/>
              <a:gd name="connsiteY33" fmla="*/ 44605 h 1405054"/>
              <a:gd name="connsiteX34" fmla="*/ 1438507 w 2252546"/>
              <a:gd name="connsiteY34" fmla="*/ 0 h 1405054"/>
              <a:gd name="connsiteX35" fmla="*/ 1326995 w 2252546"/>
              <a:gd name="connsiteY35" fmla="*/ 122664 h 1405054"/>
              <a:gd name="connsiteX36" fmla="*/ 1037063 w 2252546"/>
              <a:gd name="connsiteY36" fmla="*/ 156117 h 1405054"/>
              <a:gd name="connsiteX37" fmla="*/ 947854 w 2252546"/>
              <a:gd name="connsiteY37" fmla="*/ 178420 h 1405054"/>
              <a:gd name="connsiteX38" fmla="*/ 981307 w 2252546"/>
              <a:gd name="connsiteY38" fmla="*/ 278781 h 1405054"/>
              <a:gd name="connsiteX39" fmla="*/ 858644 w 2252546"/>
              <a:gd name="connsiteY39" fmla="*/ 356839 h 1405054"/>
              <a:gd name="connsiteX40" fmla="*/ 858644 w 2252546"/>
              <a:gd name="connsiteY40" fmla="*/ 356839 h 1405054"/>
              <a:gd name="connsiteX41" fmla="*/ 624468 w 2252546"/>
              <a:gd name="connsiteY41" fmla="*/ 189571 h 1405054"/>
              <a:gd name="connsiteX42" fmla="*/ 524107 w 2252546"/>
              <a:gd name="connsiteY42" fmla="*/ 111513 h 1405054"/>
              <a:gd name="connsiteX43" fmla="*/ 412595 w 2252546"/>
              <a:gd name="connsiteY43" fmla="*/ 144966 h 1405054"/>
              <a:gd name="connsiteX44" fmla="*/ 490654 w 2252546"/>
              <a:gd name="connsiteY44" fmla="*/ 267630 h 1405054"/>
              <a:gd name="connsiteX45" fmla="*/ 591015 w 2252546"/>
              <a:gd name="connsiteY45" fmla="*/ 367991 h 1405054"/>
              <a:gd name="connsiteX46" fmla="*/ 446049 w 2252546"/>
              <a:gd name="connsiteY46" fmla="*/ 367991 h 1405054"/>
              <a:gd name="connsiteX47" fmla="*/ 289932 w 2252546"/>
              <a:gd name="connsiteY47" fmla="*/ 367991 h 1405054"/>
              <a:gd name="connsiteX48" fmla="*/ 234176 w 2252546"/>
              <a:gd name="connsiteY48" fmla="*/ 434898 h 1405054"/>
              <a:gd name="connsiteX49" fmla="*/ 234176 w 2252546"/>
              <a:gd name="connsiteY49" fmla="*/ 512956 h 1405054"/>
              <a:gd name="connsiteX50" fmla="*/ 256478 w 2252546"/>
              <a:gd name="connsiteY50" fmla="*/ 624469 h 1405054"/>
              <a:gd name="connsiteX51" fmla="*/ 178419 w 2252546"/>
              <a:gd name="connsiteY51" fmla="*/ 702527 h 1405054"/>
              <a:gd name="connsiteX52" fmla="*/ 189571 w 2252546"/>
              <a:gd name="connsiteY52" fmla="*/ 769435 h 1405054"/>
              <a:gd name="connsiteX53" fmla="*/ 78058 w 2252546"/>
              <a:gd name="connsiteY53" fmla="*/ 802888 h 1405054"/>
              <a:gd name="connsiteX54" fmla="*/ 0 w 2252546"/>
              <a:gd name="connsiteY54" fmla="*/ 880947 h 1405054"/>
              <a:gd name="connsiteX0-1" fmla="*/ 0 w 2252546"/>
              <a:gd name="connsiteY0-2" fmla="*/ 880947 h 1405054"/>
              <a:gd name="connsiteX1-3" fmla="*/ 100361 w 2252546"/>
              <a:gd name="connsiteY1-4" fmla="*/ 1025913 h 1405054"/>
              <a:gd name="connsiteX2-5" fmla="*/ 89210 w 2252546"/>
              <a:gd name="connsiteY2-6" fmla="*/ 1126274 h 1405054"/>
              <a:gd name="connsiteX3-7" fmla="*/ 144966 w 2252546"/>
              <a:gd name="connsiteY3-8" fmla="*/ 1148576 h 1405054"/>
              <a:gd name="connsiteX4-9" fmla="*/ 156117 w 2252546"/>
              <a:gd name="connsiteY4-10" fmla="*/ 1059366 h 1405054"/>
              <a:gd name="connsiteX5-11" fmla="*/ 267629 w 2252546"/>
              <a:gd name="connsiteY5-12" fmla="*/ 1081669 h 1405054"/>
              <a:gd name="connsiteX6-13" fmla="*/ 401444 w 2252546"/>
              <a:gd name="connsiteY6-14" fmla="*/ 1048215 h 1405054"/>
              <a:gd name="connsiteX7-15" fmla="*/ 479502 w 2252546"/>
              <a:gd name="connsiteY7-16" fmla="*/ 1226635 h 1405054"/>
              <a:gd name="connsiteX8-17" fmla="*/ 479502 w 2252546"/>
              <a:gd name="connsiteY8-18" fmla="*/ 1360449 h 1405054"/>
              <a:gd name="connsiteX9-19" fmla="*/ 669073 w 2252546"/>
              <a:gd name="connsiteY9-20" fmla="*/ 1382752 h 1405054"/>
              <a:gd name="connsiteX10-21" fmla="*/ 713678 w 2252546"/>
              <a:gd name="connsiteY10-22" fmla="*/ 1405054 h 1405054"/>
              <a:gd name="connsiteX11-23" fmla="*/ 970156 w 2252546"/>
              <a:gd name="connsiteY11-24" fmla="*/ 1148576 h 1405054"/>
              <a:gd name="connsiteX12-25" fmla="*/ 1315844 w 2252546"/>
              <a:gd name="connsiteY12-26" fmla="*/ 1037064 h 1405054"/>
              <a:gd name="connsiteX13-27" fmla="*/ 1405054 w 2252546"/>
              <a:gd name="connsiteY13-28" fmla="*/ 903249 h 1405054"/>
              <a:gd name="connsiteX14-29" fmla="*/ 1326995 w 2252546"/>
              <a:gd name="connsiteY14-30" fmla="*/ 847493 h 1405054"/>
              <a:gd name="connsiteX15-31" fmla="*/ 1371600 w 2252546"/>
              <a:gd name="connsiteY15-32" fmla="*/ 747132 h 1405054"/>
              <a:gd name="connsiteX16-33" fmla="*/ 1650380 w 2252546"/>
              <a:gd name="connsiteY16-34" fmla="*/ 646771 h 1405054"/>
              <a:gd name="connsiteX17-35" fmla="*/ 1650380 w 2252546"/>
              <a:gd name="connsiteY17-36" fmla="*/ 591015 h 1405054"/>
              <a:gd name="connsiteX18-37" fmla="*/ 1806497 w 2252546"/>
              <a:gd name="connsiteY18-38" fmla="*/ 557561 h 1405054"/>
              <a:gd name="connsiteX19-39" fmla="*/ 1839951 w 2252546"/>
              <a:gd name="connsiteY19-40" fmla="*/ 579864 h 1405054"/>
              <a:gd name="connsiteX20-41" fmla="*/ 1929161 w 2252546"/>
              <a:gd name="connsiteY20-42" fmla="*/ 546410 h 1405054"/>
              <a:gd name="connsiteX21-43" fmla="*/ 2241395 w 2252546"/>
              <a:gd name="connsiteY21-44" fmla="*/ 591015 h 1405054"/>
              <a:gd name="connsiteX22-45" fmla="*/ 2174488 w 2252546"/>
              <a:gd name="connsiteY22-46" fmla="*/ 479503 h 1405054"/>
              <a:gd name="connsiteX23-47" fmla="*/ 2252546 w 2252546"/>
              <a:gd name="connsiteY23-48" fmla="*/ 434898 h 1405054"/>
              <a:gd name="connsiteX24-49" fmla="*/ 2062976 w 2252546"/>
              <a:gd name="connsiteY24-50" fmla="*/ 312235 h 1405054"/>
              <a:gd name="connsiteX25-51" fmla="*/ 2062976 w 2252546"/>
              <a:gd name="connsiteY25-52" fmla="*/ 312235 h 1405054"/>
              <a:gd name="connsiteX26-53" fmla="*/ 2085278 w 2252546"/>
              <a:gd name="connsiteY26-54" fmla="*/ 289932 h 1405054"/>
              <a:gd name="connsiteX27-55" fmla="*/ 2040673 w 2252546"/>
              <a:gd name="connsiteY27-56" fmla="*/ 189571 h 1405054"/>
              <a:gd name="connsiteX28-57" fmla="*/ 2029522 w 2252546"/>
              <a:gd name="connsiteY28-58" fmla="*/ 78059 h 1405054"/>
              <a:gd name="connsiteX29-59" fmla="*/ 1862254 w 2252546"/>
              <a:gd name="connsiteY29-60" fmla="*/ 100361 h 1405054"/>
              <a:gd name="connsiteX30-61" fmla="*/ 1661532 w 2252546"/>
              <a:gd name="connsiteY30-62" fmla="*/ 78059 h 1405054"/>
              <a:gd name="connsiteX31-63" fmla="*/ 1572322 w 2252546"/>
              <a:gd name="connsiteY31-64" fmla="*/ 156117 h 1405054"/>
              <a:gd name="connsiteX32-65" fmla="*/ 1449658 w 2252546"/>
              <a:gd name="connsiteY32-66" fmla="*/ 156117 h 1405054"/>
              <a:gd name="connsiteX33-67" fmla="*/ 1550019 w 2252546"/>
              <a:gd name="connsiteY33-68" fmla="*/ 44605 h 1405054"/>
              <a:gd name="connsiteX34-69" fmla="*/ 1438507 w 2252546"/>
              <a:gd name="connsiteY34-70" fmla="*/ 0 h 1405054"/>
              <a:gd name="connsiteX35-71" fmla="*/ 1433671 w 2252546"/>
              <a:gd name="connsiteY35-72" fmla="*/ 437229 h 1405054"/>
              <a:gd name="connsiteX36-73" fmla="*/ 1326995 w 2252546"/>
              <a:gd name="connsiteY36-74" fmla="*/ 122664 h 1405054"/>
              <a:gd name="connsiteX37-75" fmla="*/ 1037063 w 2252546"/>
              <a:gd name="connsiteY37-76" fmla="*/ 156117 h 1405054"/>
              <a:gd name="connsiteX38-77" fmla="*/ 947854 w 2252546"/>
              <a:gd name="connsiteY38-78" fmla="*/ 178420 h 1405054"/>
              <a:gd name="connsiteX39-79" fmla="*/ 981307 w 2252546"/>
              <a:gd name="connsiteY39-80" fmla="*/ 278781 h 1405054"/>
              <a:gd name="connsiteX40-81" fmla="*/ 858644 w 2252546"/>
              <a:gd name="connsiteY40-82" fmla="*/ 356839 h 1405054"/>
              <a:gd name="connsiteX41-83" fmla="*/ 858644 w 2252546"/>
              <a:gd name="connsiteY41-84" fmla="*/ 356839 h 1405054"/>
              <a:gd name="connsiteX42-85" fmla="*/ 624468 w 2252546"/>
              <a:gd name="connsiteY42-86" fmla="*/ 189571 h 1405054"/>
              <a:gd name="connsiteX43-87" fmla="*/ 524107 w 2252546"/>
              <a:gd name="connsiteY43-88" fmla="*/ 111513 h 1405054"/>
              <a:gd name="connsiteX44-89" fmla="*/ 412595 w 2252546"/>
              <a:gd name="connsiteY44-90" fmla="*/ 144966 h 1405054"/>
              <a:gd name="connsiteX45-91" fmla="*/ 490654 w 2252546"/>
              <a:gd name="connsiteY45-92" fmla="*/ 267630 h 1405054"/>
              <a:gd name="connsiteX46-93" fmla="*/ 591015 w 2252546"/>
              <a:gd name="connsiteY46-94" fmla="*/ 367991 h 1405054"/>
              <a:gd name="connsiteX47-95" fmla="*/ 446049 w 2252546"/>
              <a:gd name="connsiteY47-96" fmla="*/ 367991 h 1405054"/>
              <a:gd name="connsiteX48-97" fmla="*/ 289932 w 2252546"/>
              <a:gd name="connsiteY48-98" fmla="*/ 367991 h 1405054"/>
              <a:gd name="connsiteX49-99" fmla="*/ 234176 w 2252546"/>
              <a:gd name="connsiteY49-100" fmla="*/ 434898 h 1405054"/>
              <a:gd name="connsiteX50-101" fmla="*/ 234176 w 2252546"/>
              <a:gd name="connsiteY50-102" fmla="*/ 512956 h 1405054"/>
              <a:gd name="connsiteX51-103" fmla="*/ 256478 w 2252546"/>
              <a:gd name="connsiteY51-104" fmla="*/ 624469 h 1405054"/>
              <a:gd name="connsiteX52-105" fmla="*/ 178419 w 2252546"/>
              <a:gd name="connsiteY52-106" fmla="*/ 702527 h 1405054"/>
              <a:gd name="connsiteX53-107" fmla="*/ 189571 w 2252546"/>
              <a:gd name="connsiteY53-108" fmla="*/ 769435 h 1405054"/>
              <a:gd name="connsiteX54-109" fmla="*/ 78058 w 2252546"/>
              <a:gd name="connsiteY54-110" fmla="*/ 802888 h 1405054"/>
              <a:gd name="connsiteX55" fmla="*/ 0 w 2252546"/>
              <a:gd name="connsiteY55" fmla="*/ 880947 h 1405054"/>
              <a:gd name="connsiteX0-111" fmla="*/ 0 w 2252546"/>
              <a:gd name="connsiteY0-112" fmla="*/ 880947 h 1405054"/>
              <a:gd name="connsiteX1-113" fmla="*/ 100361 w 2252546"/>
              <a:gd name="connsiteY1-114" fmla="*/ 1025913 h 1405054"/>
              <a:gd name="connsiteX2-115" fmla="*/ 89210 w 2252546"/>
              <a:gd name="connsiteY2-116" fmla="*/ 1126274 h 1405054"/>
              <a:gd name="connsiteX3-117" fmla="*/ 144966 w 2252546"/>
              <a:gd name="connsiteY3-118" fmla="*/ 1148576 h 1405054"/>
              <a:gd name="connsiteX4-119" fmla="*/ 156117 w 2252546"/>
              <a:gd name="connsiteY4-120" fmla="*/ 1059366 h 1405054"/>
              <a:gd name="connsiteX5-121" fmla="*/ 267629 w 2252546"/>
              <a:gd name="connsiteY5-122" fmla="*/ 1081669 h 1405054"/>
              <a:gd name="connsiteX6-123" fmla="*/ 401444 w 2252546"/>
              <a:gd name="connsiteY6-124" fmla="*/ 1048215 h 1405054"/>
              <a:gd name="connsiteX7-125" fmla="*/ 479502 w 2252546"/>
              <a:gd name="connsiteY7-126" fmla="*/ 1226635 h 1405054"/>
              <a:gd name="connsiteX8-127" fmla="*/ 479502 w 2252546"/>
              <a:gd name="connsiteY8-128" fmla="*/ 1360449 h 1405054"/>
              <a:gd name="connsiteX9-129" fmla="*/ 669073 w 2252546"/>
              <a:gd name="connsiteY9-130" fmla="*/ 1382752 h 1405054"/>
              <a:gd name="connsiteX10-131" fmla="*/ 713678 w 2252546"/>
              <a:gd name="connsiteY10-132" fmla="*/ 1405054 h 1405054"/>
              <a:gd name="connsiteX11-133" fmla="*/ 970156 w 2252546"/>
              <a:gd name="connsiteY11-134" fmla="*/ 1148576 h 1405054"/>
              <a:gd name="connsiteX12-135" fmla="*/ 1315844 w 2252546"/>
              <a:gd name="connsiteY12-136" fmla="*/ 1037064 h 1405054"/>
              <a:gd name="connsiteX13-137" fmla="*/ 1405054 w 2252546"/>
              <a:gd name="connsiteY13-138" fmla="*/ 903249 h 1405054"/>
              <a:gd name="connsiteX14-139" fmla="*/ 1326995 w 2252546"/>
              <a:gd name="connsiteY14-140" fmla="*/ 847493 h 1405054"/>
              <a:gd name="connsiteX15-141" fmla="*/ 1371600 w 2252546"/>
              <a:gd name="connsiteY15-142" fmla="*/ 747132 h 1405054"/>
              <a:gd name="connsiteX16-143" fmla="*/ 1650380 w 2252546"/>
              <a:gd name="connsiteY16-144" fmla="*/ 646771 h 1405054"/>
              <a:gd name="connsiteX17-145" fmla="*/ 1650380 w 2252546"/>
              <a:gd name="connsiteY17-146" fmla="*/ 591015 h 1405054"/>
              <a:gd name="connsiteX18-147" fmla="*/ 1806497 w 2252546"/>
              <a:gd name="connsiteY18-148" fmla="*/ 557561 h 1405054"/>
              <a:gd name="connsiteX19-149" fmla="*/ 1839951 w 2252546"/>
              <a:gd name="connsiteY19-150" fmla="*/ 579864 h 1405054"/>
              <a:gd name="connsiteX20-151" fmla="*/ 1929161 w 2252546"/>
              <a:gd name="connsiteY20-152" fmla="*/ 546410 h 1405054"/>
              <a:gd name="connsiteX21-153" fmla="*/ 2241395 w 2252546"/>
              <a:gd name="connsiteY21-154" fmla="*/ 591015 h 1405054"/>
              <a:gd name="connsiteX22-155" fmla="*/ 2174488 w 2252546"/>
              <a:gd name="connsiteY22-156" fmla="*/ 479503 h 1405054"/>
              <a:gd name="connsiteX23-157" fmla="*/ 2252546 w 2252546"/>
              <a:gd name="connsiteY23-158" fmla="*/ 434898 h 1405054"/>
              <a:gd name="connsiteX24-159" fmla="*/ 2062976 w 2252546"/>
              <a:gd name="connsiteY24-160" fmla="*/ 312235 h 1405054"/>
              <a:gd name="connsiteX25-161" fmla="*/ 2062976 w 2252546"/>
              <a:gd name="connsiteY25-162" fmla="*/ 312235 h 1405054"/>
              <a:gd name="connsiteX26-163" fmla="*/ 2085278 w 2252546"/>
              <a:gd name="connsiteY26-164" fmla="*/ 289932 h 1405054"/>
              <a:gd name="connsiteX27-165" fmla="*/ 2040673 w 2252546"/>
              <a:gd name="connsiteY27-166" fmla="*/ 189571 h 1405054"/>
              <a:gd name="connsiteX28-167" fmla="*/ 2029522 w 2252546"/>
              <a:gd name="connsiteY28-168" fmla="*/ 78059 h 1405054"/>
              <a:gd name="connsiteX29-169" fmla="*/ 1862254 w 2252546"/>
              <a:gd name="connsiteY29-170" fmla="*/ 100361 h 1405054"/>
              <a:gd name="connsiteX30-171" fmla="*/ 1661532 w 2252546"/>
              <a:gd name="connsiteY30-172" fmla="*/ 78059 h 1405054"/>
              <a:gd name="connsiteX31-173" fmla="*/ 1572322 w 2252546"/>
              <a:gd name="connsiteY31-174" fmla="*/ 156117 h 1405054"/>
              <a:gd name="connsiteX32-175" fmla="*/ 1449658 w 2252546"/>
              <a:gd name="connsiteY32-176" fmla="*/ 156117 h 1405054"/>
              <a:gd name="connsiteX33-177" fmla="*/ 1550019 w 2252546"/>
              <a:gd name="connsiteY33-178" fmla="*/ 44605 h 1405054"/>
              <a:gd name="connsiteX34-179" fmla="*/ 1438507 w 2252546"/>
              <a:gd name="connsiteY34-180" fmla="*/ 0 h 1405054"/>
              <a:gd name="connsiteX35-181" fmla="*/ 1433671 w 2252546"/>
              <a:gd name="connsiteY35-182" fmla="*/ 437229 h 1405054"/>
              <a:gd name="connsiteX36-183" fmla="*/ 1326995 w 2252546"/>
              <a:gd name="connsiteY36-184" fmla="*/ 122664 h 1405054"/>
              <a:gd name="connsiteX37-185" fmla="*/ 1311312 w 2252546"/>
              <a:gd name="connsiteY37-186" fmla="*/ 675085 h 1405054"/>
              <a:gd name="connsiteX38-187" fmla="*/ 1037063 w 2252546"/>
              <a:gd name="connsiteY38-188" fmla="*/ 156117 h 1405054"/>
              <a:gd name="connsiteX39-189" fmla="*/ 947854 w 2252546"/>
              <a:gd name="connsiteY39-190" fmla="*/ 178420 h 1405054"/>
              <a:gd name="connsiteX40-191" fmla="*/ 981307 w 2252546"/>
              <a:gd name="connsiteY40-192" fmla="*/ 278781 h 1405054"/>
              <a:gd name="connsiteX41-193" fmla="*/ 858644 w 2252546"/>
              <a:gd name="connsiteY41-194" fmla="*/ 356839 h 1405054"/>
              <a:gd name="connsiteX42-195" fmla="*/ 858644 w 2252546"/>
              <a:gd name="connsiteY42-196" fmla="*/ 356839 h 1405054"/>
              <a:gd name="connsiteX43-197" fmla="*/ 624468 w 2252546"/>
              <a:gd name="connsiteY43-198" fmla="*/ 189571 h 1405054"/>
              <a:gd name="connsiteX44-199" fmla="*/ 524107 w 2252546"/>
              <a:gd name="connsiteY44-200" fmla="*/ 111513 h 1405054"/>
              <a:gd name="connsiteX45-201" fmla="*/ 412595 w 2252546"/>
              <a:gd name="connsiteY45-202" fmla="*/ 144966 h 1405054"/>
              <a:gd name="connsiteX46-203" fmla="*/ 490654 w 2252546"/>
              <a:gd name="connsiteY46-204" fmla="*/ 267630 h 1405054"/>
              <a:gd name="connsiteX47-205" fmla="*/ 591015 w 2252546"/>
              <a:gd name="connsiteY47-206" fmla="*/ 367991 h 1405054"/>
              <a:gd name="connsiteX48-207" fmla="*/ 446049 w 2252546"/>
              <a:gd name="connsiteY48-208" fmla="*/ 367991 h 1405054"/>
              <a:gd name="connsiteX49-209" fmla="*/ 289932 w 2252546"/>
              <a:gd name="connsiteY49-210" fmla="*/ 367991 h 1405054"/>
              <a:gd name="connsiteX50-211" fmla="*/ 234176 w 2252546"/>
              <a:gd name="connsiteY50-212" fmla="*/ 434898 h 1405054"/>
              <a:gd name="connsiteX51-213" fmla="*/ 234176 w 2252546"/>
              <a:gd name="connsiteY51-214" fmla="*/ 512956 h 1405054"/>
              <a:gd name="connsiteX52-215" fmla="*/ 256478 w 2252546"/>
              <a:gd name="connsiteY52-216" fmla="*/ 624469 h 1405054"/>
              <a:gd name="connsiteX53-217" fmla="*/ 178419 w 2252546"/>
              <a:gd name="connsiteY53-218" fmla="*/ 702527 h 1405054"/>
              <a:gd name="connsiteX54-219" fmla="*/ 189571 w 2252546"/>
              <a:gd name="connsiteY54-220" fmla="*/ 769435 h 1405054"/>
              <a:gd name="connsiteX55-221" fmla="*/ 78058 w 2252546"/>
              <a:gd name="connsiteY55-222" fmla="*/ 802888 h 1405054"/>
              <a:gd name="connsiteX56" fmla="*/ 0 w 2252546"/>
              <a:gd name="connsiteY56" fmla="*/ 880947 h 1405054"/>
              <a:gd name="connsiteX0-223" fmla="*/ 0 w 2252546"/>
              <a:gd name="connsiteY0-224" fmla="*/ 880947 h 1405054"/>
              <a:gd name="connsiteX1-225" fmla="*/ 100361 w 2252546"/>
              <a:gd name="connsiteY1-226" fmla="*/ 1025913 h 1405054"/>
              <a:gd name="connsiteX2-227" fmla="*/ 89210 w 2252546"/>
              <a:gd name="connsiteY2-228" fmla="*/ 1126274 h 1405054"/>
              <a:gd name="connsiteX3-229" fmla="*/ 144966 w 2252546"/>
              <a:gd name="connsiteY3-230" fmla="*/ 1148576 h 1405054"/>
              <a:gd name="connsiteX4-231" fmla="*/ 156117 w 2252546"/>
              <a:gd name="connsiteY4-232" fmla="*/ 1059366 h 1405054"/>
              <a:gd name="connsiteX5-233" fmla="*/ 267629 w 2252546"/>
              <a:gd name="connsiteY5-234" fmla="*/ 1081669 h 1405054"/>
              <a:gd name="connsiteX6-235" fmla="*/ 401444 w 2252546"/>
              <a:gd name="connsiteY6-236" fmla="*/ 1048215 h 1405054"/>
              <a:gd name="connsiteX7-237" fmla="*/ 479502 w 2252546"/>
              <a:gd name="connsiteY7-238" fmla="*/ 1226635 h 1405054"/>
              <a:gd name="connsiteX8-239" fmla="*/ 479502 w 2252546"/>
              <a:gd name="connsiteY8-240" fmla="*/ 1360449 h 1405054"/>
              <a:gd name="connsiteX9-241" fmla="*/ 669073 w 2252546"/>
              <a:gd name="connsiteY9-242" fmla="*/ 1382752 h 1405054"/>
              <a:gd name="connsiteX10-243" fmla="*/ 713678 w 2252546"/>
              <a:gd name="connsiteY10-244" fmla="*/ 1405054 h 1405054"/>
              <a:gd name="connsiteX11-245" fmla="*/ 970156 w 2252546"/>
              <a:gd name="connsiteY11-246" fmla="*/ 1148576 h 1405054"/>
              <a:gd name="connsiteX12-247" fmla="*/ 1315844 w 2252546"/>
              <a:gd name="connsiteY12-248" fmla="*/ 1037064 h 1405054"/>
              <a:gd name="connsiteX13-249" fmla="*/ 1405054 w 2252546"/>
              <a:gd name="connsiteY13-250" fmla="*/ 903249 h 1405054"/>
              <a:gd name="connsiteX14-251" fmla="*/ 1326995 w 2252546"/>
              <a:gd name="connsiteY14-252" fmla="*/ 847493 h 1405054"/>
              <a:gd name="connsiteX15-253" fmla="*/ 1371600 w 2252546"/>
              <a:gd name="connsiteY15-254" fmla="*/ 747132 h 1405054"/>
              <a:gd name="connsiteX16-255" fmla="*/ 1650380 w 2252546"/>
              <a:gd name="connsiteY16-256" fmla="*/ 646771 h 1405054"/>
              <a:gd name="connsiteX17-257" fmla="*/ 1650380 w 2252546"/>
              <a:gd name="connsiteY17-258" fmla="*/ 591015 h 1405054"/>
              <a:gd name="connsiteX18-259" fmla="*/ 1806497 w 2252546"/>
              <a:gd name="connsiteY18-260" fmla="*/ 557561 h 1405054"/>
              <a:gd name="connsiteX19-261" fmla="*/ 1839951 w 2252546"/>
              <a:gd name="connsiteY19-262" fmla="*/ 579864 h 1405054"/>
              <a:gd name="connsiteX20-263" fmla="*/ 1929161 w 2252546"/>
              <a:gd name="connsiteY20-264" fmla="*/ 546410 h 1405054"/>
              <a:gd name="connsiteX21-265" fmla="*/ 2241395 w 2252546"/>
              <a:gd name="connsiteY21-266" fmla="*/ 591015 h 1405054"/>
              <a:gd name="connsiteX22-267" fmla="*/ 2174488 w 2252546"/>
              <a:gd name="connsiteY22-268" fmla="*/ 479503 h 1405054"/>
              <a:gd name="connsiteX23-269" fmla="*/ 2252546 w 2252546"/>
              <a:gd name="connsiteY23-270" fmla="*/ 434898 h 1405054"/>
              <a:gd name="connsiteX24-271" fmla="*/ 2062976 w 2252546"/>
              <a:gd name="connsiteY24-272" fmla="*/ 312235 h 1405054"/>
              <a:gd name="connsiteX25-273" fmla="*/ 2062976 w 2252546"/>
              <a:gd name="connsiteY25-274" fmla="*/ 312235 h 1405054"/>
              <a:gd name="connsiteX26-275" fmla="*/ 2085278 w 2252546"/>
              <a:gd name="connsiteY26-276" fmla="*/ 289932 h 1405054"/>
              <a:gd name="connsiteX27-277" fmla="*/ 2040673 w 2252546"/>
              <a:gd name="connsiteY27-278" fmla="*/ 189571 h 1405054"/>
              <a:gd name="connsiteX28-279" fmla="*/ 2029522 w 2252546"/>
              <a:gd name="connsiteY28-280" fmla="*/ 78059 h 1405054"/>
              <a:gd name="connsiteX29-281" fmla="*/ 1862254 w 2252546"/>
              <a:gd name="connsiteY29-282" fmla="*/ 100361 h 1405054"/>
              <a:gd name="connsiteX30-283" fmla="*/ 1661532 w 2252546"/>
              <a:gd name="connsiteY30-284" fmla="*/ 78059 h 1405054"/>
              <a:gd name="connsiteX31-285" fmla="*/ 1572322 w 2252546"/>
              <a:gd name="connsiteY31-286" fmla="*/ 156117 h 1405054"/>
              <a:gd name="connsiteX32-287" fmla="*/ 1449658 w 2252546"/>
              <a:gd name="connsiteY32-288" fmla="*/ 156117 h 1405054"/>
              <a:gd name="connsiteX33-289" fmla="*/ 1550019 w 2252546"/>
              <a:gd name="connsiteY33-290" fmla="*/ 44605 h 1405054"/>
              <a:gd name="connsiteX34-291" fmla="*/ 1438507 w 2252546"/>
              <a:gd name="connsiteY34-292" fmla="*/ 0 h 1405054"/>
              <a:gd name="connsiteX35-293" fmla="*/ 1433671 w 2252546"/>
              <a:gd name="connsiteY35-294" fmla="*/ 437229 h 1405054"/>
              <a:gd name="connsiteX36-295" fmla="*/ 1326995 w 2252546"/>
              <a:gd name="connsiteY36-296" fmla="*/ 122664 h 1405054"/>
              <a:gd name="connsiteX37-297" fmla="*/ 1311312 w 2252546"/>
              <a:gd name="connsiteY37-298" fmla="*/ 675085 h 1405054"/>
              <a:gd name="connsiteX38-299" fmla="*/ 1037063 w 2252546"/>
              <a:gd name="connsiteY38-300" fmla="*/ 156117 h 1405054"/>
              <a:gd name="connsiteX39-301" fmla="*/ 1025807 w 2252546"/>
              <a:gd name="connsiteY39-302" fmla="*/ 784606 h 1405054"/>
              <a:gd name="connsiteX40-303" fmla="*/ 947854 w 2252546"/>
              <a:gd name="connsiteY40-304" fmla="*/ 178420 h 1405054"/>
              <a:gd name="connsiteX41-305" fmla="*/ 981307 w 2252546"/>
              <a:gd name="connsiteY41-306" fmla="*/ 278781 h 1405054"/>
              <a:gd name="connsiteX42-307" fmla="*/ 858644 w 2252546"/>
              <a:gd name="connsiteY42-308" fmla="*/ 356839 h 1405054"/>
              <a:gd name="connsiteX43-309" fmla="*/ 858644 w 2252546"/>
              <a:gd name="connsiteY43-310" fmla="*/ 356839 h 1405054"/>
              <a:gd name="connsiteX44-311" fmla="*/ 624468 w 2252546"/>
              <a:gd name="connsiteY44-312" fmla="*/ 189571 h 1405054"/>
              <a:gd name="connsiteX45-313" fmla="*/ 524107 w 2252546"/>
              <a:gd name="connsiteY45-314" fmla="*/ 111513 h 1405054"/>
              <a:gd name="connsiteX46-315" fmla="*/ 412595 w 2252546"/>
              <a:gd name="connsiteY46-316" fmla="*/ 144966 h 1405054"/>
              <a:gd name="connsiteX47-317" fmla="*/ 490654 w 2252546"/>
              <a:gd name="connsiteY47-318" fmla="*/ 267630 h 1405054"/>
              <a:gd name="connsiteX48-319" fmla="*/ 591015 w 2252546"/>
              <a:gd name="connsiteY48-320" fmla="*/ 367991 h 1405054"/>
              <a:gd name="connsiteX49-321" fmla="*/ 446049 w 2252546"/>
              <a:gd name="connsiteY49-322" fmla="*/ 367991 h 1405054"/>
              <a:gd name="connsiteX50-323" fmla="*/ 289932 w 2252546"/>
              <a:gd name="connsiteY50-324" fmla="*/ 367991 h 1405054"/>
              <a:gd name="connsiteX51-325" fmla="*/ 234176 w 2252546"/>
              <a:gd name="connsiteY51-326" fmla="*/ 434898 h 1405054"/>
              <a:gd name="connsiteX52-327" fmla="*/ 234176 w 2252546"/>
              <a:gd name="connsiteY52-328" fmla="*/ 512956 h 1405054"/>
              <a:gd name="connsiteX53-329" fmla="*/ 256478 w 2252546"/>
              <a:gd name="connsiteY53-330" fmla="*/ 624469 h 1405054"/>
              <a:gd name="connsiteX54-331" fmla="*/ 178419 w 2252546"/>
              <a:gd name="connsiteY54-332" fmla="*/ 702527 h 1405054"/>
              <a:gd name="connsiteX55-333" fmla="*/ 189571 w 2252546"/>
              <a:gd name="connsiteY55-334" fmla="*/ 769435 h 1405054"/>
              <a:gd name="connsiteX56-335" fmla="*/ 78058 w 2252546"/>
              <a:gd name="connsiteY56-336" fmla="*/ 802888 h 1405054"/>
              <a:gd name="connsiteX57" fmla="*/ 0 w 2252546"/>
              <a:gd name="connsiteY57" fmla="*/ 880947 h 1405054"/>
              <a:gd name="connsiteX0-337" fmla="*/ 0 w 2252546"/>
              <a:gd name="connsiteY0-338" fmla="*/ 880947 h 1405054"/>
              <a:gd name="connsiteX1-339" fmla="*/ 100361 w 2252546"/>
              <a:gd name="connsiteY1-340" fmla="*/ 1025913 h 1405054"/>
              <a:gd name="connsiteX2-341" fmla="*/ 89210 w 2252546"/>
              <a:gd name="connsiteY2-342" fmla="*/ 1126274 h 1405054"/>
              <a:gd name="connsiteX3-343" fmla="*/ 144966 w 2252546"/>
              <a:gd name="connsiteY3-344" fmla="*/ 1148576 h 1405054"/>
              <a:gd name="connsiteX4-345" fmla="*/ 156117 w 2252546"/>
              <a:gd name="connsiteY4-346" fmla="*/ 1059366 h 1405054"/>
              <a:gd name="connsiteX5-347" fmla="*/ 267629 w 2252546"/>
              <a:gd name="connsiteY5-348" fmla="*/ 1081669 h 1405054"/>
              <a:gd name="connsiteX6-349" fmla="*/ 401444 w 2252546"/>
              <a:gd name="connsiteY6-350" fmla="*/ 1048215 h 1405054"/>
              <a:gd name="connsiteX7-351" fmla="*/ 479502 w 2252546"/>
              <a:gd name="connsiteY7-352" fmla="*/ 1226635 h 1405054"/>
              <a:gd name="connsiteX8-353" fmla="*/ 479502 w 2252546"/>
              <a:gd name="connsiteY8-354" fmla="*/ 1360449 h 1405054"/>
              <a:gd name="connsiteX9-355" fmla="*/ 669073 w 2252546"/>
              <a:gd name="connsiteY9-356" fmla="*/ 1382752 h 1405054"/>
              <a:gd name="connsiteX10-357" fmla="*/ 713678 w 2252546"/>
              <a:gd name="connsiteY10-358" fmla="*/ 1405054 h 1405054"/>
              <a:gd name="connsiteX11-359" fmla="*/ 970156 w 2252546"/>
              <a:gd name="connsiteY11-360" fmla="*/ 1148576 h 1405054"/>
              <a:gd name="connsiteX12-361" fmla="*/ 1315844 w 2252546"/>
              <a:gd name="connsiteY12-362" fmla="*/ 1037064 h 1405054"/>
              <a:gd name="connsiteX13-363" fmla="*/ 1405054 w 2252546"/>
              <a:gd name="connsiteY13-364" fmla="*/ 903249 h 1405054"/>
              <a:gd name="connsiteX14-365" fmla="*/ 1326995 w 2252546"/>
              <a:gd name="connsiteY14-366" fmla="*/ 847493 h 1405054"/>
              <a:gd name="connsiteX15-367" fmla="*/ 1371600 w 2252546"/>
              <a:gd name="connsiteY15-368" fmla="*/ 747132 h 1405054"/>
              <a:gd name="connsiteX16-369" fmla="*/ 1650380 w 2252546"/>
              <a:gd name="connsiteY16-370" fmla="*/ 646771 h 1405054"/>
              <a:gd name="connsiteX17-371" fmla="*/ 1650380 w 2252546"/>
              <a:gd name="connsiteY17-372" fmla="*/ 591015 h 1405054"/>
              <a:gd name="connsiteX18-373" fmla="*/ 1806497 w 2252546"/>
              <a:gd name="connsiteY18-374" fmla="*/ 557561 h 1405054"/>
              <a:gd name="connsiteX19-375" fmla="*/ 1839951 w 2252546"/>
              <a:gd name="connsiteY19-376" fmla="*/ 579864 h 1405054"/>
              <a:gd name="connsiteX20-377" fmla="*/ 1929161 w 2252546"/>
              <a:gd name="connsiteY20-378" fmla="*/ 546410 h 1405054"/>
              <a:gd name="connsiteX21-379" fmla="*/ 2241395 w 2252546"/>
              <a:gd name="connsiteY21-380" fmla="*/ 591015 h 1405054"/>
              <a:gd name="connsiteX22-381" fmla="*/ 2174488 w 2252546"/>
              <a:gd name="connsiteY22-382" fmla="*/ 479503 h 1405054"/>
              <a:gd name="connsiteX23-383" fmla="*/ 2252546 w 2252546"/>
              <a:gd name="connsiteY23-384" fmla="*/ 434898 h 1405054"/>
              <a:gd name="connsiteX24-385" fmla="*/ 2062976 w 2252546"/>
              <a:gd name="connsiteY24-386" fmla="*/ 312235 h 1405054"/>
              <a:gd name="connsiteX25-387" fmla="*/ 2062976 w 2252546"/>
              <a:gd name="connsiteY25-388" fmla="*/ 312235 h 1405054"/>
              <a:gd name="connsiteX26-389" fmla="*/ 2085278 w 2252546"/>
              <a:gd name="connsiteY26-390" fmla="*/ 289932 h 1405054"/>
              <a:gd name="connsiteX27-391" fmla="*/ 2040673 w 2252546"/>
              <a:gd name="connsiteY27-392" fmla="*/ 189571 h 1405054"/>
              <a:gd name="connsiteX28-393" fmla="*/ 2029522 w 2252546"/>
              <a:gd name="connsiteY28-394" fmla="*/ 78059 h 1405054"/>
              <a:gd name="connsiteX29-395" fmla="*/ 1862254 w 2252546"/>
              <a:gd name="connsiteY29-396" fmla="*/ 100361 h 1405054"/>
              <a:gd name="connsiteX30-397" fmla="*/ 1661532 w 2252546"/>
              <a:gd name="connsiteY30-398" fmla="*/ 78059 h 1405054"/>
              <a:gd name="connsiteX31-399" fmla="*/ 1572322 w 2252546"/>
              <a:gd name="connsiteY31-400" fmla="*/ 156117 h 1405054"/>
              <a:gd name="connsiteX32-401" fmla="*/ 1449658 w 2252546"/>
              <a:gd name="connsiteY32-402" fmla="*/ 156117 h 1405054"/>
              <a:gd name="connsiteX33-403" fmla="*/ 1550019 w 2252546"/>
              <a:gd name="connsiteY33-404" fmla="*/ 44605 h 1405054"/>
              <a:gd name="connsiteX34-405" fmla="*/ 1438507 w 2252546"/>
              <a:gd name="connsiteY34-406" fmla="*/ 0 h 1405054"/>
              <a:gd name="connsiteX35-407" fmla="*/ 1433671 w 2252546"/>
              <a:gd name="connsiteY35-408" fmla="*/ 437229 h 1405054"/>
              <a:gd name="connsiteX36-409" fmla="*/ 1326995 w 2252546"/>
              <a:gd name="connsiteY36-410" fmla="*/ 122664 h 1405054"/>
              <a:gd name="connsiteX37-411" fmla="*/ 1311312 w 2252546"/>
              <a:gd name="connsiteY37-412" fmla="*/ 675085 h 1405054"/>
              <a:gd name="connsiteX38-413" fmla="*/ 1037063 w 2252546"/>
              <a:gd name="connsiteY38-414" fmla="*/ 156117 h 1405054"/>
              <a:gd name="connsiteX39-415" fmla="*/ 1025807 w 2252546"/>
              <a:gd name="connsiteY39-416" fmla="*/ 784606 h 1405054"/>
              <a:gd name="connsiteX40-417" fmla="*/ 947854 w 2252546"/>
              <a:gd name="connsiteY40-418" fmla="*/ 178420 h 1405054"/>
              <a:gd name="connsiteX41-419" fmla="*/ 981307 w 2252546"/>
              <a:gd name="connsiteY41-420" fmla="*/ 278781 h 1405054"/>
              <a:gd name="connsiteX42-421" fmla="*/ 944234 w 2252546"/>
              <a:gd name="connsiteY42-422" fmla="*/ 675819 h 1405054"/>
              <a:gd name="connsiteX43-423" fmla="*/ 858644 w 2252546"/>
              <a:gd name="connsiteY43-424" fmla="*/ 356839 h 1405054"/>
              <a:gd name="connsiteX44-425" fmla="*/ 858644 w 2252546"/>
              <a:gd name="connsiteY44-426" fmla="*/ 356839 h 1405054"/>
              <a:gd name="connsiteX45-427" fmla="*/ 624468 w 2252546"/>
              <a:gd name="connsiteY45-428" fmla="*/ 189571 h 1405054"/>
              <a:gd name="connsiteX46-429" fmla="*/ 524107 w 2252546"/>
              <a:gd name="connsiteY46-430" fmla="*/ 111513 h 1405054"/>
              <a:gd name="connsiteX47-431" fmla="*/ 412595 w 2252546"/>
              <a:gd name="connsiteY47-432" fmla="*/ 144966 h 1405054"/>
              <a:gd name="connsiteX48-433" fmla="*/ 490654 w 2252546"/>
              <a:gd name="connsiteY48-434" fmla="*/ 267630 h 1405054"/>
              <a:gd name="connsiteX49-435" fmla="*/ 591015 w 2252546"/>
              <a:gd name="connsiteY49-436" fmla="*/ 367991 h 1405054"/>
              <a:gd name="connsiteX50-437" fmla="*/ 446049 w 2252546"/>
              <a:gd name="connsiteY50-438" fmla="*/ 367991 h 1405054"/>
              <a:gd name="connsiteX51-439" fmla="*/ 289932 w 2252546"/>
              <a:gd name="connsiteY51-440" fmla="*/ 367991 h 1405054"/>
              <a:gd name="connsiteX52-441" fmla="*/ 234176 w 2252546"/>
              <a:gd name="connsiteY52-442" fmla="*/ 434898 h 1405054"/>
              <a:gd name="connsiteX53-443" fmla="*/ 234176 w 2252546"/>
              <a:gd name="connsiteY53-444" fmla="*/ 512956 h 1405054"/>
              <a:gd name="connsiteX54-445" fmla="*/ 256478 w 2252546"/>
              <a:gd name="connsiteY54-446" fmla="*/ 624469 h 1405054"/>
              <a:gd name="connsiteX55-447" fmla="*/ 178419 w 2252546"/>
              <a:gd name="connsiteY55-448" fmla="*/ 702527 h 1405054"/>
              <a:gd name="connsiteX56-449" fmla="*/ 189571 w 2252546"/>
              <a:gd name="connsiteY56-450" fmla="*/ 769435 h 1405054"/>
              <a:gd name="connsiteX57-451" fmla="*/ 78058 w 2252546"/>
              <a:gd name="connsiteY57-452" fmla="*/ 802888 h 1405054"/>
              <a:gd name="connsiteX58" fmla="*/ 0 w 2252546"/>
              <a:gd name="connsiteY58" fmla="*/ 880947 h 1405054"/>
              <a:gd name="connsiteX0-453" fmla="*/ 0 w 2252546"/>
              <a:gd name="connsiteY0-454" fmla="*/ 880947 h 1405054"/>
              <a:gd name="connsiteX1-455" fmla="*/ 100361 w 2252546"/>
              <a:gd name="connsiteY1-456" fmla="*/ 1025913 h 1405054"/>
              <a:gd name="connsiteX2-457" fmla="*/ 89210 w 2252546"/>
              <a:gd name="connsiteY2-458" fmla="*/ 1126274 h 1405054"/>
              <a:gd name="connsiteX3-459" fmla="*/ 144966 w 2252546"/>
              <a:gd name="connsiteY3-460" fmla="*/ 1148576 h 1405054"/>
              <a:gd name="connsiteX4-461" fmla="*/ 156117 w 2252546"/>
              <a:gd name="connsiteY4-462" fmla="*/ 1059366 h 1405054"/>
              <a:gd name="connsiteX5-463" fmla="*/ 267629 w 2252546"/>
              <a:gd name="connsiteY5-464" fmla="*/ 1081669 h 1405054"/>
              <a:gd name="connsiteX6-465" fmla="*/ 401444 w 2252546"/>
              <a:gd name="connsiteY6-466" fmla="*/ 1048215 h 1405054"/>
              <a:gd name="connsiteX7-467" fmla="*/ 479502 w 2252546"/>
              <a:gd name="connsiteY7-468" fmla="*/ 1226635 h 1405054"/>
              <a:gd name="connsiteX8-469" fmla="*/ 479502 w 2252546"/>
              <a:gd name="connsiteY8-470" fmla="*/ 1360449 h 1405054"/>
              <a:gd name="connsiteX9-471" fmla="*/ 669073 w 2252546"/>
              <a:gd name="connsiteY9-472" fmla="*/ 1382752 h 1405054"/>
              <a:gd name="connsiteX10-473" fmla="*/ 713678 w 2252546"/>
              <a:gd name="connsiteY10-474" fmla="*/ 1405054 h 1405054"/>
              <a:gd name="connsiteX11-475" fmla="*/ 970156 w 2252546"/>
              <a:gd name="connsiteY11-476" fmla="*/ 1148576 h 1405054"/>
              <a:gd name="connsiteX12-477" fmla="*/ 1315844 w 2252546"/>
              <a:gd name="connsiteY12-478" fmla="*/ 1037064 h 1405054"/>
              <a:gd name="connsiteX13-479" fmla="*/ 1405054 w 2252546"/>
              <a:gd name="connsiteY13-480" fmla="*/ 903249 h 1405054"/>
              <a:gd name="connsiteX14-481" fmla="*/ 1326995 w 2252546"/>
              <a:gd name="connsiteY14-482" fmla="*/ 847493 h 1405054"/>
              <a:gd name="connsiteX15-483" fmla="*/ 1371600 w 2252546"/>
              <a:gd name="connsiteY15-484" fmla="*/ 747132 h 1405054"/>
              <a:gd name="connsiteX16-485" fmla="*/ 1650380 w 2252546"/>
              <a:gd name="connsiteY16-486" fmla="*/ 646771 h 1405054"/>
              <a:gd name="connsiteX17-487" fmla="*/ 1650380 w 2252546"/>
              <a:gd name="connsiteY17-488" fmla="*/ 591015 h 1405054"/>
              <a:gd name="connsiteX18-489" fmla="*/ 1806497 w 2252546"/>
              <a:gd name="connsiteY18-490" fmla="*/ 557561 h 1405054"/>
              <a:gd name="connsiteX19-491" fmla="*/ 1839951 w 2252546"/>
              <a:gd name="connsiteY19-492" fmla="*/ 579864 h 1405054"/>
              <a:gd name="connsiteX20-493" fmla="*/ 1929161 w 2252546"/>
              <a:gd name="connsiteY20-494" fmla="*/ 546410 h 1405054"/>
              <a:gd name="connsiteX21-495" fmla="*/ 2241395 w 2252546"/>
              <a:gd name="connsiteY21-496" fmla="*/ 591015 h 1405054"/>
              <a:gd name="connsiteX22-497" fmla="*/ 2174488 w 2252546"/>
              <a:gd name="connsiteY22-498" fmla="*/ 479503 h 1405054"/>
              <a:gd name="connsiteX23-499" fmla="*/ 2252546 w 2252546"/>
              <a:gd name="connsiteY23-500" fmla="*/ 434898 h 1405054"/>
              <a:gd name="connsiteX24-501" fmla="*/ 2062976 w 2252546"/>
              <a:gd name="connsiteY24-502" fmla="*/ 312235 h 1405054"/>
              <a:gd name="connsiteX25-503" fmla="*/ 2062976 w 2252546"/>
              <a:gd name="connsiteY25-504" fmla="*/ 312235 h 1405054"/>
              <a:gd name="connsiteX26-505" fmla="*/ 2085278 w 2252546"/>
              <a:gd name="connsiteY26-506" fmla="*/ 289932 h 1405054"/>
              <a:gd name="connsiteX27-507" fmla="*/ 2040673 w 2252546"/>
              <a:gd name="connsiteY27-508" fmla="*/ 189571 h 1405054"/>
              <a:gd name="connsiteX28-509" fmla="*/ 2029522 w 2252546"/>
              <a:gd name="connsiteY28-510" fmla="*/ 78059 h 1405054"/>
              <a:gd name="connsiteX29-511" fmla="*/ 1862254 w 2252546"/>
              <a:gd name="connsiteY29-512" fmla="*/ 100361 h 1405054"/>
              <a:gd name="connsiteX30-513" fmla="*/ 1661532 w 2252546"/>
              <a:gd name="connsiteY30-514" fmla="*/ 78059 h 1405054"/>
              <a:gd name="connsiteX31-515" fmla="*/ 1572322 w 2252546"/>
              <a:gd name="connsiteY31-516" fmla="*/ 156117 h 1405054"/>
              <a:gd name="connsiteX32-517" fmla="*/ 1449658 w 2252546"/>
              <a:gd name="connsiteY32-518" fmla="*/ 156117 h 1405054"/>
              <a:gd name="connsiteX33-519" fmla="*/ 1550019 w 2252546"/>
              <a:gd name="connsiteY33-520" fmla="*/ 44605 h 1405054"/>
              <a:gd name="connsiteX34-521" fmla="*/ 1438507 w 2252546"/>
              <a:gd name="connsiteY34-522" fmla="*/ 0 h 1405054"/>
              <a:gd name="connsiteX35-523" fmla="*/ 1433671 w 2252546"/>
              <a:gd name="connsiteY35-524" fmla="*/ 437229 h 1405054"/>
              <a:gd name="connsiteX36-525" fmla="*/ 1326995 w 2252546"/>
              <a:gd name="connsiteY36-526" fmla="*/ 122664 h 1405054"/>
              <a:gd name="connsiteX37-527" fmla="*/ 1311312 w 2252546"/>
              <a:gd name="connsiteY37-528" fmla="*/ 675085 h 1405054"/>
              <a:gd name="connsiteX38-529" fmla="*/ 1037063 w 2252546"/>
              <a:gd name="connsiteY38-530" fmla="*/ 156117 h 1405054"/>
              <a:gd name="connsiteX39-531" fmla="*/ 1025807 w 2252546"/>
              <a:gd name="connsiteY39-532" fmla="*/ 784606 h 1405054"/>
              <a:gd name="connsiteX40-533" fmla="*/ 981307 w 2252546"/>
              <a:gd name="connsiteY40-534" fmla="*/ 278781 h 1405054"/>
              <a:gd name="connsiteX41-535" fmla="*/ 944234 w 2252546"/>
              <a:gd name="connsiteY41-536" fmla="*/ 675819 h 1405054"/>
              <a:gd name="connsiteX42-537" fmla="*/ 858644 w 2252546"/>
              <a:gd name="connsiteY42-538" fmla="*/ 356839 h 1405054"/>
              <a:gd name="connsiteX43-539" fmla="*/ 858644 w 2252546"/>
              <a:gd name="connsiteY43-540" fmla="*/ 356839 h 1405054"/>
              <a:gd name="connsiteX44-541" fmla="*/ 624468 w 2252546"/>
              <a:gd name="connsiteY44-542" fmla="*/ 189571 h 1405054"/>
              <a:gd name="connsiteX45-543" fmla="*/ 524107 w 2252546"/>
              <a:gd name="connsiteY45-544" fmla="*/ 111513 h 1405054"/>
              <a:gd name="connsiteX46-545" fmla="*/ 412595 w 2252546"/>
              <a:gd name="connsiteY46-546" fmla="*/ 144966 h 1405054"/>
              <a:gd name="connsiteX47-547" fmla="*/ 490654 w 2252546"/>
              <a:gd name="connsiteY47-548" fmla="*/ 267630 h 1405054"/>
              <a:gd name="connsiteX48-549" fmla="*/ 591015 w 2252546"/>
              <a:gd name="connsiteY48-550" fmla="*/ 367991 h 1405054"/>
              <a:gd name="connsiteX49-551" fmla="*/ 446049 w 2252546"/>
              <a:gd name="connsiteY49-552" fmla="*/ 367991 h 1405054"/>
              <a:gd name="connsiteX50-553" fmla="*/ 289932 w 2252546"/>
              <a:gd name="connsiteY50-554" fmla="*/ 367991 h 1405054"/>
              <a:gd name="connsiteX51-555" fmla="*/ 234176 w 2252546"/>
              <a:gd name="connsiteY51-556" fmla="*/ 434898 h 1405054"/>
              <a:gd name="connsiteX52-557" fmla="*/ 234176 w 2252546"/>
              <a:gd name="connsiteY52-558" fmla="*/ 512956 h 1405054"/>
              <a:gd name="connsiteX53-559" fmla="*/ 256478 w 2252546"/>
              <a:gd name="connsiteY53-560" fmla="*/ 624469 h 1405054"/>
              <a:gd name="connsiteX54-561" fmla="*/ 178419 w 2252546"/>
              <a:gd name="connsiteY54-562" fmla="*/ 702527 h 1405054"/>
              <a:gd name="connsiteX55-563" fmla="*/ 189571 w 2252546"/>
              <a:gd name="connsiteY55-564" fmla="*/ 769435 h 1405054"/>
              <a:gd name="connsiteX56-565" fmla="*/ 78058 w 2252546"/>
              <a:gd name="connsiteY56-566" fmla="*/ 802888 h 1405054"/>
              <a:gd name="connsiteX57-567" fmla="*/ 0 w 2252546"/>
              <a:gd name="connsiteY57-568" fmla="*/ 880947 h 1405054"/>
              <a:gd name="connsiteX0-569" fmla="*/ 0 w 2252546"/>
              <a:gd name="connsiteY0-570" fmla="*/ 880947 h 1405054"/>
              <a:gd name="connsiteX1-571" fmla="*/ 100361 w 2252546"/>
              <a:gd name="connsiteY1-572" fmla="*/ 1025913 h 1405054"/>
              <a:gd name="connsiteX2-573" fmla="*/ 89210 w 2252546"/>
              <a:gd name="connsiteY2-574" fmla="*/ 1126274 h 1405054"/>
              <a:gd name="connsiteX3-575" fmla="*/ 144966 w 2252546"/>
              <a:gd name="connsiteY3-576" fmla="*/ 1148576 h 1405054"/>
              <a:gd name="connsiteX4-577" fmla="*/ 156117 w 2252546"/>
              <a:gd name="connsiteY4-578" fmla="*/ 1059366 h 1405054"/>
              <a:gd name="connsiteX5-579" fmla="*/ 267629 w 2252546"/>
              <a:gd name="connsiteY5-580" fmla="*/ 1081669 h 1405054"/>
              <a:gd name="connsiteX6-581" fmla="*/ 401444 w 2252546"/>
              <a:gd name="connsiteY6-582" fmla="*/ 1048215 h 1405054"/>
              <a:gd name="connsiteX7-583" fmla="*/ 479502 w 2252546"/>
              <a:gd name="connsiteY7-584" fmla="*/ 1226635 h 1405054"/>
              <a:gd name="connsiteX8-585" fmla="*/ 479502 w 2252546"/>
              <a:gd name="connsiteY8-586" fmla="*/ 1360449 h 1405054"/>
              <a:gd name="connsiteX9-587" fmla="*/ 669073 w 2252546"/>
              <a:gd name="connsiteY9-588" fmla="*/ 1382752 h 1405054"/>
              <a:gd name="connsiteX10-589" fmla="*/ 713678 w 2252546"/>
              <a:gd name="connsiteY10-590" fmla="*/ 1405054 h 1405054"/>
              <a:gd name="connsiteX11-591" fmla="*/ 970156 w 2252546"/>
              <a:gd name="connsiteY11-592" fmla="*/ 1148576 h 1405054"/>
              <a:gd name="connsiteX12-593" fmla="*/ 1315844 w 2252546"/>
              <a:gd name="connsiteY12-594" fmla="*/ 1037064 h 1405054"/>
              <a:gd name="connsiteX13-595" fmla="*/ 1405054 w 2252546"/>
              <a:gd name="connsiteY13-596" fmla="*/ 903249 h 1405054"/>
              <a:gd name="connsiteX14-597" fmla="*/ 1326995 w 2252546"/>
              <a:gd name="connsiteY14-598" fmla="*/ 847493 h 1405054"/>
              <a:gd name="connsiteX15-599" fmla="*/ 1371600 w 2252546"/>
              <a:gd name="connsiteY15-600" fmla="*/ 747132 h 1405054"/>
              <a:gd name="connsiteX16-601" fmla="*/ 1650380 w 2252546"/>
              <a:gd name="connsiteY16-602" fmla="*/ 646771 h 1405054"/>
              <a:gd name="connsiteX17-603" fmla="*/ 1650380 w 2252546"/>
              <a:gd name="connsiteY17-604" fmla="*/ 591015 h 1405054"/>
              <a:gd name="connsiteX18-605" fmla="*/ 1806497 w 2252546"/>
              <a:gd name="connsiteY18-606" fmla="*/ 557561 h 1405054"/>
              <a:gd name="connsiteX19-607" fmla="*/ 1839951 w 2252546"/>
              <a:gd name="connsiteY19-608" fmla="*/ 579864 h 1405054"/>
              <a:gd name="connsiteX20-609" fmla="*/ 1929161 w 2252546"/>
              <a:gd name="connsiteY20-610" fmla="*/ 546410 h 1405054"/>
              <a:gd name="connsiteX21-611" fmla="*/ 2241395 w 2252546"/>
              <a:gd name="connsiteY21-612" fmla="*/ 591015 h 1405054"/>
              <a:gd name="connsiteX22-613" fmla="*/ 2174488 w 2252546"/>
              <a:gd name="connsiteY22-614" fmla="*/ 479503 h 1405054"/>
              <a:gd name="connsiteX23-615" fmla="*/ 2252546 w 2252546"/>
              <a:gd name="connsiteY23-616" fmla="*/ 434898 h 1405054"/>
              <a:gd name="connsiteX24-617" fmla="*/ 2062976 w 2252546"/>
              <a:gd name="connsiteY24-618" fmla="*/ 312235 h 1405054"/>
              <a:gd name="connsiteX25-619" fmla="*/ 2062976 w 2252546"/>
              <a:gd name="connsiteY25-620" fmla="*/ 312235 h 1405054"/>
              <a:gd name="connsiteX26-621" fmla="*/ 2085278 w 2252546"/>
              <a:gd name="connsiteY26-622" fmla="*/ 289932 h 1405054"/>
              <a:gd name="connsiteX27-623" fmla="*/ 2040673 w 2252546"/>
              <a:gd name="connsiteY27-624" fmla="*/ 189571 h 1405054"/>
              <a:gd name="connsiteX28-625" fmla="*/ 2029522 w 2252546"/>
              <a:gd name="connsiteY28-626" fmla="*/ 78059 h 1405054"/>
              <a:gd name="connsiteX29-627" fmla="*/ 1862254 w 2252546"/>
              <a:gd name="connsiteY29-628" fmla="*/ 100361 h 1405054"/>
              <a:gd name="connsiteX30-629" fmla="*/ 1661532 w 2252546"/>
              <a:gd name="connsiteY30-630" fmla="*/ 78059 h 1405054"/>
              <a:gd name="connsiteX31-631" fmla="*/ 1572322 w 2252546"/>
              <a:gd name="connsiteY31-632" fmla="*/ 156117 h 1405054"/>
              <a:gd name="connsiteX32-633" fmla="*/ 1449658 w 2252546"/>
              <a:gd name="connsiteY32-634" fmla="*/ 156117 h 1405054"/>
              <a:gd name="connsiteX33-635" fmla="*/ 1550019 w 2252546"/>
              <a:gd name="connsiteY33-636" fmla="*/ 44605 h 1405054"/>
              <a:gd name="connsiteX34-637" fmla="*/ 1438507 w 2252546"/>
              <a:gd name="connsiteY34-638" fmla="*/ 0 h 1405054"/>
              <a:gd name="connsiteX35-639" fmla="*/ 1433671 w 2252546"/>
              <a:gd name="connsiteY35-640" fmla="*/ 437229 h 1405054"/>
              <a:gd name="connsiteX36-641" fmla="*/ 1326995 w 2252546"/>
              <a:gd name="connsiteY36-642" fmla="*/ 122664 h 1405054"/>
              <a:gd name="connsiteX37-643" fmla="*/ 1311312 w 2252546"/>
              <a:gd name="connsiteY37-644" fmla="*/ 675085 h 1405054"/>
              <a:gd name="connsiteX38-645" fmla="*/ 1037063 w 2252546"/>
              <a:gd name="connsiteY38-646" fmla="*/ 156117 h 1405054"/>
              <a:gd name="connsiteX39-647" fmla="*/ 1181595 w 2252546"/>
              <a:gd name="connsiteY39-648" fmla="*/ 659650 h 1405054"/>
              <a:gd name="connsiteX40-649" fmla="*/ 1025807 w 2252546"/>
              <a:gd name="connsiteY40-650" fmla="*/ 784606 h 1405054"/>
              <a:gd name="connsiteX41-651" fmla="*/ 981307 w 2252546"/>
              <a:gd name="connsiteY41-652" fmla="*/ 278781 h 1405054"/>
              <a:gd name="connsiteX42-653" fmla="*/ 944234 w 2252546"/>
              <a:gd name="connsiteY42-654" fmla="*/ 675819 h 1405054"/>
              <a:gd name="connsiteX43-655" fmla="*/ 858644 w 2252546"/>
              <a:gd name="connsiteY43-656" fmla="*/ 356839 h 1405054"/>
              <a:gd name="connsiteX44-657" fmla="*/ 858644 w 2252546"/>
              <a:gd name="connsiteY44-658" fmla="*/ 356839 h 1405054"/>
              <a:gd name="connsiteX45-659" fmla="*/ 624468 w 2252546"/>
              <a:gd name="connsiteY45-660" fmla="*/ 189571 h 1405054"/>
              <a:gd name="connsiteX46-661" fmla="*/ 524107 w 2252546"/>
              <a:gd name="connsiteY46-662" fmla="*/ 111513 h 1405054"/>
              <a:gd name="connsiteX47-663" fmla="*/ 412595 w 2252546"/>
              <a:gd name="connsiteY47-664" fmla="*/ 144966 h 1405054"/>
              <a:gd name="connsiteX48-665" fmla="*/ 490654 w 2252546"/>
              <a:gd name="connsiteY48-666" fmla="*/ 267630 h 1405054"/>
              <a:gd name="connsiteX49-667" fmla="*/ 591015 w 2252546"/>
              <a:gd name="connsiteY49-668" fmla="*/ 367991 h 1405054"/>
              <a:gd name="connsiteX50-669" fmla="*/ 446049 w 2252546"/>
              <a:gd name="connsiteY50-670" fmla="*/ 367991 h 1405054"/>
              <a:gd name="connsiteX51-671" fmla="*/ 289932 w 2252546"/>
              <a:gd name="connsiteY51-672" fmla="*/ 367991 h 1405054"/>
              <a:gd name="connsiteX52-673" fmla="*/ 234176 w 2252546"/>
              <a:gd name="connsiteY52-674" fmla="*/ 434898 h 1405054"/>
              <a:gd name="connsiteX53-675" fmla="*/ 234176 w 2252546"/>
              <a:gd name="connsiteY53-676" fmla="*/ 512956 h 1405054"/>
              <a:gd name="connsiteX54-677" fmla="*/ 256478 w 2252546"/>
              <a:gd name="connsiteY54-678" fmla="*/ 624469 h 1405054"/>
              <a:gd name="connsiteX55-679" fmla="*/ 178419 w 2252546"/>
              <a:gd name="connsiteY55-680" fmla="*/ 702527 h 1405054"/>
              <a:gd name="connsiteX56-681" fmla="*/ 189571 w 2252546"/>
              <a:gd name="connsiteY56-682" fmla="*/ 769435 h 1405054"/>
              <a:gd name="connsiteX57-683" fmla="*/ 78058 w 2252546"/>
              <a:gd name="connsiteY57-684" fmla="*/ 802888 h 1405054"/>
              <a:gd name="connsiteX58-685" fmla="*/ 0 w 2252546"/>
              <a:gd name="connsiteY58-686" fmla="*/ 880947 h 1405054"/>
              <a:gd name="connsiteX0-687" fmla="*/ 0 w 2252546"/>
              <a:gd name="connsiteY0-688" fmla="*/ 880947 h 1405054"/>
              <a:gd name="connsiteX1-689" fmla="*/ 100361 w 2252546"/>
              <a:gd name="connsiteY1-690" fmla="*/ 1025913 h 1405054"/>
              <a:gd name="connsiteX2-691" fmla="*/ 89210 w 2252546"/>
              <a:gd name="connsiteY2-692" fmla="*/ 1126274 h 1405054"/>
              <a:gd name="connsiteX3-693" fmla="*/ 144966 w 2252546"/>
              <a:gd name="connsiteY3-694" fmla="*/ 1148576 h 1405054"/>
              <a:gd name="connsiteX4-695" fmla="*/ 156117 w 2252546"/>
              <a:gd name="connsiteY4-696" fmla="*/ 1059366 h 1405054"/>
              <a:gd name="connsiteX5-697" fmla="*/ 267629 w 2252546"/>
              <a:gd name="connsiteY5-698" fmla="*/ 1081669 h 1405054"/>
              <a:gd name="connsiteX6-699" fmla="*/ 401444 w 2252546"/>
              <a:gd name="connsiteY6-700" fmla="*/ 1048215 h 1405054"/>
              <a:gd name="connsiteX7-701" fmla="*/ 479502 w 2252546"/>
              <a:gd name="connsiteY7-702" fmla="*/ 1226635 h 1405054"/>
              <a:gd name="connsiteX8-703" fmla="*/ 479502 w 2252546"/>
              <a:gd name="connsiteY8-704" fmla="*/ 1360449 h 1405054"/>
              <a:gd name="connsiteX9-705" fmla="*/ 669073 w 2252546"/>
              <a:gd name="connsiteY9-706" fmla="*/ 1382752 h 1405054"/>
              <a:gd name="connsiteX10-707" fmla="*/ 713678 w 2252546"/>
              <a:gd name="connsiteY10-708" fmla="*/ 1405054 h 1405054"/>
              <a:gd name="connsiteX11-709" fmla="*/ 970156 w 2252546"/>
              <a:gd name="connsiteY11-710" fmla="*/ 1148576 h 1405054"/>
              <a:gd name="connsiteX12-711" fmla="*/ 1315844 w 2252546"/>
              <a:gd name="connsiteY12-712" fmla="*/ 1037064 h 1405054"/>
              <a:gd name="connsiteX13-713" fmla="*/ 1405054 w 2252546"/>
              <a:gd name="connsiteY13-714" fmla="*/ 903249 h 1405054"/>
              <a:gd name="connsiteX14-715" fmla="*/ 1326995 w 2252546"/>
              <a:gd name="connsiteY14-716" fmla="*/ 847493 h 1405054"/>
              <a:gd name="connsiteX15-717" fmla="*/ 1371600 w 2252546"/>
              <a:gd name="connsiteY15-718" fmla="*/ 747132 h 1405054"/>
              <a:gd name="connsiteX16-719" fmla="*/ 1650380 w 2252546"/>
              <a:gd name="connsiteY16-720" fmla="*/ 646771 h 1405054"/>
              <a:gd name="connsiteX17-721" fmla="*/ 1650380 w 2252546"/>
              <a:gd name="connsiteY17-722" fmla="*/ 591015 h 1405054"/>
              <a:gd name="connsiteX18-723" fmla="*/ 1806497 w 2252546"/>
              <a:gd name="connsiteY18-724" fmla="*/ 557561 h 1405054"/>
              <a:gd name="connsiteX19-725" fmla="*/ 1839951 w 2252546"/>
              <a:gd name="connsiteY19-726" fmla="*/ 579864 h 1405054"/>
              <a:gd name="connsiteX20-727" fmla="*/ 1929161 w 2252546"/>
              <a:gd name="connsiteY20-728" fmla="*/ 546410 h 1405054"/>
              <a:gd name="connsiteX21-729" fmla="*/ 2241395 w 2252546"/>
              <a:gd name="connsiteY21-730" fmla="*/ 591015 h 1405054"/>
              <a:gd name="connsiteX22-731" fmla="*/ 2174488 w 2252546"/>
              <a:gd name="connsiteY22-732" fmla="*/ 479503 h 1405054"/>
              <a:gd name="connsiteX23-733" fmla="*/ 2252546 w 2252546"/>
              <a:gd name="connsiteY23-734" fmla="*/ 434898 h 1405054"/>
              <a:gd name="connsiteX24-735" fmla="*/ 2062976 w 2252546"/>
              <a:gd name="connsiteY24-736" fmla="*/ 312235 h 1405054"/>
              <a:gd name="connsiteX25-737" fmla="*/ 2062976 w 2252546"/>
              <a:gd name="connsiteY25-738" fmla="*/ 312235 h 1405054"/>
              <a:gd name="connsiteX26-739" fmla="*/ 2085278 w 2252546"/>
              <a:gd name="connsiteY26-740" fmla="*/ 289932 h 1405054"/>
              <a:gd name="connsiteX27-741" fmla="*/ 2040673 w 2252546"/>
              <a:gd name="connsiteY27-742" fmla="*/ 189571 h 1405054"/>
              <a:gd name="connsiteX28-743" fmla="*/ 2029522 w 2252546"/>
              <a:gd name="connsiteY28-744" fmla="*/ 78059 h 1405054"/>
              <a:gd name="connsiteX29-745" fmla="*/ 1862254 w 2252546"/>
              <a:gd name="connsiteY29-746" fmla="*/ 100361 h 1405054"/>
              <a:gd name="connsiteX30-747" fmla="*/ 1661532 w 2252546"/>
              <a:gd name="connsiteY30-748" fmla="*/ 78059 h 1405054"/>
              <a:gd name="connsiteX31-749" fmla="*/ 1572322 w 2252546"/>
              <a:gd name="connsiteY31-750" fmla="*/ 156117 h 1405054"/>
              <a:gd name="connsiteX32-751" fmla="*/ 1449658 w 2252546"/>
              <a:gd name="connsiteY32-752" fmla="*/ 156117 h 1405054"/>
              <a:gd name="connsiteX33-753" fmla="*/ 1550019 w 2252546"/>
              <a:gd name="connsiteY33-754" fmla="*/ 44605 h 1405054"/>
              <a:gd name="connsiteX34-755" fmla="*/ 1438507 w 2252546"/>
              <a:gd name="connsiteY34-756" fmla="*/ 0 h 1405054"/>
              <a:gd name="connsiteX35-757" fmla="*/ 1433671 w 2252546"/>
              <a:gd name="connsiteY35-758" fmla="*/ 437229 h 1405054"/>
              <a:gd name="connsiteX36-759" fmla="*/ 1326995 w 2252546"/>
              <a:gd name="connsiteY36-760" fmla="*/ 122664 h 1405054"/>
              <a:gd name="connsiteX37-761" fmla="*/ 1311312 w 2252546"/>
              <a:gd name="connsiteY37-762" fmla="*/ 675085 h 1405054"/>
              <a:gd name="connsiteX38-763" fmla="*/ 1240170 w 2252546"/>
              <a:gd name="connsiteY38-764" fmla="*/ 468487 h 1405054"/>
              <a:gd name="connsiteX39-765" fmla="*/ 1181595 w 2252546"/>
              <a:gd name="connsiteY39-766" fmla="*/ 659650 h 1405054"/>
              <a:gd name="connsiteX40-767" fmla="*/ 1025807 w 2252546"/>
              <a:gd name="connsiteY40-768" fmla="*/ 784606 h 1405054"/>
              <a:gd name="connsiteX41-769" fmla="*/ 981307 w 2252546"/>
              <a:gd name="connsiteY41-770" fmla="*/ 278781 h 1405054"/>
              <a:gd name="connsiteX42-771" fmla="*/ 944234 w 2252546"/>
              <a:gd name="connsiteY42-772" fmla="*/ 675819 h 1405054"/>
              <a:gd name="connsiteX43-773" fmla="*/ 858644 w 2252546"/>
              <a:gd name="connsiteY43-774" fmla="*/ 356839 h 1405054"/>
              <a:gd name="connsiteX44-775" fmla="*/ 858644 w 2252546"/>
              <a:gd name="connsiteY44-776" fmla="*/ 356839 h 1405054"/>
              <a:gd name="connsiteX45-777" fmla="*/ 624468 w 2252546"/>
              <a:gd name="connsiteY45-778" fmla="*/ 189571 h 1405054"/>
              <a:gd name="connsiteX46-779" fmla="*/ 524107 w 2252546"/>
              <a:gd name="connsiteY46-780" fmla="*/ 111513 h 1405054"/>
              <a:gd name="connsiteX47-781" fmla="*/ 412595 w 2252546"/>
              <a:gd name="connsiteY47-782" fmla="*/ 144966 h 1405054"/>
              <a:gd name="connsiteX48-783" fmla="*/ 490654 w 2252546"/>
              <a:gd name="connsiteY48-784" fmla="*/ 267630 h 1405054"/>
              <a:gd name="connsiteX49-785" fmla="*/ 591015 w 2252546"/>
              <a:gd name="connsiteY49-786" fmla="*/ 367991 h 1405054"/>
              <a:gd name="connsiteX50-787" fmla="*/ 446049 w 2252546"/>
              <a:gd name="connsiteY50-788" fmla="*/ 367991 h 1405054"/>
              <a:gd name="connsiteX51-789" fmla="*/ 289932 w 2252546"/>
              <a:gd name="connsiteY51-790" fmla="*/ 367991 h 1405054"/>
              <a:gd name="connsiteX52-791" fmla="*/ 234176 w 2252546"/>
              <a:gd name="connsiteY52-792" fmla="*/ 434898 h 1405054"/>
              <a:gd name="connsiteX53-793" fmla="*/ 234176 w 2252546"/>
              <a:gd name="connsiteY53-794" fmla="*/ 512956 h 1405054"/>
              <a:gd name="connsiteX54-795" fmla="*/ 256478 w 2252546"/>
              <a:gd name="connsiteY54-796" fmla="*/ 624469 h 1405054"/>
              <a:gd name="connsiteX55-797" fmla="*/ 178419 w 2252546"/>
              <a:gd name="connsiteY55-798" fmla="*/ 702527 h 1405054"/>
              <a:gd name="connsiteX56-799" fmla="*/ 189571 w 2252546"/>
              <a:gd name="connsiteY56-800" fmla="*/ 769435 h 1405054"/>
              <a:gd name="connsiteX57-801" fmla="*/ 78058 w 2252546"/>
              <a:gd name="connsiteY57-802" fmla="*/ 802888 h 1405054"/>
              <a:gd name="connsiteX58-803" fmla="*/ 0 w 2252546"/>
              <a:gd name="connsiteY58-804" fmla="*/ 880947 h 1405054"/>
              <a:gd name="connsiteX0-805" fmla="*/ 0 w 2252546"/>
              <a:gd name="connsiteY0-806" fmla="*/ 880947 h 1405054"/>
              <a:gd name="connsiteX1-807" fmla="*/ 100361 w 2252546"/>
              <a:gd name="connsiteY1-808" fmla="*/ 1025913 h 1405054"/>
              <a:gd name="connsiteX2-809" fmla="*/ 89210 w 2252546"/>
              <a:gd name="connsiteY2-810" fmla="*/ 1126274 h 1405054"/>
              <a:gd name="connsiteX3-811" fmla="*/ 144966 w 2252546"/>
              <a:gd name="connsiteY3-812" fmla="*/ 1148576 h 1405054"/>
              <a:gd name="connsiteX4-813" fmla="*/ 156117 w 2252546"/>
              <a:gd name="connsiteY4-814" fmla="*/ 1059366 h 1405054"/>
              <a:gd name="connsiteX5-815" fmla="*/ 267629 w 2252546"/>
              <a:gd name="connsiteY5-816" fmla="*/ 1081669 h 1405054"/>
              <a:gd name="connsiteX6-817" fmla="*/ 401444 w 2252546"/>
              <a:gd name="connsiteY6-818" fmla="*/ 1048215 h 1405054"/>
              <a:gd name="connsiteX7-819" fmla="*/ 479502 w 2252546"/>
              <a:gd name="connsiteY7-820" fmla="*/ 1226635 h 1405054"/>
              <a:gd name="connsiteX8-821" fmla="*/ 479502 w 2252546"/>
              <a:gd name="connsiteY8-822" fmla="*/ 1360449 h 1405054"/>
              <a:gd name="connsiteX9-823" fmla="*/ 669073 w 2252546"/>
              <a:gd name="connsiteY9-824" fmla="*/ 1382752 h 1405054"/>
              <a:gd name="connsiteX10-825" fmla="*/ 713678 w 2252546"/>
              <a:gd name="connsiteY10-826" fmla="*/ 1405054 h 1405054"/>
              <a:gd name="connsiteX11-827" fmla="*/ 970156 w 2252546"/>
              <a:gd name="connsiteY11-828" fmla="*/ 1148576 h 1405054"/>
              <a:gd name="connsiteX12-829" fmla="*/ 1315844 w 2252546"/>
              <a:gd name="connsiteY12-830" fmla="*/ 1037064 h 1405054"/>
              <a:gd name="connsiteX13-831" fmla="*/ 1405054 w 2252546"/>
              <a:gd name="connsiteY13-832" fmla="*/ 903249 h 1405054"/>
              <a:gd name="connsiteX14-833" fmla="*/ 1326995 w 2252546"/>
              <a:gd name="connsiteY14-834" fmla="*/ 847493 h 1405054"/>
              <a:gd name="connsiteX15-835" fmla="*/ 1371600 w 2252546"/>
              <a:gd name="connsiteY15-836" fmla="*/ 747132 h 1405054"/>
              <a:gd name="connsiteX16-837" fmla="*/ 1650380 w 2252546"/>
              <a:gd name="connsiteY16-838" fmla="*/ 646771 h 1405054"/>
              <a:gd name="connsiteX17-839" fmla="*/ 1650380 w 2252546"/>
              <a:gd name="connsiteY17-840" fmla="*/ 591015 h 1405054"/>
              <a:gd name="connsiteX18-841" fmla="*/ 1806497 w 2252546"/>
              <a:gd name="connsiteY18-842" fmla="*/ 557561 h 1405054"/>
              <a:gd name="connsiteX19-843" fmla="*/ 1839951 w 2252546"/>
              <a:gd name="connsiteY19-844" fmla="*/ 579864 h 1405054"/>
              <a:gd name="connsiteX20-845" fmla="*/ 1929161 w 2252546"/>
              <a:gd name="connsiteY20-846" fmla="*/ 546410 h 1405054"/>
              <a:gd name="connsiteX21-847" fmla="*/ 2241395 w 2252546"/>
              <a:gd name="connsiteY21-848" fmla="*/ 591015 h 1405054"/>
              <a:gd name="connsiteX22-849" fmla="*/ 2174488 w 2252546"/>
              <a:gd name="connsiteY22-850" fmla="*/ 479503 h 1405054"/>
              <a:gd name="connsiteX23-851" fmla="*/ 2252546 w 2252546"/>
              <a:gd name="connsiteY23-852" fmla="*/ 434898 h 1405054"/>
              <a:gd name="connsiteX24-853" fmla="*/ 2062976 w 2252546"/>
              <a:gd name="connsiteY24-854" fmla="*/ 312235 h 1405054"/>
              <a:gd name="connsiteX25-855" fmla="*/ 2062976 w 2252546"/>
              <a:gd name="connsiteY25-856" fmla="*/ 312235 h 1405054"/>
              <a:gd name="connsiteX26-857" fmla="*/ 2085278 w 2252546"/>
              <a:gd name="connsiteY26-858" fmla="*/ 289932 h 1405054"/>
              <a:gd name="connsiteX27-859" fmla="*/ 2040673 w 2252546"/>
              <a:gd name="connsiteY27-860" fmla="*/ 189571 h 1405054"/>
              <a:gd name="connsiteX28-861" fmla="*/ 2029522 w 2252546"/>
              <a:gd name="connsiteY28-862" fmla="*/ 78059 h 1405054"/>
              <a:gd name="connsiteX29-863" fmla="*/ 1862254 w 2252546"/>
              <a:gd name="connsiteY29-864" fmla="*/ 100361 h 1405054"/>
              <a:gd name="connsiteX30-865" fmla="*/ 1661532 w 2252546"/>
              <a:gd name="connsiteY30-866" fmla="*/ 78059 h 1405054"/>
              <a:gd name="connsiteX31-867" fmla="*/ 1572322 w 2252546"/>
              <a:gd name="connsiteY31-868" fmla="*/ 156117 h 1405054"/>
              <a:gd name="connsiteX32-869" fmla="*/ 1449658 w 2252546"/>
              <a:gd name="connsiteY32-870" fmla="*/ 156117 h 1405054"/>
              <a:gd name="connsiteX33-871" fmla="*/ 1550019 w 2252546"/>
              <a:gd name="connsiteY33-872" fmla="*/ 44605 h 1405054"/>
              <a:gd name="connsiteX34-873" fmla="*/ 1438507 w 2252546"/>
              <a:gd name="connsiteY34-874" fmla="*/ 0 h 1405054"/>
              <a:gd name="connsiteX35-875" fmla="*/ 1433671 w 2252546"/>
              <a:gd name="connsiteY35-876" fmla="*/ 437229 h 1405054"/>
              <a:gd name="connsiteX36-877" fmla="*/ 1326995 w 2252546"/>
              <a:gd name="connsiteY36-878" fmla="*/ 122664 h 1405054"/>
              <a:gd name="connsiteX37-879" fmla="*/ 1311312 w 2252546"/>
              <a:gd name="connsiteY37-880" fmla="*/ 675085 h 1405054"/>
              <a:gd name="connsiteX38-881" fmla="*/ 1240170 w 2252546"/>
              <a:gd name="connsiteY38-882" fmla="*/ 468487 h 1405054"/>
              <a:gd name="connsiteX39-883" fmla="*/ 1181596 w 2252546"/>
              <a:gd name="connsiteY39-884" fmla="*/ 409716 h 1405054"/>
              <a:gd name="connsiteX40-885" fmla="*/ 1025807 w 2252546"/>
              <a:gd name="connsiteY40-886" fmla="*/ 784606 h 1405054"/>
              <a:gd name="connsiteX41-887" fmla="*/ 981307 w 2252546"/>
              <a:gd name="connsiteY41-888" fmla="*/ 278781 h 1405054"/>
              <a:gd name="connsiteX42-889" fmla="*/ 944234 w 2252546"/>
              <a:gd name="connsiteY42-890" fmla="*/ 675819 h 1405054"/>
              <a:gd name="connsiteX43-891" fmla="*/ 858644 w 2252546"/>
              <a:gd name="connsiteY43-892" fmla="*/ 356839 h 1405054"/>
              <a:gd name="connsiteX44-893" fmla="*/ 858644 w 2252546"/>
              <a:gd name="connsiteY44-894" fmla="*/ 356839 h 1405054"/>
              <a:gd name="connsiteX45-895" fmla="*/ 624468 w 2252546"/>
              <a:gd name="connsiteY45-896" fmla="*/ 189571 h 1405054"/>
              <a:gd name="connsiteX46-897" fmla="*/ 524107 w 2252546"/>
              <a:gd name="connsiteY46-898" fmla="*/ 111513 h 1405054"/>
              <a:gd name="connsiteX47-899" fmla="*/ 412595 w 2252546"/>
              <a:gd name="connsiteY47-900" fmla="*/ 144966 h 1405054"/>
              <a:gd name="connsiteX48-901" fmla="*/ 490654 w 2252546"/>
              <a:gd name="connsiteY48-902" fmla="*/ 267630 h 1405054"/>
              <a:gd name="connsiteX49-903" fmla="*/ 591015 w 2252546"/>
              <a:gd name="connsiteY49-904" fmla="*/ 367991 h 1405054"/>
              <a:gd name="connsiteX50-905" fmla="*/ 446049 w 2252546"/>
              <a:gd name="connsiteY50-906" fmla="*/ 367991 h 1405054"/>
              <a:gd name="connsiteX51-907" fmla="*/ 289932 w 2252546"/>
              <a:gd name="connsiteY51-908" fmla="*/ 367991 h 1405054"/>
              <a:gd name="connsiteX52-909" fmla="*/ 234176 w 2252546"/>
              <a:gd name="connsiteY52-910" fmla="*/ 434898 h 1405054"/>
              <a:gd name="connsiteX53-911" fmla="*/ 234176 w 2252546"/>
              <a:gd name="connsiteY53-912" fmla="*/ 512956 h 1405054"/>
              <a:gd name="connsiteX54-913" fmla="*/ 256478 w 2252546"/>
              <a:gd name="connsiteY54-914" fmla="*/ 624469 h 1405054"/>
              <a:gd name="connsiteX55-915" fmla="*/ 178419 w 2252546"/>
              <a:gd name="connsiteY55-916" fmla="*/ 702527 h 1405054"/>
              <a:gd name="connsiteX56-917" fmla="*/ 189571 w 2252546"/>
              <a:gd name="connsiteY56-918" fmla="*/ 769435 h 1405054"/>
              <a:gd name="connsiteX57-919" fmla="*/ 78058 w 2252546"/>
              <a:gd name="connsiteY57-920" fmla="*/ 802888 h 1405054"/>
              <a:gd name="connsiteX58-921" fmla="*/ 0 w 2252546"/>
              <a:gd name="connsiteY58-922" fmla="*/ 880947 h 1405054"/>
              <a:gd name="connsiteX0-923" fmla="*/ 0 w 2252546"/>
              <a:gd name="connsiteY0-924" fmla="*/ 880947 h 1405054"/>
              <a:gd name="connsiteX1-925" fmla="*/ 100361 w 2252546"/>
              <a:gd name="connsiteY1-926" fmla="*/ 1025913 h 1405054"/>
              <a:gd name="connsiteX2-927" fmla="*/ 89210 w 2252546"/>
              <a:gd name="connsiteY2-928" fmla="*/ 1126274 h 1405054"/>
              <a:gd name="connsiteX3-929" fmla="*/ 144966 w 2252546"/>
              <a:gd name="connsiteY3-930" fmla="*/ 1148576 h 1405054"/>
              <a:gd name="connsiteX4-931" fmla="*/ 156117 w 2252546"/>
              <a:gd name="connsiteY4-932" fmla="*/ 1059366 h 1405054"/>
              <a:gd name="connsiteX5-933" fmla="*/ 267629 w 2252546"/>
              <a:gd name="connsiteY5-934" fmla="*/ 1081669 h 1405054"/>
              <a:gd name="connsiteX6-935" fmla="*/ 401444 w 2252546"/>
              <a:gd name="connsiteY6-936" fmla="*/ 1048215 h 1405054"/>
              <a:gd name="connsiteX7-937" fmla="*/ 479502 w 2252546"/>
              <a:gd name="connsiteY7-938" fmla="*/ 1226635 h 1405054"/>
              <a:gd name="connsiteX8-939" fmla="*/ 479502 w 2252546"/>
              <a:gd name="connsiteY8-940" fmla="*/ 1360449 h 1405054"/>
              <a:gd name="connsiteX9-941" fmla="*/ 669073 w 2252546"/>
              <a:gd name="connsiteY9-942" fmla="*/ 1382752 h 1405054"/>
              <a:gd name="connsiteX10-943" fmla="*/ 713678 w 2252546"/>
              <a:gd name="connsiteY10-944" fmla="*/ 1405054 h 1405054"/>
              <a:gd name="connsiteX11-945" fmla="*/ 970156 w 2252546"/>
              <a:gd name="connsiteY11-946" fmla="*/ 1148576 h 1405054"/>
              <a:gd name="connsiteX12-947" fmla="*/ 1315844 w 2252546"/>
              <a:gd name="connsiteY12-948" fmla="*/ 1037064 h 1405054"/>
              <a:gd name="connsiteX13-949" fmla="*/ 1405054 w 2252546"/>
              <a:gd name="connsiteY13-950" fmla="*/ 903249 h 1405054"/>
              <a:gd name="connsiteX14-951" fmla="*/ 1326995 w 2252546"/>
              <a:gd name="connsiteY14-952" fmla="*/ 847493 h 1405054"/>
              <a:gd name="connsiteX15-953" fmla="*/ 1371600 w 2252546"/>
              <a:gd name="connsiteY15-954" fmla="*/ 747132 h 1405054"/>
              <a:gd name="connsiteX16-955" fmla="*/ 1650380 w 2252546"/>
              <a:gd name="connsiteY16-956" fmla="*/ 646771 h 1405054"/>
              <a:gd name="connsiteX17-957" fmla="*/ 1650380 w 2252546"/>
              <a:gd name="connsiteY17-958" fmla="*/ 591015 h 1405054"/>
              <a:gd name="connsiteX18-959" fmla="*/ 1806497 w 2252546"/>
              <a:gd name="connsiteY18-960" fmla="*/ 557561 h 1405054"/>
              <a:gd name="connsiteX19-961" fmla="*/ 1839951 w 2252546"/>
              <a:gd name="connsiteY19-962" fmla="*/ 579864 h 1405054"/>
              <a:gd name="connsiteX20-963" fmla="*/ 1929161 w 2252546"/>
              <a:gd name="connsiteY20-964" fmla="*/ 546410 h 1405054"/>
              <a:gd name="connsiteX21-965" fmla="*/ 2241395 w 2252546"/>
              <a:gd name="connsiteY21-966" fmla="*/ 591015 h 1405054"/>
              <a:gd name="connsiteX22-967" fmla="*/ 2174488 w 2252546"/>
              <a:gd name="connsiteY22-968" fmla="*/ 479503 h 1405054"/>
              <a:gd name="connsiteX23-969" fmla="*/ 2252546 w 2252546"/>
              <a:gd name="connsiteY23-970" fmla="*/ 434898 h 1405054"/>
              <a:gd name="connsiteX24-971" fmla="*/ 2062976 w 2252546"/>
              <a:gd name="connsiteY24-972" fmla="*/ 312235 h 1405054"/>
              <a:gd name="connsiteX25-973" fmla="*/ 2062976 w 2252546"/>
              <a:gd name="connsiteY25-974" fmla="*/ 312235 h 1405054"/>
              <a:gd name="connsiteX26-975" fmla="*/ 2085278 w 2252546"/>
              <a:gd name="connsiteY26-976" fmla="*/ 289932 h 1405054"/>
              <a:gd name="connsiteX27-977" fmla="*/ 2040673 w 2252546"/>
              <a:gd name="connsiteY27-978" fmla="*/ 189571 h 1405054"/>
              <a:gd name="connsiteX28-979" fmla="*/ 2029522 w 2252546"/>
              <a:gd name="connsiteY28-980" fmla="*/ 78059 h 1405054"/>
              <a:gd name="connsiteX29-981" fmla="*/ 1862254 w 2252546"/>
              <a:gd name="connsiteY29-982" fmla="*/ 100361 h 1405054"/>
              <a:gd name="connsiteX30-983" fmla="*/ 1661532 w 2252546"/>
              <a:gd name="connsiteY30-984" fmla="*/ 78059 h 1405054"/>
              <a:gd name="connsiteX31-985" fmla="*/ 1572322 w 2252546"/>
              <a:gd name="connsiteY31-986" fmla="*/ 156117 h 1405054"/>
              <a:gd name="connsiteX32-987" fmla="*/ 1449658 w 2252546"/>
              <a:gd name="connsiteY32-988" fmla="*/ 156117 h 1405054"/>
              <a:gd name="connsiteX33-989" fmla="*/ 1550019 w 2252546"/>
              <a:gd name="connsiteY33-990" fmla="*/ 44605 h 1405054"/>
              <a:gd name="connsiteX34-991" fmla="*/ 1438507 w 2252546"/>
              <a:gd name="connsiteY34-992" fmla="*/ 0 h 1405054"/>
              <a:gd name="connsiteX35-993" fmla="*/ 1433671 w 2252546"/>
              <a:gd name="connsiteY35-994" fmla="*/ 437229 h 1405054"/>
              <a:gd name="connsiteX36-995" fmla="*/ 1326995 w 2252546"/>
              <a:gd name="connsiteY36-996" fmla="*/ 122664 h 1405054"/>
              <a:gd name="connsiteX37-997" fmla="*/ 1311312 w 2252546"/>
              <a:gd name="connsiteY37-998" fmla="*/ 675085 h 1405054"/>
              <a:gd name="connsiteX38-999" fmla="*/ 1240170 w 2252546"/>
              <a:gd name="connsiteY38-1000" fmla="*/ 468487 h 1405054"/>
              <a:gd name="connsiteX39-1001" fmla="*/ 1181596 w 2252546"/>
              <a:gd name="connsiteY39-1002" fmla="*/ 409716 h 1405054"/>
              <a:gd name="connsiteX40-1003" fmla="*/ 1025807 w 2252546"/>
              <a:gd name="connsiteY40-1004" fmla="*/ 784606 h 1405054"/>
              <a:gd name="connsiteX41-1005" fmla="*/ 981307 w 2252546"/>
              <a:gd name="connsiteY41-1006" fmla="*/ 278781 h 1405054"/>
              <a:gd name="connsiteX42-1007" fmla="*/ 944234 w 2252546"/>
              <a:gd name="connsiteY42-1008" fmla="*/ 675819 h 1405054"/>
              <a:gd name="connsiteX43-1009" fmla="*/ 858644 w 2252546"/>
              <a:gd name="connsiteY43-1010" fmla="*/ 356839 h 1405054"/>
              <a:gd name="connsiteX44-1011" fmla="*/ 858644 w 2252546"/>
              <a:gd name="connsiteY44-1012" fmla="*/ 356839 h 1405054"/>
              <a:gd name="connsiteX45-1013" fmla="*/ 624468 w 2252546"/>
              <a:gd name="connsiteY45-1014" fmla="*/ 189571 h 1405054"/>
              <a:gd name="connsiteX46-1015" fmla="*/ 524107 w 2252546"/>
              <a:gd name="connsiteY46-1016" fmla="*/ 111513 h 1405054"/>
              <a:gd name="connsiteX47-1017" fmla="*/ 412595 w 2252546"/>
              <a:gd name="connsiteY47-1018" fmla="*/ 144966 h 1405054"/>
              <a:gd name="connsiteX48-1019" fmla="*/ 490654 w 2252546"/>
              <a:gd name="connsiteY48-1020" fmla="*/ 267630 h 1405054"/>
              <a:gd name="connsiteX49-1021" fmla="*/ 591015 w 2252546"/>
              <a:gd name="connsiteY49-1022" fmla="*/ 367991 h 1405054"/>
              <a:gd name="connsiteX50-1023" fmla="*/ 446049 w 2252546"/>
              <a:gd name="connsiteY50-1024" fmla="*/ 367991 h 1405054"/>
              <a:gd name="connsiteX51-1025" fmla="*/ 289932 w 2252546"/>
              <a:gd name="connsiteY51-1026" fmla="*/ 367991 h 1405054"/>
              <a:gd name="connsiteX52-1027" fmla="*/ 234176 w 2252546"/>
              <a:gd name="connsiteY52-1028" fmla="*/ 434898 h 1405054"/>
              <a:gd name="connsiteX53-1029" fmla="*/ 234176 w 2252546"/>
              <a:gd name="connsiteY53-1030" fmla="*/ 512956 h 1405054"/>
              <a:gd name="connsiteX54-1031" fmla="*/ 256478 w 2252546"/>
              <a:gd name="connsiteY54-1032" fmla="*/ 624469 h 1405054"/>
              <a:gd name="connsiteX55-1033" fmla="*/ 178419 w 2252546"/>
              <a:gd name="connsiteY55-1034" fmla="*/ 702527 h 1405054"/>
              <a:gd name="connsiteX56-1035" fmla="*/ 189571 w 2252546"/>
              <a:gd name="connsiteY56-1036" fmla="*/ 769435 h 1405054"/>
              <a:gd name="connsiteX57-1037" fmla="*/ 78058 w 2252546"/>
              <a:gd name="connsiteY57-1038" fmla="*/ 802888 h 1405054"/>
              <a:gd name="connsiteX58-1039" fmla="*/ 0 w 2252546"/>
              <a:gd name="connsiteY58-1040" fmla="*/ 880947 h 1405054"/>
              <a:gd name="connsiteX0-1041" fmla="*/ 0 w 2252546"/>
              <a:gd name="connsiteY0-1042" fmla="*/ 880947 h 1405054"/>
              <a:gd name="connsiteX1-1043" fmla="*/ 100361 w 2252546"/>
              <a:gd name="connsiteY1-1044" fmla="*/ 1025913 h 1405054"/>
              <a:gd name="connsiteX2-1045" fmla="*/ 89210 w 2252546"/>
              <a:gd name="connsiteY2-1046" fmla="*/ 1126274 h 1405054"/>
              <a:gd name="connsiteX3-1047" fmla="*/ 144966 w 2252546"/>
              <a:gd name="connsiteY3-1048" fmla="*/ 1148576 h 1405054"/>
              <a:gd name="connsiteX4-1049" fmla="*/ 156117 w 2252546"/>
              <a:gd name="connsiteY4-1050" fmla="*/ 1059366 h 1405054"/>
              <a:gd name="connsiteX5-1051" fmla="*/ 267629 w 2252546"/>
              <a:gd name="connsiteY5-1052" fmla="*/ 1081669 h 1405054"/>
              <a:gd name="connsiteX6-1053" fmla="*/ 401444 w 2252546"/>
              <a:gd name="connsiteY6-1054" fmla="*/ 1048215 h 1405054"/>
              <a:gd name="connsiteX7-1055" fmla="*/ 479502 w 2252546"/>
              <a:gd name="connsiteY7-1056" fmla="*/ 1226635 h 1405054"/>
              <a:gd name="connsiteX8-1057" fmla="*/ 479502 w 2252546"/>
              <a:gd name="connsiteY8-1058" fmla="*/ 1360449 h 1405054"/>
              <a:gd name="connsiteX9-1059" fmla="*/ 669073 w 2252546"/>
              <a:gd name="connsiteY9-1060" fmla="*/ 1382752 h 1405054"/>
              <a:gd name="connsiteX10-1061" fmla="*/ 713678 w 2252546"/>
              <a:gd name="connsiteY10-1062" fmla="*/ 1405054 h 1405054"/>
              <a:gd name="connsiteX11-1063" fmla="*/ 970156 w 2252546"/>
              <a:gd name="connsiteY11-1064" fmla="*/ 1148576 h 1405054"/>
              <a:gd name="connsiteX12-1065" fmla="*/ 1315844 w 2252546"/>
              <a:gd name="connsiteY12-1066" fmla="*/ 1037064 h 1405054"/>
              <a:gd name="connsiteX13-1067" fmla="*/ 1405054 w 2252546"/>
              <a:gd name="connsiteY13-1068" fmla="*/ 903249 h 1405054"/>
              <a:gd name="connsiteX14-1069" fmla="*/ 1326995 w 2252546"/>
              <a:gd name="connsiteY14-1070" fmla="*/ 847493 h 1405054"/>
              <a:gd name="connsiteX15-1071" fmla="*/ 1371600 w 2252546"/>
              <a:gd name="connsiteY15-1072" fmla="*/ 747132 h 1405054"/>
              <a:gd name="connsiteX16-1073" fmla="*/ 1650380 w 2252546"/>
              <a:gd name="connsiteY16-1074" fmla="*/ 646771 h 1405054"/>
              <a:gd name="connsiteX17-1075" fmla="*/ 1650380 w 2252546"/>
              <a:gd name="connsiteY17-1076" fmla="*/ 591015 h 1405054"/>
              <a:gd name="connsiteX18-1077" fmla="*/ 1806497 w 2252546"/>
              <a:gd name="connsiteY18-1078" fmla="*/ 557561 h 1405054"/>
              <a:gd name="connsiteX19-1079" fmla="*/ 1839951 w 2252546"/>
              <a:gd name="connsiteY19-1080" fmla="*/ 579864 h 1405054"/>
              <a:gd name="connsiteX20-1081" fmla="*/ 1929161 w 2252546"/>
              <a:gd name="connsiteY20-1082" fmla="*/ 546410 h 1405054"/>
              <a:gd name="connsiteX21-1083" fmla="*/ 2241395 w 2252546"/>
              <a:gd name="connsiteY21-1084" fmla="*/ 591015 h 1405054"/>
              <a:gd name="connsiteX22-1085" fmla="*/ 2174488 w 2252546"/>
              <a:gd name="connsiteY22-1086" fmla="*/ 479503 h 1405054"/>
              <a:gd name="connsiteX23-1087" fmla="*/ 2252546 w 2252546"/>
              <a:gd name="connsiteY23-1088" fmla="*/ 434898 h 1405054"/>
              <a:gd name="connsiteX24-1089" fmla="*/ 2062976 w 2252546"/>
              <a:gd name="connsiteY24-1090" fmla="*/ 312235 h 1405054"/>
              <a:gd name="connsiteX25-1091" fmla="*/ 2062976 w 2252546"/>
              <a:gd name="connsiteY25-1092" fmla="*/ 312235 h 1405054"/>
              <a:gd name="connsiteX26-1093" fmla="*/ 2085278 w 2252546"/>
              <a:gd name="connsiteY26-1094" fmla="*/ 289932 h 1405054"/>
              <a:gd name="connsiteX27-1095" fmla="*/ 2040673 w 2252546"/>
              <a:gd name="connsiteY27-1096" fmla="*/ 189571 h 1405054"/>
              <a:gd name="connsiteX28-1097" fmla="*/ 2029522 w 2252546"/>
              <a:gd name="connsiteY28-1098" fmla="*/ 78059 h 1405054"/>
              <a:gd name="connsiteX29-1099" fmla="*/ 1862254 w 2252546"/>
              <a:gd name="connsiteY29-1100" fmla="*/ 100361 h 1405054"/>
              <a:gd name="connsiteX30-1101" fmla="*/ 1661532 w 2252546"/>
              <a:gd name="connsiteY30-1102" fmla="*/ 78059 h 1405054"/>
              <a:gd name="connsiteX31-1103" fmla="*/ 1572322 w 2252546"/>
              <a:gd name="connsiteY31-1104" fmla="*/ 156117 h 1405054"/>
              <a:gd name="connsiteX32-1105" fmla="*/ 1449658 w 2252546"/>
              <a:gd name="connsiteY32-1106" fmla="*/ 156117 h 1405054"/>
              <a:gd name="connsiteX33-1107" fmla="*/ 1550019 w 2252546"/>
              <a:gd name="connsiteY33-1108" fmla="*/ 44605 h 1405054"/>
              <a:gd name="connsiteX34-1109" fmla="*/ 1438507 w 2252546"/>
              <a:gd name="connsiteY34-1110" fmla="*/ 0 h 1405054"/>
              <a:gd name="connsiteX35-1111" fmla="*/ 1433671 w 2252546"/>
              <a:gd name="connsiteY35-1112" fmla="*/ 437229 h 1405054"/>
              <a:gd name="connsiteX36-1113" fmla="*/ 1326995 w 2252546"/>
              <a:gd name="connsiteY36-1114" fmla="*/ 122664 h 1405054"/>
              <a:gd name="connsiteX37-1115" fmla="*/ 1311312 w 2252546"/>
              <a:gd name="connsiteY37-1116" fmla="*/ 675085 h 1405054"/>
              <a:gd name="connsiteX38-1117" fmla="*/ 1240170 w 2252546"/>
              <a:gd name="connsiteY38-1118" fmla="*/ 468487 h 1405054"/>
              <a:gd name="connsiteX39-1119" fmla="*/ 1181596 w 2252546"/>
              <a:gd name="connsiteY39-1120" fmla="*/ 409716 h 1405054"/>
              <a:gd name="connsiteX40-1121" fmla="*/ 1025807 w 2252546"/>
              <a:gd name="connsiteY40-1122" fmla="*/ 409716 h 1405054"/>
              <a:gd name="connsiteX41-1123" fmla="*/ 981307 w 2252546"/>
              <a:gd name="connsiteY41-1124" fmla="*/ 278781 h 1405054"/>
              <a:gd name="connsiteX42-1125" fmla="*/ 944234 w 2252546"/>
              <a:gd name="connsiteY42-1126" fmla="*/ 675819 h 1405054"/>
              <a:gd name="connsiteX43-1127" fmla="*/ 858644 w 2252546"/>
              <a:gd name="connsiteY43-1128" fmla="*/ 356839 h 1405054"/>
              <a:gd name="connsiteX44-1129" fmla="*/ 858644 w 2252546"/>
              <a:gd name="connsiteY44-1130" fmla="*/ 356839 h 1405054"/>
              <a:gd name="connsiteX45-1131" fmla="*/ 624468 w 2252546"/>
              <a:gd name="connsiteY45-1132" fmla="*/ 189571 h 1405054"/>
              <a:gd name="connsiteX46-1133" fmla="*/ 524107 w 2252546"/>
              <a:gd name="connsiteY46-1134" fmla="*/ 111513 h 1405054"/>
              <a:gd name="connsiteX47-1135" fmla="*/ 412595 w 2252546"/>
              <a:gd name="connsiteY47-1136" fmla="*/ 144966 h 1405054"/>
              <a:gd name="connsiteX48-1137" fmla="*/ 490654 w 2252546"/>
              <a:gd name="connsiteY48-1138" fmla="*/ 267630 h 1405054"/>
              <a:gd name="connsiteX49-1139" fmla="*/ 591015 w 2252546"/>
              <a:gd name="connsiteY49-1140" fmla="*/ 367991 h 1405054"/>
              <a:gd name="connsiteX50-1141" fmla="*/ 446049 w 2252546"/>
              <a:gd name="connsiteY50-1142" fmla="*/ 367991 h 1405054"/>
              <a:gd name="connsiteX51-1143" fmla="*/ 289932 w 2252546"/>
              <a:gd name="connsiteY51-1144" fmla="*/ 367991 h 1405054"/>
              <a:gd name="connsiteX52-1145" fmla="*/ 234176 w 2252546"/>
              <a:gd name="connsiteY52-1146" fmla="*/ 434898 h 1405054"/>
              <a:gd name="connsiteX53-1147" fmla="*/ 234176 w 2252546"/>
              <a:gd name="connsiteY53-1148" fmla="*/ 512956 h 1405054"/>
              <a:gd name="connsiteX54-1149" fmla="*/ 256478 w 2252546"/>
              <a:gd name="connsiteY54-1150" fmla="*/ 624469 h 1405054"/>
              <a:gd name="connsiteX55-1151" fmla="*/ 178419 w 2252546"/>
              <a:gd name="connsiteY55-1152" fmla="*/ 702527 h 1405054"/>
              <a:gd name="connsiteX56-1153" fmla="*/ 189571 w 2252546"/>
              <a:gd name="connsiteY56-1154" fmla="*/ 769435 h 1405054"/>
              <a:gd name="connsiteX57-1155" fmla="*/ 78058 w 2252546"/>
              <a:gd name="connsiteY57-1156" fmla="*/ 802888 h 1405054"/>
              <a:gd name="connsiteX58-1157" fmla="*/ 0 w 2252546"/>
              <a:gd name="connsiteY58-1158" fmla="*/ 880947 h 1405054"/>
              <a:gd name="connsiteX0-1159" fmla="*/ 0 w 2252546"/>
              <a:gd name="connsiteY0-1160" fmla="*/ 880947 h 1405054"/>
              <a:gd name="connsiteX1-1161" fmla="*/ 100361 w 2252546"/>
              <a:gd name="connsiteY1-1162" fmla="*/ 1025913 h 1405054"/>
              <a:gd name="connsiteX2-1163" fmla="*/ 89210 w 2252546"/>
              <a:gd name="connsiteY2-1164" fmla="*/ 1126274 h 1405054"/>
              <a:gd name="connsiteX3-1165" fmla="*/ 144966 w 2252546"/>
              <a:gd name="connsiteY3-1166" fmla="*/ 1148576 h 1405054"/>
              <a:gd name="connsiteX4-1167" fmla="*/ 156117 w 2252546"/>
              <a:gd name="connsiteY4-1168" fmla="*/ 1059366 h 1405054"/>
              <a:gd name="connsiteX5-1169" fmla="*/ 267629 w 2252546"/>
              <a:gd name="connsiteY5-1170" fmla="*/ 1081669 h 1405054"/>
              <a:gd name="connsiteX6-1171" fmla="*/ 401444 w 2252546"/>
              <a:gd name="connsiteY6-1172" fmla="*/ 1048215 h 1405054"/>
              <a:gd name="connsiteX7-1173" fmla="*/ 479502 w 2252546"/>
              <a:gd name="connsiteY7-1174" fmla="*/ 1226635 h 1405054"/>
              <a:gd name="connsiteX8-1175" fmla="*/ 479502 w 2252546"/>
              <a:gd name="connsiteY8-1176" fmla="*/ 1360449 h 1405054"/>
              <a:gd name="connsiteX9-1177" fmla="*/ 669073 w 2252546"/>
              <a:gd name="connsiteY9-1178" fmla="*/ 1382752 h 1405054"/>
              <a:gd name="connsiteX10-1179" fmla="*/ 713678 w 2252546"/>
              <a:gd name="connsiteY10-1180" fmla="*/ 1405054 h 1405054"/>
              <a:gd name="connsiteX11-1181" fmla="*/ 970156 w 2252546"/>
              <a:gd name="connsiteY11-1182" fmla="*/ 1148576 h 1405054"/>
              <a:gd name="connsiteX12-1183" fmla="*/ 1315844 w 2252546"/>
              <a:gd name="connsiteY12-1184" fmla="*/ 1037064 h 1405054"/>
              <a:gd name="connsiteX13-1185" fmla="*/ 1405054 w 2252546"/>
              <a:gd name="connsiteY13-1186" fmla="*/ 903249 h 1405054"/>
              <a:gd name="connsiteX14-1187" fmla="*/ 1326995 w 2252546"/>
              <a:gd name="connsiteY14-1188" fmla="*/ 847493 h 1405054"/>
              <a:gd name="connsiteX15-1189" fmla="*/ 1371600 w 2252546"/>
              <a:gd name="connsiteY15-1190" fmla="*/ 747132 h 1405054"/>
              <a:gd name="connsiteX16-1191" fmla="*/ 1650380 w 2252546"/>
              <a:gd name="connsiteY16-1192" fmla="*/ 646771 h 1405054"/>
              <a:gd name="connsiteX17-1193" fmla="*/ 1650380 w 2252546"/>
              <a:gd name="connsiteY17-1194" fmla="*/ 591015 h 1405054"/>
              <a:gd name="connsiteX18-1195" fmla="*/ 1806497 w 2252546"/>
              <a:gd name="connsiteY18-1196" fmla="*/ 557561 h 1405054"/>
              <a:gd name="connsiteX19-1197" fmla="*/ 1839951 w 2252546"/>
              <a:gd name="connsiteY19-1198" fmla="*/ 579864 h 1405054"/>
              <a:gd name="connsiteX20-1199" fmla="*/ 1929161 w 2252546"/>
              <a:gd name="connsiteY20-1200" fmla="*/ 546410 h 1405054"/>
              <a:gd name="connsiteX21-1201" fmla="*/ 2241395 w 2252546"/>
              <a:gd name="connsiteY21-1202" fmla="*/ 591015 h 1405054"/>
              <a:gd name="connsiteX22-1203" fmla="*/ 2174488 w 2252546"/>
              <a:gd name="connsiteY22-1204" fmla="*/ 479503 h 1405054"/>
              <a:gd name="connsiteX23-1205" fmla="*/ 2252546 w 2252546"/>
              <a:gd name="connsiteY23-1206" fmla="*/ 434898 h 1405054"/>
              <a:gd name="connsiteX24-1207" fmla="*/ 2062976 w 2252546"/>
              <a:gd name="connsiteY24-1208" fmla="*/ 312235 h 1405054"/>
              <a:gd name="connsiteX25-1209" fmla="*/ 2062976 w 2252546"/>
              <a:gd name="connsiteY25-1210" fmla="*/ 312235 h 1405054"/>
              <a:gd name="connsiteX26-1211" fmla="*/ 2085278 w 2252546"/>
              <a:gd name="connsiteY26-1212" fmla="*/ 289932 h 1405054"/>
              <a:gd name="connsiteX27-1213" fmla="*/ 2040673 w 2252546"/>
              <a:gd name="connsiteY27-1214" fmla="*/ 189571 h 1405054"/>
              <a:gd name="connsiteX28-1215" fmla="*/ 2029522 w 2252546"/>
              <a:gd name="connsiteY28-1216" fmla="*/ 78059 h 1405054"/>
              <a:gd name="connsiteX29-1217" fmla="*/ 1862254 w 2252546"/>
              <a:gd name="connsiteY29-1218" fmla="*/ 100361 h 1405054"/>
              <a:gd name="connsiteX30-1219" fmla="*/ 1661532 w 2252546"/>
              <a:gd name="connsiteY30-1220" fmla="*/ 78059 h 1405054"/>
              <a:gd name="connsiteX31-1221" fmla="*/ 1572322 w 2252546"/>
              <a:gd name="connsiteY31-1222" fmla="*/ 156117 h 1405054"/>
              <a:gd name="connsiteX32-1223" fmla="*/ 1449658 w 2252546"/>
              <a:gd name="connsiteY32-1224" fmla="*/ 156117 h 1405054"/>
              <a:gd name="connsiteX33-1225" fmla="*/ 1550019 w 2252546"/>
              <a:gd name="connsiteY33-1226" fmla="*/ 44605 h 1405054"/>
              <a:gd name="connsiteX34-1227" fmla="*/ 1438507 w 2252546"/>
              <a:gd name="connsiteY34-1228" fmla="*/ 0 h 1405054"/>
              <a:gd name="connsiteX35-1229" fmla="*/ 1433671 w 2252546"/>
              <a:gd name="connsiteY35-1230" fmla="*/ 437229 h 1405054"/>
              <a:gd name="connsiteX36-1231" fmla="*/ 1326995 w 2252546"/>
              <a:gd name="connsiteY36-1232" fmla="*/ 122664 h 1405054"/>
              <a:gd name="connsiteX37-1233" fmla="*/ 1311312 w 2252546"/>
              <a:gd name="connsiteY37-1234" fmla="*/ 487630 h 1405054"/>
              <a:gd name="connsiteX38-1235" fmla="*/ 1240170 w 2252546"/>
              <a:gd name="connsiteY38-1236" fmla="*/ 468487 h 1405054"/>
              <a:gd name="connsiteX39-1237" fmla="*/ 1181596 w 2252546"/>
              <a:gd name="connsiteY39-1238" fmla="*/ 409716 h 1405054"/>
              <a:gd name="connsiteX40-1239" fmla="*/ 1025807 w 2252546"/>
              <a:gd name="connsiteY40-1240" fmla="*/ 409716 h 1405054"/>
              <a:gd name="connsiteX41-1241" fmla="*/ 981307 w 2252546"/>
              <a:gd name="connsiteY41-1242" fmla="*/ 278781 h 1405054"/>
              <a:gd name="connsiteX42-1243" fmla="*/ 944234 w 2252546"/>
              <a:gd name="connsiteY42-1244" fmla="*/ 675819 h 1405054"/>
              <a:gd name="connsiteX43-1245" fmla="*/ 858644 w 2252546"/>
              <a:gd name="connsiteY43-1246" fmla="*/ 356839 h 1405054"/>
              <a:gd name="connsiteX44-1247" fmla="*/ 858644 w 2252546"/>
              <a:gd name="connsiteY44-1248" fmla="*/ 356839 h 1405054"/>
              <a:gd name="connsiteX45-1249" fmla="*/ 624468 w 2252546"/>
              <a:gd name="connsiteY45-1250" fmla="*/ 189571 h 1405054"/>
              <a:gd name="connsiteX46-1251" fmla="*/ 524107 w 2252546"/>
              <a:gd name="connsiteY46-1252" fmla="*/ 111513 h 1405054"/>
              <a:gd name="connsiteX47-1253" fmla="*/ 412595 w 2252546"/>
              <a:gd name="connsiteY47-1254" fmla="*/ 144966 h 1405054"/>
              <a:gd name="connsiteX48-1255" fmla="*/ 490654 w 2252546"/>
              <a:gd name="connsiteY48-1256" fmla="*/ 267630 h 1405054"/>
              <a:gd name="connsiteX49-1257" fmla="*/ 591015 w 2252546"/>
              <a:gd name="connsiteY49-1258" fmla="*/ 367991 h 1405054"/>
              <a:gd name="connsiteX50-1259" fmla="*/ 446049 w 2252546"/>
              <a:gd name="connsiteY50-1260" fmla="*/ 367991 h 1405054"/>
              <a:gd name="connsiteX51-1261" fmla="*/ 289932 w 2252546"/>
              <a:gd name="connsiteY51-1262" fmla="*/ 367991 h 1405054"/>
              <a:gd name="connsiteX52-1263" fmla="*/ 234176 w 2252546"/>
              <a:gd name="connsiteY52-1264" fmla="*/ 434898 h 1405054"/>
              <a:gd name="connsiteX53-1265" fmla="*/ 234176 w 2252546"/>
              <a:gd name="connsiteY53-1266" fmla="*/ 512956 h 1405054"/>
              <a:gd name="connsiteX54-1267" fmla="*/ 256478 w 2252546"/>
              <a:gd name="connsiteY54-1268" fmla="*/ 624469 h 1405054"/>
              <a:gd name="connsiteX55-1269" fmla="*/ 178419 w 2252546"/>
              <a:gd name="connsiteY55-1270" fmla="*/ 702527 h 1405054"/>
              <a:gd name="connsiteX56-1271" fmla="*/ 189571 w 2252546"/>
              <a:gd name="connsiteY56-1272" fmla="*/ 769435 h 1405054"/>
              <a:gd name="connsiteX57-1273" fmla="*/ 78058 w 2252546"/>
              <a:gd name="connsiteY57-1274" fmla="*/ 802888 h 1405054"/>
              <a:gd name="connsiteX58-1275" fmla="*/ 0 w 2252546"/>
              <a:gd name="connsiteY58-1276" fmla="*/ 880947 h 1405054"/>
              <a:gd name="connsiteX0-1277" fmla="*/ 0 w 2252546"/>
              <a:gd name="connsiteY0-1278" fmla="*/ 880947 h 1405054"/>
              <a:gd name="connsiteX1-1279" fmla="*/ 100361 w 2252546"/>
              <a:gd name="connsiteY1-1280" fmla="*/ 1025913 h 1405054"/>
              <a:gd name="connsiteX2-1281" fmla="*/ 89210 w 2252546"/>
              <a:gd name="connsiteY2-1282" fmla="*/ 1126274 h 1405054"/>
              <a:gd name="connsiteX3-1283" fmla="*/ 144966 w 2252546"/>
              <a:gd name="connsiteY3-1284" fmla="*/ 1148576 h 1405054"/>
              <a:gd name="connsiteX4-1285" fmla="*/ 156117 w 2252546"/>
              <a:gd name="connsiteY4-1286" fmla="*/ 1059366 h 1405054"/>
              <a:gd name="connsiteX5-1287" fmla="*/ 267629 w 2252546"/>
              <a:gd name="connsiteY5-1288" fmla="*/ 1081669 h 1405054"/>
              <a:gd name="connsiteX6-1289" fmla="*/ 401444 w 2252546"/>
              <a:gd name="connsiteY6-1290" fmla="*/ 1048215 h 1405054"/>
              <a:gd name="connsiteX7-1291" fmla="*/ 479502 w 2252546"/>
              <a:gd name="connsiteY7-1292" fmla="*/ 1226635 h 1405054"/>
              <a:gd name="connsiteX8-1293" fmla="*/ 479502 w 2252546"/>
              <a:gd name="connsiteY8-1294" fmla="*/ 1360449 h 1405054"/>
              <a:gd name="connsiteX9-1295" fmla="*/ 669073 w 2252546"/>
              <a:gd name="connsiteY9-1296" fmla="*/ 1382752 h 1405054"/>
              <a:gd name="connsiteX10-1297" fmla="*/ 713678 w 2252546"/>
              <a:gd name="connsiteY10-1298" fmla="*/ 1405054 h 1405054"/>
              <a:gd name="connsiteX11-1299" fmla="*/ 970156 w 2252546"/>
              <a:gd name="connsiteY11-1300" fmla="*/ 1148576 h 1405054"/>
              <a:gd name="connsiteX12-1301" fmla="*/ 1315844 w 2252546"/>
              <a:gd name="connsiteY12-1302" fmla="*/ 1037064 h 1405054"/>
              <a:gd name="connsiteX13-1303" fmla="*/ 1405054 w 2252546"/>
              <a:gd name="connsiteY13-1304" fmla="*/ 903249 h 1405054"/>
              <a:gd name="connsiteX14-1305" fmla="*/ 1326995 w 2252546"/>
              <a:gd name="connsiteY14-1306" fmla="*/ 847493 h 1405054"/>
              <a:gd name="connsiteX15-1307" fmla="*/ 1371600 w 2252546"/>
              <a:gd name="connsiteY15-1308" fmla="*/ 747132 h 1405054"/>
              <a:gd name="connsiteX16-1309" fmla="*/ 1650380 w 2252546"/>
              <a:gd name="connsiteY16-1310" fmla="*/ 646771 h 1405054"/>
              <a:gd name="connsiteX17-1311" fmla="*/ 1650380 w 2252546"/>
              <a:gd name="connsiteY17-1312" fmla="*/ 591015 h 1405054"/>
              <a:gd name="connsiteX18-1313" fmla="*/ 1806497 w 2252546"/>
              <a:gd name="connsiteY18-1314" fmla="*/ 557561 h 1405054"/>
              <a:gd name="connsiteX19-1315" fmla="*/ 1839951 w 2252546"/>
              <a:gd name="connsiteY19-1316" fmla="*/ 579864 h 1405054"/>
              <a:gd name="connsiteX20-1317" fmla="*/ 1929161 w 2252546"/>
              <a:gd name="connsiteY20-1318" fmla="*/ 546410 h 1405054"/>
              <a:gd name="connsiteX21-1319" fmla="*/ 2241395 w 2252546"/>
              <a:gd name="connsiteY21-1320" fmla="*/ 591015 h 1405054"/>
              <a:gd name="connsiteX22-1321" fmla="*/ 2174488 w 2252546"/>
              <a:gd name="connsiteY22-1322" fmla="*/ 479503 h 1405054"/>
              <a:gd name="connsiteX23-1323" fmla="*/ 2252546 w 2252546"/>
              <a:gd name="connsiteY23-1324" fmla="*/ 434898 h 1405054"/>
              <a:gd name="connsiteX24-1325" fmla="*/ 2062976 w 2252546"/>
              <a:gd name="connsiteY24-1326" fmla="*/ 312235 h 1405054"/>
              <a:gd name="connsiteX25-1327" fmla="*/ 2062976 w 2252546"/>
              <a:gd name="connsiteY25-1328" fmla="*/ 312235 h 1405054"/>
              <a:gd name="connsiteX26-1329" fmla="*/ 2085278 w 2252546"/>
              <a:gd name="connsiteY26-1330" fmla="*/ 289932 h 1405054"/>
              <a:gd name="connsiteX27-1331" fmla="*/ 2040673 w 2252546"/>
              <a:gd name="connsiteY27-1332" fmla="*/ 189571 h 1405054"/>
              <a:gd name="connsiteX28-1333" fmla="*/ 2029522 w 2252546"/>
              <a:gd name="connsiteY28-1334" fmla="*/ 78059 h 1405054"/>
              <a:gd name="connsiteX29-1335" fmla="*/ 1862254 w 2252546"/>
              <a:gd name="connsiteY29-1336" fmla="*/ 100361 h 1405054"/>
              <a:gd name="connsiteX30-1337" fmla="*/ 1661532 w 2252546"/>
              <a:gd name="connsiteY30-1338" fmla="*/ 78059 h 1405054"/>
              <a:gd name="connsiteX31-1339" fmla="*/ 1572322 w 2252546"/>
              <a:gd name="connsiteY31-1340" fmla="*/ 156117 h 1405054"/>
              <a:gd name="connsiteX32-1341" fmla="*/ 1449658 w 2252546"/>
              <a:gd name="connsiteY32-1342" fmla="*/ 156117 h 1405054"/>
              <a:gd name="connsiteX33-1343" fmla="*/ 1550019 w 2252546"/>
              <a:gd name="connsiteY33-1344" fmla="*/ 44605 h 1405054"/>
              <a:gd name="connsiteX34-1345" fmla="*/ 1438507 w 2252546"/>
              <a:gd name="connsiteY34-1346" fmla="*/ 0 h 1405054"/>
              <a:gd name="connsiteX35-1347" fmla="*/ 1433671 w 2252546"/>
              <a:gd name="connsiteY35-1348" fmla="*/ 437229 h 1405054"/>
              <a:gd name="connsiteX36-1349" fmla="*/ 1326995 w 2252546"/>
              <a:gd name="connsiteY36-1350" fmla="*/ 122664 h 1405054"/>
              <a:gd name="connsiteX37-1351" fmla="*/ 1311312 w 2252546"/>
              <a:gd name="connsiteY37-1352" fmla="*/ 487630 h 1405054"/>
              <a:gd name="connsiteX38-1353" fmla="*/ 1240170 w 2252546"/>
              <a:gd name="connsiteY38-1354" fmla="*/ 468487 h 1405054"/>
              <a:gd name="connsiteX39-1355" fmla="*/ 1181596 w 2252546"/>
              <a:gd name="connsiteY39-1356" fmla="*/ 409716 h 1405054"/>
              <a:gd name="connsiteX40-1357" fmla="*/ 1025807 w 2252546"/>
              <a:gd name="connsiteY40-1358" fmla="*/ 409716 h 1405054"/>
              <a:gd name="connsiteX41-1359" fmla="*/ 981307 w 2252546"/>
              <a:gd name="connsiteY41-1360" fmla="*/ 778586 h 1405054"/>
              <a:gd name="connsiteX42-1361" fmla="*/ 944234 w 2252546"/>
              <a:gd name="connsiteY42-1362" fmla="*/ 675819 h 1405054"/>
              <a:gd name="connsiteX43-1363" fmla="*/ 858644 w 2252546"/>
              <a:gd name="connsiteY43-1364" fmla="*/ 356839 h 1405054"/>
              <a:gd name="connsiteX44-1365" fmla="*/ 858644 w 2252546"/>
              <a:gd name="connsiteY44-1366" fmla="*/ 356839 h 1405054"/>
              <a:gd name="connsiteX45-1367" fmla="*/ 624468 w 2252546"/>
              <a:gd name="connsiteY45-1368" fmla="*/ 189571 h 1405054"/>
              <a:gd name="connsiteX46-1369" fmla="*/ 524107 w 2252546"/>
              <a:gd name="connsiteY46-1370" fmla="*/ 111513 h 1405054"/>
              <a:gd name="connsiteX47-1371" fmla="*/ 412595 w 2252546"/>
              <a:gd name="connsiteY47-1372" fmla="*/ 144966 h 1405054"/>
              <a:gd name="connsiteX48-1373" fmla="*/ 490654 w 2252546"/>
              <a:gd name="connsiteY48-1374" fmla="*/ 267630 h 1405054"/>
              <a:gd name="connsiteX49-1375" fmla="*/ 591015 w 2252546"/>
              <a:gd name="connsiteY49-1376" fmla="*/ 367991 h 1405054"/>
              <a:gd name="connsiteX50-1377" fmla="*/ 446049 w 2252546"/>
              <a:gd name="connsiteY50-1378" fmla="*/ 367991 h 1405054"/>
              <a:gd name="connsiteX51-1379" fmla="*/ 289932 w 2252546"/>
              <a:gd name="connsiteY51-1380" fmla="*/ 367991 h 1405054"/>
              <a:gd name="connsiteX52-1381" fmla="*/ 234176 w 2252546"/>
              <a:gd name="connsiteY52-1382" fmla="*/ 434898 h 1405054"/>
              <a:gd name="connsiteX53-1383" fmla="*/ 234176 w 2252546"/>
              <a:gd name="connsiteY53-1384" fmla="*/ 512956 h 1405054"/>
              <a:gd name="connsiteX54-1385" fmla="*/ 256478 w 2252546"/>
              <a:gd name="connsiteY54-1386" fmla="*/ 624469 h 1405054"/>
              <a:gd name="connsiteX55-1387" fmla="*/ 178419 w 2252546"/>
              <a:gd name="connsiteY55-1388" fmla="*/ 702527 h 1405054"/>
              <a:gd name="connsiteX56-1389" fmla="*/ 189571 w 2252546"/>
              <a:gd name="connsiteY56-1390" fmla="*/ 769435 h 1405054"/>
              <a:gd name="connsiteX57-1391" fmla="*/ 78058 w 2252546"/>
              <a:gd name="connsiteY57-1392" fmla="*/ 802888 h 1405054"/>
              <a:gd name="connsiteX58-1393" fmla="*/ 0 w 2252546"/>
              <a:gd name="connsiteY58-1394" fmla="*/ 880947 h 1405054"/>
              <a:gd name="connsiteX0-1395" fmla="*/ 0 w 2252546"/>
              <a:gd name="connsiteY0-1396" fmla="*/ 880947 h 1405054"/>
              <a:gd name="connsiteX1-1397" fmla="*/ 100361 w 2252546"/>
              <a:gd name="connsiteY1-1398" fmla="*/ 1025913 h 1405054"/>
              <a:gd name="connsiteX2-1399" fmla="*/ 89210 w 2252546"/>
              <a:gd name="connsiteY2-1400" fmla="*/ 1126274 h 1405054"/>
              <a:gd name="connsiteX3-1401" fmla="*/ 144966 w 2252546"/>
              <a:gd name="connsiteY3-1402" fmla="*/ 1148576 h 1405054"/>
              <a:gd name="connsiteX4-1403" fmla="*/ 156117 w 2252546"/>
              <a:gd name="connsiteY4-1404" fmla="*/ 1059366 h 1405054"/>
              <a:gd name="connsiteX5-1405" fmla="*/ 267629 w 2252546"/>
              <a:gd name="connsiteY5-1406" fmla="*/ 1081669 h 1405054"/>
              <a:gd name="connsiteX6-1407" fmla="*/ 401444 w 2252546"/>
              <a:gd name="connsiteY6-1408" fmla="*/ 1048215 h 1405054"/>
              <a:gd name="connsiteX7-1409" fmla="*/ 479502 w 2252546"/>
              <a:gd name="connsiteY7-1410" fmla="*/ 1226635 h 1405054"/>
              <a:gd name="connsiteX8-1411" fmla="*/ 479502 w 2252546"/>
              <a:gd name="connsiteY8-1412" fmla="*/ 1360449 h 1405054"/>
              <a:gd name="connsiteX9-1413" fmla="*/ 669073 w 2252546"/>
              <a:gd name="connsiteY9-1414" fmla="*/ 1382752 h 1405054"/>
              <a:gd name="connsiteX10-1415" fmla="*/ 713678 w 2252546"/>
              <a:gd name="connsiteY10-1416" fmla="*/ 1405054 h 1405054"/>
              <a:gd name="connsiteX11-1417" fmla="*/ 970156 w 2252546"/>
              <a:gd name="connsiteY11-1418" fmla="*/ 1148576 h 1405054"/>
              <a:gd name="connsiteX12-1419" fmla="*/ 1315844 w 2252546"/>
              <a:gd name="connsiteY12-1420" fmla="*/ 1037064 h 1405054"/>
              <a:gd name="connsiteX13-1421" fmla="*/ 1405054 w 2252546"/>
              <a:gd name="connsiteY13-1422" fmla="*/ 903249 h 1405054"/>
              <a:gd name="connsiteX14-1423" fmla="*/ 1326995 w 2252546"/>
              <a:gd name="connsiteY14-1424" fmla="*/ 847493 h 1405054"/>
              <a:gd name="connsiteX15-1425" fmla="*/ 1371600 w 2252546"/>
              <a:gd name="connsiteY15-1426" fmla="*/ 747132 h 1405054"/>
              <a:gd name="connsiteX16-1427" fmla="*/ 1650380 w 2252546"/>
              <a:gd name="connsiteY16-1428" fmla="*/ 646771 h 1405054"/>
              <a:gd name="connsiteX17-1429" fmla="*/ 1650380 w 2252546"/>
              <a:gd name="connsiteY17-1430" fmla="*/ 591015 h 1405054"/>
              <a:gd name="connsiteX18-1431" fmla="*/ 1806497 w 2252546"/>
              <a:gd name="connsiteY18-1432" fmla="*/ 557561 h 1405054"/>
              <a:gd name="connsiteX19-1433" fmla="*/ 1839951 w 2252546"/>
              <a:gd name="connsiteY19-1434" fmla="*/ 579864 h 1405054"/>
              <a:gd name="connsiteX20-1435" fmla="*/ 1929161 w 2252546"/>
              <a:gd name="connsiteY20-1436" fmla="*/ 546410 h 1405054"/>
              <a:gd name="connsiteX21-1437" fmla="*/ 2241395 w 2252546"/>
              <a:gd name="connsiteY21-1438" fmla="*/ 591015 h 1405054"/>
              <a:gd name="connsiteX22-1439" fmla="*/ 2174488 w 2252546"/>
              <a:gd name="connsiteY22-1440" fmla="*/ 479503 h 1405054"/>
              <a:gd name="connsiteX23-1441" fmla="*/ 2252546 w 2252546"/>
              <a:gd name="connsiteY23-1442" fmla="*/ 434898 h 1405054"/>
              <a:gd name="connsiteX24-1443" fmla="*/ 2062976 w 2252546"/>
              <a:gd name="connsiteY24-1444" fmla="*/ 312235 h 1405054"/>
              <a:gd name="connsiteX25-1445" fmla="*/ 2062976 w 2252546"/>
              <a:gd name="connsiteY25-1446" fmla="*/ 312235 h 1405054"/>
              <a:gd name="connsiteX26-1447" fmla="*/ 2085278 w 2252546"/>
              <a:gd name="connsiteY26-1448" fmla="*/ 289932 h 1405054"/>
              <a:gd name="connsiteX27-1449" fmla="*/ 2040673 w 2252546"/>
              <a:gd name="connsiteY27-1450" fmla="*/ 189571 h 1405054"/>
              <a:gd name="connsiteX28-1451" fmla="*/ 2029522 w 2252546"/>
              <a:gd name="connsiteY28-1452" fmla="*/ 78059 h 1405054"/>
              <a:gd name="connsiteX29-1453" fmla="*/ 1862254 w 2252546"/>
              <a:gd name="connsiteY29-1454" fmla="*/ 100361 h 1405054"/>
              <a:gd name="connsiteX30-1455" fmla="*/ 1661532 w 2252546"/>
              <a:gd name="connsiteY30-1456" fmla="*/ 78059 h 1405054"/>
              <a:gd name="connsiteX31-1457" fmla="*/ 1572322 w 2252546"/>
              <a:gd name="connsiteY31-1458" fmla="*/ 156117 h 1405054"/>
              <a:gd name="connsiteX32-1459" fmla="*/ 1449658 w 2252546"/>
              <a:gd name="connsiteY32-1460" fmla="*/ 156117 h 1405054"/>
              <a:gd name="connsiteX33-1461" fmla="*/ 1550019 w 2252546"/>
              <a:gd name="connsiteY33-1462" fmla="*/ 44605 h 1405054"/>
              <a:gd name="connsiteX34-1463" fmla="*/ 1438507 w 2252546"/>
              <a:gd name="connsiteY34-1464" fmla="*/ 0 h 1405054"/>
              <a:gd name="connsiteX35-1465" fmla="*/ 1433671 w 2252546"/>
              <a:gd name="connsiteY35-1466" fmla="*/ 437229 h 1405054"/>
              <a:gd name="connsiteX36-1467" fmla="*/ 1326995 w 2252546"/>
              <a:gd name="connsiteY36-1468" fmla="*/ 122664 h 1405054"/>
              <a:gd name="connsiteX37-1469" fmla="*/ 1311312 w 2252546"/>
              <a:gd name="connsiteY37-1470" fmla="*/ 487630 h 1405054"/>
              <a:gd name="connsiteX38-1471" fmla="*/ 1240170 w 2252546"/>
              <a:gd name="connsiteY38-1472" fmla="*/ 468487 h 1405054"/>
              <a:gd name="connsiteX39-1473" fmla="*/ 1181596 w 2252546"/>
              <a:gd name="connsiteY39-1474" fmla="*/ 409716 h 1405054"/>
              <a:gd name="connsiteX40-1475" fmla="*/ 1025807 w 2252546"/>
              <a:gd name="connsiteY40-1476" fmla="*/ 409716 h 1405054"/>
              <a:gd name="connsiteX41-1477" fmla="*/ 1094554 w 2252546"/>
              <a:gd name="connsiteY41-1478" fmla="*/ 724206 h 1405054"/>
              <a:gd name="connsiteX42-1479" fmla="*/ 981307 w 2252546"/>
              <a:gd name="connsiteY42-1480" fmla="*/ 778586 h 1405054"/>
              <a:gd name="connsiteX43-1481" fmla="*/ 944234 w 2252546"/>
              <a:gd name="connsiteY43-1482" fmla="*/ 675819 h 1405054"/>
              <a:gd name="connsiteX44-1483" fmla="*/ 858644 w 2252546"/>
              <a:gd name="connsiteY44-1484" fmla="*/ 356839 h 1405054"/>
              <a:gd name="connsiteX45-1485" fmla="*/ 858644 w 2252546"/>
              <a:gd name="connsiteY45-1486" fmla="*/ 356839 h 1405054"/>
              <a:gd name="connsiteX46-1487" fmla="*/ 624468 w 2252546"/>
              <a:gd name="connsiteY46-1488" fmla="*/ 189571 h 1405054"/>
              <a:gd name="connsiteX47-1489" fmla="*/ 524107 w 2252546"/>
              <a:gd name="connsiteY47-1490" fmla="*/ 111513 h 1405054"/>
              <a:gd name="connsiteX48-1491" fmla="*/ 412595 w 2252546"/>
              <a:gd name="connsiteY48-1492" fmla="*/ 144966 h 1405054"/>
              <a:gd name="connsiteX49-1493" fmla="*/ 490654 w 2252546"/>
              <a:gd name="connsiteY49-1494" fmla="*/ 267630 h 1405054"/>
              <a:gd name="connsiteX50-1495" fmla="*/ 591015 w 2252546"/>
              <a:gd name="connsiteY50-1496" fmla="*/ 367991 h 1405054"/>
              <a:gd name="connsiteX51-1497" fmla="*/ 446049 w 2252546"/>
              <a:gd name="connsiteY51-1498" fmla="*/ 367991 h 1405054"/>
              <a:gd name="connsiteX52-1499" fmla="*/ 289932 w 2252546"/>
              <a:gd name="connsiteY52-1500" fmla="*/ 367991 h 1405054"/>
              <a:gd name="connsiteX53-1501" fmla="*/ 234176 w 2252546"/>
              <a:gd name="connsiteY53-1502" fmla="*/ 434898 h 1405054"/>
              <a:gd name="connsiteX54-1503" fmla="*/ 234176 w 2252546"/>
              <a:gd name="connsiteY54-1504" fmla="*/ 512956 h 1405054"/>
              <a:gd name="connsiteX55-1505" fmla="*/ 256478 w 2252546"/>
              <a:gd name="connsiteY55-1506" fmla="*/ 624469 h 1405054"/>
              <a:gd name="connsiteX56-1507" fmla="*/ 178419 w 2252546"/>
              <a:gd name="connsiteY56-1508" fmla="*/ 702527 h 1405054"/>
              <a:gd name="connsiteX57-1509" fmla="*/ 189571 w 2252546"/>
              <a:gd name="connsiteY57-1510" fmla="*/ 769435 h 1405054"/>
              <a:gd name="connsiteX58-1511" fmla="*/ 78058 w 2252546"/>
              <a:gd name="connsiteY58-1512" fmla="*/ 802888 h 1405054"/>
              <a:gd name="connsiteX59" fmla="*/ 0 w 2252546"/>
              <a:gd name="connsiteY59" fmla="*/ 880947 h 1405054"/>
              <a:gd name="connsiteX0-1513" fmla="*/ 0 w 2252546"/>
              <a:gd name="connsiteY0-1514" fmla="*/ 880947 h 1405054"/>
              <a:gd name="connsiteX1-1515" fmla="*/ 100361 w 2252546"/>
              <a:gd name="connsiteY1-1516" fmla="*/ 1025913 h 1405054"/>
              <a:gd name="connsiteX2-1517" fmla="*/ 89210 w 2252546"/>
              <a:gd name="connsiteY2-1518" fmla="*/ 1126274 h 1405054"/>
              <a:gd name="connsiteX3-1519" fmla="*/ 144966 w 2252546"/>
              <a:gd name="connsiteY3-1520" fmla="*/ 1148576 h 1405054"/>
              <a:gd name="connsiteX4-1521" fmla="*/ 156117 w 2252546"/>
              <a:gd name="connsiteY4-1522" fmla="*/ 1059366 h 1405054"/>
              <a:gd name="connsiteX5-1523" fmla="*/ 267629 w 2252546"/>
              <a:gd name="connsiteY5-1524" fmla="*/ 1081669 h 1405054"/>
              <a:gd name="connsiteX6-1525" fmla="*/ 401444 w 2252546"/>
              <a:gd name="connsiteY6-1526" fmla="*/ 1048215 h 1405054"/>
              <a:gd name="connsiteX7-1527" fmla="*/ 479502 w 2252546"/>
              <a:gd name="connsiteY7-1528" fmla="*/ 1226635 h 1405054"/>
              <a:gd name="connsiteX8-1529" fmla="*/ 479502 w 2252546"/>
              <a:gd name="connsiteY8-1530" fmla="*/ 1360449 h 1405054"/>
              <a:gd name="connsiteX9-1531" fmla="*/ 669073 w 2252546"/>
              <a:gd name="connsiteY9-1532" fmla="*/ 1382752 h 1405054"/>
              <a:gd name="connsiteX10-1533" fmla="*/ 713678 w 2252546"/>
              <a:gd name="connsiteY10-1534" fmla="*/ 1405054 h 1405054"/>
              <a:gd name="connsiteX11-1535" fmla="*/ 970156 w 2252546"/>
              <a:gd name="connsiteY11-1536" fmla="*/ 1148576 h 1405054"/>
              <a:gd name="connsiteX12-1537" fmla="*/ 1315844 w 2252546"/>
              <a:gd name="connsiteY12-1538" fmla="*/ 1037064 h 1405054"/>
              <a:gd name="connsiteX13-1539" fmla="*/ 1405054 w 2252546"/>
              <a:gd name="connsiteY13-1540" fmla="*/ 903249 h 1405054"/>
              <a:gd name="connsiteX14-1541" fmla="*/ 1326995 w 2252546"/>
              <a:gd name="connsiteY14-1542" fmla="*/ 847493 h 1405054"/>
              <a:gd name="connsiteX15-1543" fmla="*/ 1371600 w 2252546"/>
              <a:gd name="connsiteY15-1544" fmla="*/ 747132 h 1405054"/>
              <a:gd name="connsiteX16-1545" fmla="*/ 1650380 w 2252546"/>
              <a:gd name="connsiteY16-1546" fmla="*/ 646771 h 1405054"/>
              <a:gd name="connsiteX17-1547" fmla="*/ 1650380 w 2252546"/>
              <a:gd name="connsiteY17-1548" fmla="*/ 591015 h 1405054"/>
              <a:gd name="connsiteX18-1549" fmla="*/ 1806497 w 2252546"/>
              <a:gd name="connsiteY18-1550" fmla="*/ 557561 h 1405054"/>
              <a:gd name="connsiteX19-1551" fmla="*/ 1839951 w 2252546"/>
              <a:gd name="connsiteY19-1552" fmla="*/ 579864 h 1405054"/>
              <a:gd name="connsiteX20-1553" fmla="*/ 1929161 w 2252546"/>
              <a:gd name="connsiteY20-1554" fmla="*/ 546410 h 1405054"/>
              <a:gd name="connsiteX21-1555" fmla="*/ 2241395 w 2252546"/>
              <a:gd name="connsiteY21-1556" fmla="*/ 591015 h 1405054"/>
              <a:gd name="connsiteX22-1557" fmla="*/ 2174488 w 2252546"/>
              <a:gd name="connsiteY22-1558" fmla="*/ 479503 h 1405054"/>
              <a:gd name="connsiteX23-1559" fmla="*/ 2252546 w 2252546"/>
              <a:gd name="connsiteY23-1560" fmla="*/ 434898 h 1405054"/>
              <a:gd name="connsiteX24-1561" fmla="*/ 2062976 w 2252546"/>
              <a:gd name="connsiteY24-1562" fmla="*/ 312235 h 1405054"/>
              <a:gd name="connsiteX25-1563" fmla="*/ 2062976 w 2252546"/>
              <a:gd name="connsiteY25-1564" fmla="*/ 312235 h 1405054"/>
              <a:gd name="connsiteX26-1565" fmla="*/ 2085278 w 2252546"/>
              <a:gd name="connsiteY26-1566" fmla="*/ 289932 h 1405054"/>
              <a:gd name="connsiteX27-1567" fmla="*/ 2040673 w 2252546"/>
              <a:gd name="connsiteY27-1568" fmla="*/ 189571 h 1405054"/>
              <a:gd name="connsiteX28-1569" fmla="*/ 2029522 w 2252546"/>
              <a:gd name="connsiteY28-1570" fmla="*/ 78059 h 1405054"/>
              <a:gd name="connsiteX29-1571" fmla="*/ 1862254 w 2252546"/>
              <a:gd name="connsiteY29-1572" fmla="*/ 100361 h 1405054"/>
              <a:gd name="connsiteX30-1573" fmla="*/ 1661532 w 2252546"/>
              <a:gd name="connsiteY30-1574" fmla="*/ 78059 h 1405054"/>
              <a:gd name="connsiteX31-1575" fmla="*/ 1572322 w 2252546"/>
              <a:gd name="connsiteY31-1576" fmla="*/ 156117 h 1405054"/>
              <a:gd name="connsiteX32-1577" fmla="*/ 1449658 w 2252546"/>
              <a:gd name="connsiteY32-1578" fmla="*/ 156117 h 1405054"/>
              <a:gd name="connsiteX33-1579" fmla="*/ 1550019 w 2252546"/>
              <a:gd name="connsiteY33-1580" fmla="*/ 44605 h 1405054"/>
              <a:gd name="connsiteX34-1581" fmla="*/ 1438507 w 2252546"/>
              <a:gd name="connsiteY34-1582" fmla="*/ 0 h 1405054"/>
              <a:gd name="connsiteX35-1583" fmla="*/ 1433671 w 2252546"/>
              <a:gd name="connsiteY35-1584" fmla="*/ 437229 h 1405054"/>
              <a:gd name="connsiteX36-1585" fmla="*/ 1326995 w 2252546"/>
              <a:gd name="connsiteY36-1586" fmla="*/ 122664 h 1405054"/>
              <a:gd name="connsiteX37-1587" fmla="*/ 1311312 w 2252546"/>
              <a:gd name="connsiteY37-1588" fmla="*/ 487630 h 1405054"/>
              <a:gd name="connsiteX38-1589" fmla="*/ 1240170 w 2252546"/>
              <a:gd name="connsiteY38-1590" fmla="*/ 468487 h 1405054"/>
              <a:gd name="connsiteX39-1591" fmla="*/ 1181596 w 2252546"/>
              <a:gd name="connsiteY39-1592" fmla="*/ 409716 h 1405054"/>
              <a:gd name="connsiteX40-1593" fmla="*/ 1025807 w 2252546"/>
              <a:gd name="connsiteY40-1594" fmla="*/ 409716 h 1405054"/>
              <a:gd name="connsiteX41-1595" fmla="*/ 1094554 w 2252546"/>
              <a:gd name="connsiteY41-1596" fmla="*/ 724206 h 1405054"/>
              <a:gd name="connsiteX42-1597" fmla="*/ 981307 w 2252546"/>
              <a:gd name="connsiteY42-1598" fmla="*/ 778586 h 1405054"/>
              <a:gd name="connsiteX43-1599" fmla="*/ 944234 w 2252546"/>
              <a:gd name="connsiteY43-1600" fmla="*/ 675819 h 1405054"/>
              <a:gd name="connsiteX44-1601" fmla="*/ 858644 w 2252546"/>
              <a:gd name="connsiteY44-1602" fmla="*/ 356839 h 1405054"/>
              <a:gd name="connsiteX45-1603" fmla="*/ 858644 w 2252546"/>
              <a:gd name="connsiteY45-1604" fmla="*/ 731687 h 1405054"/>
              <a:gd name="connsiteX46-1605" fmla="*/ 624468 w 2252546"/>
              <a:gd name="connsiteY46-1606" fmla="*/ 189571 h 1405054"/>
              <a:gd name="connsiteX47-1607" fmla="*/ 524107 w 2252546"/>
              <a:gd name="connsiteY47-1608" fmla="*/ 111513 h 1405054"/>
              <a:gd name="connsiteX48-1609" fmla="*/ 412595 w 2252546"/>
              <a:gd name="connsiteY48-1610" fmla="*/ 144966 h 1405054"/>
              <a:gd name="connsiteX49-1611" fmla="*/ 490654 w 2252546"/>
              <a:gd name="connsiteY49-1612" fmla="*/ 267630 h 1405054"/>
              <a:gd name="connsiteX50-1613" fmla="*/ 591015 w 2252546"/>
              <a:gd name="connsiteY50-1614" fmla="*/ 367991 h 1405054"/>
              <a:gd name="connsiteX51-1615" fmla="*/ 446049 w 2252546"/>
              <a:gd name="connsiteY51-1616" fmla="*/ 367991 h 1405054"/>
              <a:gd name="connsiteX52-1617" fmla="*/ 289932 w 2252546"/>
              <a:gd name="connsiteY52-1618" fmla="*/ 367991 h 1405054"/>
              <a:gd name="connsiteX53-1619" fmla="*/ 234176 w 2252546"/>
              <a:gd name="connsiteY53-1620" fmla="*/ 434898 h 1405054"/>
              <a:gd name="connsiteX54-1621" fmla="*/ 234176 w 2252546"/>
              <a:gd name="connsiteY54-1622" fmla="*/ 512956 h 1405054"/>
              <a:gd name="connsiteX55-1623" fmla="*/ 256478 w 2252546"/>
              <a:gd name="connsiteY55-1624" fmla="*/ 624469 h 1405054"/>
              <a:gd name="connsiteX56-1625" fmla="*/ 178419 w 2252546"/>
              <a:gd name="connsiteY56-1626" fmla="*/ 702527 h 1405054"/>
              <a:gd name="connsiteX57-1627" fmla="*/ 189571 w 2252546"/>
              <a:gd name="connsiteY57-1628" fmla="*/ 769435 h 1405054"/>
              <a:gd name="connsiteX58-1629" fmla="*/ 78058 w 2252546"/>
              <a:gd name="connsiteY58-1630" fmla="*/ 802888 h 1405054"/>
              <a:gd name="connsiteX59-1631" fmla="*/ 0 w 2252546"/>
              <a:gd name="connsiteY59-1632" fmla="*/ 880947 h 1405054"/>
              <a:gd name="connsiteX0-1633" fmla="*/ 0 w 2252546"/>
              <a:gd name="connsiteY0-1634" fmla="*/ 880947 h 1405054"/>
              <a:gd name="connsiteX1-1635" fmla="*/ 100361 w 2252546"/>
              <a:gd name="connsiteY1-1636" fmla="*/ 1025913 h 1405054"/>
              <a:gd name="connsiteX2-1637" fmla="*/ 89210 w 2252546"/>
              <a:gd name="connsiteY2-1638" fmla="*/ 1126274 h 1405054"/>
              <a:gd name="connsiteX3-1639" fmla="*/ 144966 w 2252546"/>
              <a:gd name="connsiteY3-1640" fmla="*/ 1148576 h 1405054"/>
              <a:gd name="connsiteX4-1641" fmla="*/ 156117 w 2252546"/>
              <a:gd name="connsiteY4-1642" fmla="*/ 1059366 h 1405054"/>
              <a:gd name="connsiteX5-1643" fmla="*/ 267629 w 2252546"/>
              <a:gd name="connsiteY5-1644" fmla="*/ 1081669 h 1405054"/>
              <a:gd name="connsiteX6-1645" fmla="*/ 401444 w 2252546"/>
              <a:gd name="connsiteY6-1646" fmla="*/ 1048215 h 1405054"/>
              <a:gd name="connsiteX7-1647" fmla="*/ 479502 w 2252546"/>
              <a:gd name="connsiteY7-1648" fmla="*/ 1226635 h 1405054"/>
              <a:gd name="connsiteX8-1649" fmla="*/ 479502 w 2252546"/>
              <a:gd name="connsiteY8-1650" fmla="*/ 1360449 h 1405054"/>
              <a:gd name="connsiteX9-1651" fmla="*/ 669073 w 2252546"/>
              <a:gd name="connsiteY9-1652" fmla="*/ 1382752 h 1405054"/>
              <a:gd name="connsiteX10-1653" fmla="*/ 713678 w 2252546"/>
              <a:gd name="connsiteY10-1654" fmla="*/ 1405054 h 1405054"/>
              <a:gd name="connsiteX11-1655" fmla="*/ 970156 w 2252546"/>
              <a:gd name="connsiteY11-1656" fmla="*/ 1148576 h 1405054"/>
              <a:gd name="connsiteX12-1657" fmla="*/ 1315844 w 2252546"/>
              <a:gd name="connsiteY12-1658" fmla="*/ 1037064 h 1405054"/>
              <a:gd name="connsiteX13-1659" fmla="*/ 1405054 w 2252546"/>
              <a:gd name="connsiteY13-1660" fmla="*/ 903249 h 1405054"/>
              <a:gd name="connsiteX14-1661" fmla="*/ 1326995 w 2252546"/>
              <a:gd name="connsiteY14-1662" fmla="*/ 847493 h 1405054"/>
              <a:gd name="connsiteX15-1663" fmla="*/ 1371600 w 2252546"/>
              <a:gd name="connsiteY15-1664" fmla="*/ 747132 h 1405054"/>
              <a:gd name="connsiteX16-1665" fmla="*/ 1650380 w 2252546"/>
              <a:gd name="connsiteY16-1666" fmla="*/ 646771 h 1405054"/>
              <a:gd name="connsiteX17-1667" fmla="*/ 1650380 w 2252546"/>
              <a:gd name="connsiteY17-1668" fmla="*/ 591015 h 1405054"/>
              <a:gd name="connsiteX18-1669" fmla="*/ 1806497 w 2252546"/>
              <a:gd name="connsiteY18-1670" fmla="*/ 557561 h 1405054"/>
              <a:gd name="connsiteX19-1671" fmla="*/ 1839951 w 2252546"/>
              <a:gd name="connsiteY19-1672" fmla="*/ 579864 h 1405054"/>
              <a:gd name="connsiteX20-1673" fmla="*/ 1929161 w 2252546"/>
              <a:gd name="connsiteY20-1674" fmla="*/ 546410 h 1405054"/>
              <a:gd name="connsiteX21-1675" fmla="*/ 2241395 w 2252546"/>
              <a:gd name="connsiteY21-1676" fmla="*/ 591015 h 1405054"/>
              <a:gd name="connsiteX22-1677" fmla="*/ 2174488 w 2252546"/>
              <a:gd name="connsiteY22-1678" fmla="*/ 479503 h 1405054"/>
              <a:gd name="connsiteX23-1679" fmla="*/ 2252546 w 2252546"/>
              <a:gd name="connsiteY23-1680" fmla="*/ 434898 h 1405054"/>
              <a:gd name="connsiteX24-1681" fmla="*/ 2062976 w 2252546"/>
              <a:gd name="connsiteY24-1682" fmla="*/ 312235 h 1405054"/>
              <a:gd name="connsiteX25-1683" fmla="*/ 2062976 w 2252546"/>
              <a:gd name="connsiteY25-1684" fmla="*/ 312235 h 1405054"/>
              <a:gd name="connsiteX26-1685" fmla="*/ 2085278 w 2252546"/>
              <a:gd name="connsiteY26-1686" fmla="*/ 289932 h 1405054"/>
              <a:gd name="connsiteX27-1687" fmla="*/ 2040673 w 2252546"/>
              <a:gd name="connsiteY27-1688" fmla="*/ 189571 h 1405054"/>
              <a:gd name="connsiteX28-1689" fmla="*/ 2029522 w 2252546"/>
              <a:gd name="connsiteY28-1690" fmla="*/ 78059 h 1405054"/>
              <a:gd name="connsiteX29-1691" fmla="*/ 1862254 w 2252546"/>
              <a:gd name="connsiteY29-1692" fmla="*/ 100361 h 1405054"/>
              <a:gd name="connsiteX30-1693" fmla="*/ 1661532 w 2252546"/>
              <a:gd name="connsiteY30-1694" fmla="*/ 78059 h 1405054"/>
              <a:gd name="connsiteX31-1695" fmla="*/ 1572322 w 2252546"/>
              <a:gd name="connsiteY31-1696" fmla="*/ 156117 h 1405054"/>
              <a:gd name="connsiteX32-1697" fmla="*/ 1449658 w 2252546"/>
              <a:gd name="connsiteY32-1698" fmla="*/ 156117 h 1405054"/>
              <a:gd name="connsiteX33-1699" fmla="*/ 1550019 w 2252546"/>
              <a:gd name="connsiteY33-1700" fmla="*/ 44605 h 1405054"/>
              <a:gd name="connsiteX34-1701" fmla="*/ 1438507 w 2252546"/>
              <a:gd name="connsiteY34-1702" fmla="*/ 0 h 1405054"/>
              <a:gd name="connsiteX35-1703" fmla="*/ 1433671 w 2252546"/>
              <a:gd name="connsiteY35-1704" fmla="*/ 437229 h 1405054"/>
              <a:gd name="connsiteX36-1705" fmla="*/ 1326995 w 2252546"/>
              <a:gd name="connsiteY36-1706" fmla="*/ 122664 h 1405054"/>
              <a:gd name="connsiteX37-1707" fmla="*/ 1311312 w 2252546"/>
              <a:gd name="connsiteY37-1708" fmla="*/ 487630 h 1405054"/>
              <a:gd name="connsiteX38-1709" fmla="*/ 1240170 w 2252546"/>
              <a:gd name="connsiteY38-1710" fmla="*/ 468487 h 1405054"/>
              <a:gd name="connsiteX39-1711" fmla="*/ 1181596 w 2252546"/>
              <a:gd name="connsiteY39-1712" fmla="*/ 409716 h 1405054"/>
              <a:gd name="connsiteX40-1713" fmla="*/ 1025807 w 2252546"/>
              <a:gd name="connsiteY40-1714" fmla="*/ 409716 h 1405054"/>
              <a:gd name="connsiteX41-1715" fmla="*/ 1094554 w 2252546"/>
              <a:gd name="connsiteY41-1716" fmla="*/ 724206 h 1405054"/>
              <a:gd name="connsiteX42-1717" fmla="*/ 981307 w 2252546"/>
              <a:gd name="connsiteY42-1718" fmla="*/ 778586 h 1405054"/>
              <a:gd name="connsiteX43-1719" fmla="*/ 944234 w 2252546"/>
              <a:gd name="connsiteY43-1720" fmla="*/ 675819 h 1405054"/>
              <a:gd name="connsiteX44-1721" fmla="*/ 858644 w 2252546"/>
              <a:gd name="connsiteY44-1722" fmla="*/ 356839 h 1405054"/>
              <a:gd name="connsiteX45-1723" fmla="*/ 852237 w 2252546"/>
              <a:gd name="connsiteY45-1724" fmla="*/ 545538 h 1405054"/>
              <a:gd name="connsiteX46-1725" fmla="*/ 858644 w 2252546"/>
              <a:gd name="connsiteY46-1726" fmla="*/ 731687 h 1405054"/>
              <a:gd name="connsiteX47-1727" fmla="*/ 624468 w 2252546"/>
              <a:gd name="connsiteY47-1728" fmla="*/ 189571 h 1405054"/>
              <a:gd name="connsiteX48-1729" fmla="*/ 524107 w 2252546"/>
              <a:gd name="connsiteY48-1730" fmla="*/ 111513 h 1405054"/>
              <a:gd name="connsiteX49-1731" fmla="*/ 412595 w 2252546"/>
              <a:gd name="connsiteY49-1732" fmla="*/ 144966 h 1405054"/>
              <a:gd name="connsiteX50-1733" fmla="*/ 490654 w 2252546"/>
              <a:gd name="connsiteY50-1734" fmla="*/ 267630 h 1405054"/>
              <a:gd name="connsiteX51-1735" fmla="*/ 591015 w 2252546"/>
              <a:gd name="connsiteY51-1736" fmla="*/ 367991 h 1405054"/>
              <a:gd name="connsiteX52-1737" fmla="*/ 446049 w 2252546"/>
              <a:gd name="connsiteY52-1738" fmla="*/ 367991 h 1405054"/>
              <a:gd name="connsiteX53-1739" fmla="*/ 289932 w 2252546"/>
              <a:gd name="connsiteY53-1740" fmla="*/ 367991 h 1405054"/>
              <a:gd name="connsiteX54-1741" fmla="*/ 234176 w 2252546"/>
              <a:gd name="connsiteY54-1742" fmla="*/ 434898 h 1405054"/>
              <a:gd name="connsiteX55-1743" fmla="*/ 234176 w 2252546"/>
              <a:gd name="connsiteY55-1744" fmla="*/ 512956 h 1405054"/>
              <a:gd name="connsiteX56-1745" fmla="*/ 256478 w 2252546"/>
              <a:gd name="connsiteY56-1746" fmla="*/ 624469 h 1405054"/>
              <a:gd name="connsiteX57-1747" fmla="*/ 178419 w 2252546"/>
              <a:gd name="connsiteY57-1748" fmla="*/ 702527 h 1405054"/>
              <a:gd name="connsiteX58-1749" fmla="*/ 189571 w 2252546"/>
              <a:gd name="connsiteY58-1750" fmla="*/ 769435 h 1405054"/>
              <a:gd name="connsiteX59-1751" fmla="*/ 78058 w 2252546"/>
              <a:gd name="connsiteY59-1752" fmla="*/ 802888 h 1405054"/>
              <a:gd name="connsiteX60" fmla="*/ 0 w 2252546"/>
              <a:gd name="connsiteY60" fmla="*/ 880947 h 1405054"/>
              <a:gd name="connsiteX0-1753" fmla="*/ 0 w 2252546"/>
              <a:gd name="connsiteY0-1754" fmla="*/ 880947 h 1405054"/>
              <a:gd name="connsiteX1-1755" fmla="*/ 100361 w 2252546"/>
              <a:gd name="connsiteY1-1756" fmla="*/ 1025913 h 1405054"/>
              <a:gd name="connsiteX2-1757" fmla="*/ 89210 w 2252546"/>
              <a:gd name="connsiteY2-1758" fmla="*/ 1126274 h 1405054"/>
              <a:gd name="connsiteX3-1759" fmla="*/ 144966 w 2252546"/>
              <a:gd name="connsiteY3-1760" fmla="*/ 1148576 h 1405054"/>
              <a:gd name="connsiteX4-1761" fmla="*/ 156117 w 2252546"/>
              <a:gd name="connsiteY4-1762" fmla="*/ 1059366 h 1405054"/>
              <a:gd name="connsiteX5-1763" fmla="*/ 267629 w 2252546"/>
              <a:gd name="connsiteY5-1764" fmla="*/ 1081669 h 1405054"/>
              <a:gd name="connsiteX6-1765" fmla="*/ 401444 w 2252546"/>
              <a:gd name="connsiteY6-1766" fmla="*/ 1048215 h 1405054"/>
              <a:gd name="connsiteX7-1767" fmla="*/ 479502 w 2252546"/>
              <a:gd name="connsiteY7-1768" fmla="*/ 1226635 h 1405054"/>
              <a:gd name="connsiteX8-1769" fmla="*/ 479502 w 2252546"/>
              <a:gd name="connsiteY8-1770" fmla="*/ 1360449 h 1405054"/>
              <a:gd name="connsiteX9-1771" fmla="*/ 669073 w 2252546"/>
              <a:gd name="connsiteY9-1772" fmla="*/ 1382752 h 1405054"/>
              <a:gd name="connsiteX10-1773" fmla="*/ 713678 w 2252546"/>
              <a:gd name="connsiteY10-1774" fmla="*/ 1405054 h 1405054"/>
              <a:gd name="connsiteX11-1775" fmla="*/ 970156 w 2252546"/>
              <a:gd name="connsiteY11-1776" fmla="*/ 1148576 h 1405054"/>
              <a:gd name="connsiteX12-1777" fmla="*/ 1315844 w 2252546"/>
              <a:gd name="connsiteY12-1778" fmla="*/ 1037064 h 1405054"/>
              <a:gd name="connsiteX13-1779" fmla="*/ 1405054 w 2252546"/>
              <a:gd name="connsiteY13-1780" fmla="*/ 903249 h 1405054"/>
              <a:gd name="connsiteX14-1781" fmla="*/ 1326995 w 2252546"/>
              <a:gd name="connsiteY14-1782" fmla="*/ 847493 h 1405054"/>
              <a:gd name="connsiteX15-1783" fmla="*/ 1371600 w 2252546"/>
              <a:gd name="connsiteY15-1784" fmla="*/ 747132 h 1405054"/>
              <a:gd name="connsiteX16-1785" fmla="*/ 1650380 w 2252546"/>
              <a:gd name="connsiteY16-1786" fmla="*/ 646771 h 1405054"/>
              <a:gd name="connsiteX17-1787" fmla="*/ 1650380 w 2252546"/>
              <a:gd name="connsiteY17-1788" fmla="*/ 591015 h 1405054"/>
              <a:gd name="connsiteX18-1789" fmla="*/ 1806497 w 2252546"/>
              <a:gd name="connsiteY18-1790" fmla="*/ 557561 h 1405054"/>
              <a:gd name="connsiteX19-1791" fmla="*/ 1839951 w 2252546"/>
              <a:gd name="connsiteY19-1792" fmla="*/ 579864 h 1405054"/>
              <a:gd name="connsiteX20-1793" fmla="*/ 1929161 w 2252546"/>
              <a:gd name="connsiteY20-1794" fmla="*/ 546410 h 1405054"/>
              <a:gd name="connsiteX21-1795" fmla="*/ 2241395 w 2252546"/>
              <a:gd name="connsiteY21-1796" fmla="*/ 591015 h 1405054"/>
              <a:gd name="connsiteX22-1797" fmla="*/ 2174488 w 2252546"/>
              <a:gd name="connsiteY22-1798" fmla="*/ 479503 h 1405054"/>
              <a:gd name="connsiteX23-1799" fmla="*/ 2252546 w 2252546"/>
              <a:gd name="connsiteY23-1800" fmla="*/ 434898 h 1405054"/>
              <a:gd name="connsiteX24-1801" fmla="*/ 2062976 w 2252546"/>
              <a:gd name="connsiteY24-1802" fmla="*/ 312235 h 1405054"/>
              <a:gd name="connsiteX25-1803" fmla="*/ 2062976 w 2252546"/>
              <a:gd name="connsiteY25-1804" fmla="*/ 312235 h 1405054"/>
              <a:gd name="connsiteX26-1805" fmla="*/ 2085278 w 2252546"/>
              <a:gd name="connsiteY26-1806" fmla="*/ 289932 h 1405054"/>
              <a:gd name="connsiteX27-1807" fmla="*/ 2040673 w 2252546"/>
              <a:gd name="connsiteY27-1808" fmla="*/ 189571 h 1405054"/>
              <a:gd name="connsiteX28-1809" fmla="*/ 2029522 w 2252546"/>
              <a:gd name="connsiteY28-1810" fmla="*/ 78059 h 1405054"/>
              <a:gd name="connsiteX29-1811" fmla="*/ 1862254 w 2252546"/>
              <a:gd name="connsiteY29-1812" fmla="*/ 100361 h 1405054"/>
              <a:gd name="connsiteX30-1813" fmla="*/ 1661532 w 2252546"/>
              <a:gd name="connsiteY30-1814" fmla="*/ 78059 h 1405054"/>
              <a:gd name="connsiteX31-1815" fmla="*/ 1572322 w 2252546"/>
              <a:gd name="connsiteY31-1816" fmla="*/ 156117 h 1405054"/>
              <a:gd name="connsiteX32-1817" fmla="*/ 1449658 w 2252546"/>
              <a:gd name="connsiteY32-1818" fmla="*/ 156117 h 1405054"/>
              <a:gd name="connsiteX33-1819" fmla="*/ 1550019 w 2252546"/>
              <a:gd name="connsiteY33-1820" fmla="*/ 44605 h 1405054"/>
              <a:gd name="connsiteX34-1821" fmla="*/ 1438507 w 2252546"/>
              <a:gd name="connsiteY34-1822" fmla="*/ 0 h 1405054"/>
              <a:gd name="connsiteX35-1823" fmla="*/ 1433671 w 2252546"/>
              <a:gd name="connsiteY35-1824" fmla="*/ 437229 h 1405054"/>
              <a:gd name="connsiteX36-1825" fmla="*/ 1326995 w 2252546"/>
              <a:gd name="connsiteY36-1826" fmla="*/ 122664 h 1405054"/>
              <a:gd name="connsiteX37-1827" fmla="*/ 1311312 w 2252546"/>
              <a:gd name="connsiteY37-1828" fmla="*/ 487630 h 1405054"/>
              <a:gd name="connsiteX38-1829" fmla="*/ 1240170 w 2252546"/>
              <a:gd name="connsiteY38-1830" fmla="*/ 468487 h 1405054"/>
              <a:gd name="connsiteX39-1831" fmla="*/ 1181596 w 2252546"/>
              <a:gd name="connsiteY39-1832" fmla="*/ 409716 h 1405054"/>
              <a:gd name="connsiteX40-1833" fmla="*/ 1025807 w 2252546"/>
              <a:gd name="connsiteY40-1834" fmla="*/ 409716 h 1405054"/>
              <a:gd name="connsiteX41-1835" fmla="*/ 1094554 w 2252546"/>
              <a:gd name="connsiteY41-1836" fmla="*/ 724206 h 1405054"/>
              <a:gd name="connsiteX42-1837" fmla="*/ 981307 w 2252546"/>
              <a:gd name="connsiteY42-1838" fmla="*/ 778586 h 1405054"/>
              <a:gd name="connsiteX43-1839" fmla="*/ 944234 w 2252546"/>
              <a:gd name="connsiteY43-1840" fmla="*/ 675819 h 1405054"/>
              <a:gd name="connsiteX44-1841" fmla="*/ 858644 w 2252546"/>
              <a:gd name="connsiteY44-1842" fmla="*/ 356839 h 1405054"/>
              <a:gd name="connsiteX45-1843" fmla="*/ 858705 w 2252546"/>
              <a:gd name="connsiteY45-1844" fmla="*/ 489028 h 1405054"/>
              <a:gd name="connsiteX46-1845" fmla="*/ 852237 w 2252546"/>
              <a:gd name="connsiteY46-1846" fmla="*/ 545538 h 1405054"/>
              <a:gd name="connsiteX47-1847" fmla="*/ 858644 w 2252546"/>
              <a:gd name="connsiteY47-1848" fmla="*/ 731687 h 1405054"/>
              <a:gd name="connsiteX48-1849" fmla="*/ 624468 w 2252546"/>
              <a:gd name="connsiteY48-1850" fmla="*/ 189571 h 1405054"/>
              <a:gd name="connsiteX49-1851" fmla="*/ 524107 w 2252546"/>
              <a:gd name="connsiteY49-1852" fmla="*/ 111513 h 1405054"/>
              <a:gd name="connsiteX50-1853" fmla="*/ 412595 w 2252546"/>
              <a:gd name="connsiteY50-1854" fmla="*/ 144966 h 1405054"/>
              <a:gd name="connsiteX51-1855" fmla="*/ 490654 w 2252546"/>
              <a:gd name="connsiteY51-1856" fmla="*/ 267630 h 1405054"/>
              <a:gd name="connsiteX52-1857" fmla="*/ 591015 w 2252546"/>
              <a:gd name="connsiteY52-1858" fmla="*/ 367991 h 1405054"/>
              <a:gd name="connsiteX53-1859" fmla="*/ 446049 w 2252546"/>
              <a:gd name="connsiteY53-1860" fmla="*/ 367991 h 1405054"/>
              <a:gd name="connsiteX54-1861" fmla="*/ 289932 w 2252546"/>
              <a:gd name="connsiteY54-1862" fmla="*/ 367991 h 1405054"/>
              <a:gd name="connsiteX55-1863" fmla="*/ 234176 w 2252546"/>
              <a:gd name="connsiteY55-1864" fmla="*/ 434898 h 1405054"/>
              <a:gd name="connsiteX56-1865" fmla="*/ 234176 w 2252546"/>
              <a:gd name="connsiteY56-1866" fmla="*/ 512956 h 1405054"/>
              <a:gd name="connsiteX57-1867" fmla="*/ 256478 w 2252546"/>
              <a:gd name="connsiteY57-1868" fmla="*/ 624469 h 1405054"/>
              <a:gd name="connsiteX58-1869" fmla="*/ 178419 w 2252546"/>
              <a:gd name="connsiteY58-1870" fmla="*/ 702527 h 1405054"/>
              <a:gd name="connsiteX59-1871" fmla="*/ 189571 w 2252546"/>
              <a:gd name="connsiteY59-1872" fmla="*/ 769435 h 1405054"/>
              <a:gd name="connsiteX60-1873" fmla="*/ 78058 w 2252546"/>
              <a:gd name="connsiteY60-1874" fmla="*/ 802888 h 1405054"/>
              <a:gd name="connsiteX61" fmla="*/ 0 w 2252546"/>
              <a:gd name="connsiteY61" fmla="*/ 880947 h 1405054"/>
              <a:gd name="connsiteX0-1875" fmla="*/ 0 w 2252546"/>
              <a:gd name="connsiteY0-1876" fmla="*/ 880947 h 1405054"/>
              <a:gd name="connsiteX1-1877" fmla="*/ 100361 w 2252546"/>
              <a:gd name="connsiteY1-1878" fmla="*/ 1025913 h 1405054"/>
              <a:gd name="connsiteX2-1879" fmla="*/ 89210 w 2252546"/>
              <a:gd name="connsiteY2-1880" fmla="*/ 1126274 h 1405054"/>
              <a:gd name="connsiteX3-1881" fmla="*/ 144966 w 2252546"/>
              <a:gd name="connsiteY3-1882" fmla="*/ 1148576 h 1405054"/>
              <a:gd name="connsiteX4-1883" fmla="*/ 156117 w 2252546"/>
              <a:gd name="connsiteY4-1884" fmla="*/ 1059366 h 1405054"/>
              <a:gd name="connsiteX5-1885" fmla="*/ 267629 w 2252546"/>
              <a:gd name="connsiteY5-1886" fmla="*/ 1081669 h 1405054"/>
              <a:gd name="connsiteX6-1887" fmla="*/ 401444 w 2252546"/>
              <a:gd name="connsiteY6-1888" fmla="*/ 1048215 h 1405054"/>
              <a:gd name="connsiteX7-1889" fmla="*/ 479502 w 2252546"/>
              <a:gd name="connsiteY7-1890" fmla="*/ 1226635 h 1405054"/>
              <a:gd name="connsiteX8-1891" fmla="*/ 479502 w 2252546"/>
              <a:gd name="connsiteY8-1892" fmla="*/ 1360449 h 1405054"/>
              <a:gd name="connsiteX9-1893" fmla="*/ 669073 w 2252546"/>
              <a:gd name="connsiteY9-1894" fmla="*/ 1382752 h 1405054"/>
              <a:gd name="connsiteX10-1895" fmla="*/ 713678 w 2252546"/>
              <a:gd name="connsiteY10-1896" fmla="*/ 1405054 h 1405054"/>
              <a:gd name="connsiteX11-1897" fmla="*/ 970156 w 2252546"/>
              <a:gd name="connsiteY11-1898" fmla="*/ 1148576 h 1405054"/>
              <a:gd name="connsiteX12-1899" fmla="*/ 1315844 w 2252546"/>
              <a:gd name="connsiteY12-1900" fmla="*/ 1037064 h 1405054"/>
              <a:gd name="connsiteX13-1901" fmla="*/ 1405054 w 2252546"/>
              <a:gd name="connsiteY13-1902" fmla="*/ 903249 h 1405054"/>
              <a:gd name="connsiteX14-1903" fmla="*/ 1326995 w 2252546"/>
              <a:gd name="connsiteY14-1904" fmla="*/ 847493 h 1405054"/>
              <a:gd name="connsiteX15-1905" fmla="*/ 1371600 w 2252546"/>
              <a:gd name="connsiteY15-1906" fmla="*/ 747132 h 1405054"/>
              <a:gd name="connsiteX16-1907" fmla="*/ 1650380 w 2252546"/>
              <a:gd name="connsiteY16-1908" fmla="*/ 646771 h 1405054"/>
              <a:gd name="connsiteX17-1909" fmla="*/ 1650380 w 2252546"/>
              <a:gd name="connsiteY17-1910" fmla="*/ 591015 h 1405054"/>
              <a:gd name="connsiteX18-1911" fmla="*/ 1806497 w 2252546"/>
              <a:gd name="connsiteY18-1912" fmla="*/ 557561 h 1405054"/>
              <a:gd name="connsiteX19-1913" fmla="*/ 1839951 w 2252546"/>
              <a:gd name="connsiteY19-1914" fmla="*/ 579864 h 1405054"/>
              <a:gd name="connsiteX20-1915" fmla="*/ 1929161 w 2252546"/>
              <a:gd name="connsiteY20-1916" fmla="*/ 546410 h 1405054"/>
              <a:gd name="connsiteX21-1917" fmla="*/ 2241395 w 2252546"/>
              <a:gd name="connsiteY21-1918" fmla="*/ 591015 h 1405054"/>
              <a:gd name="connsiteX22-1919" fmla="*/ 2174488 w 2252546"/>
              <a:gd name="connsiteY22-1920" fmla="*/ 479503 h 1405054"/>
              <a:gd name="connsiteX23-1921" fmla="*/ 2252546 w 2252546"/>
              <a:gd name="connsiteY23-1922" fmla="*/ 434898 h 1405054"/>
              <a:gd name="connsiteX24-1923" fmla="*/ 2062976 w 2252546"/>
              <a:gd name="connsiteY24-1924" fmla="*/ 312235 h 1405054"/>
              <a:gd name="connsiteX25-1925" fmla="*/ 2062976 w 2252546"/>
              <a:gd name="connsiteY25-1926" fmla="*/ 312235 h 1405054"/>
              <a:gd name="connsiteX26-1927" fmla="*/ 2085278 w 2252546"/>
              <a:gd name="connsiteY26-1928" fmla="*/ 289932 h 1405054"/>
              <a:gd name="connsiteX27-1929" fmla="*/ 2040673 w 2252546"/>
              <a:gd name="connsiteY27-1930" fmla="*/ 189571 h 1405054"/>
              <a:gd name="connsiteX28-1931" fmla="*/ 2029522 w 2252546"/>
              <a:gd name="connsiteY28-1932" fmla="*/ 78059 h 1405054"/>
              <a:gd name="connsiteX29-1933" fmla="*/ 1862254 w 2252546"/>
              <a:gd name="connsiteY29-1934" fmla="*/ 100361 h 1405054"/>
              <a:gd name="connsiteX30-1935" fmla="*/ 1661532 w 2252546"/>
              <a:gd name="connsiteY30-1936" fmla="*/ 78059 h 1405054"/>
              <a:gd name="connsiteX31-1937" fmla="*/ 1572322 w 2252546"/>
              <a:gd name="connsiteY31-1938" fmla="*/ 156117 h 1405054"/>
              <a:gd name="connsiteX32-1939" fmla="*/ 1449658 w 2252546"/>
              <a:gd name="connsiteY32-1940" fmla="*/ 156117 h 1405054"/>
              <a:gd name="connsiteX33-1941" fmla="*/ 1550019 w 2252546"/>
              <a:gd name="connsiteY33-1942" fmla="*/ 44605 h 1405054"/>
              <a:gd name="connsiteX34-1943" fmla="*/ 1438507 w 2252546"/>
              <a:gd name="connsiteY34-1944" fmla="*/ 0 h 1405054"/>
              <a:gd name="connsiteX35-1945" fmla="*/ 1433671 w 2252546"/>
              <a:gd name="connsiteY35-1946" fmla="*/ 437229 h 1405054"/>
              <a:gd name="connsiteX36-1947" fmla="*/ 1326995 w 2252546"/>
              <a:gd name="connsiteY36-1948" fmla="*/ 122664 h 1405054"/>
              <a:gd name="connsiteX37-1949" fmla="*/ 1311312 w 2252546"/>
              <a:gd name="connsiteY37-1950" fmla="*/ 487630 h 1405054"/>
              <a:gd name="connsiteX38-1951" fmla="*/ 1240170 w 2252546"/>
              <a:gd name="connsiteY38-1952" fmla="*/ 468487 h 1405054"/>
              <a:gd name="connsiteX39-1953" fmla="*/ 1181596 w 2252546"/>
              <a:gd name="connsiteY39-1954" fmla="*/ 409716 h 1405054"/>
              <a:gd name="connsiteX40-1955" fmla="*/ 1025807 w 2252546"/>
              <a:gd name="connsiteY40-1956" fmla="*/ 409716 h 1405054"/>
              <a:gd name="connsiteX41-1957" fmla="*/ 1094554 w 2252546"/>
              <a:gd name="connsiteY41-1958" fmla="*/ 724206 h 1405054"/>
              <a:gd name="connsiteX42-1959" fmla="*/ 981307 w 2252546"/>
              <a:gd name="connsiteY42-1960" fmla="*/ 778586 h 1405054"/>
              <a:gd name="connsiteX43-1961" fmla="*/ 944234 w 2252546"/>
              <a:gd name="connsiteY43-1962" fmla="*/ 675819 h 1405054"/>
              <a:gd name="connsiteX44-1963" fmla="*/ 858644 w 2252546"/>
              <a:gd name="connsiteY44-1964" fmla="*/ 356839 h 1405054"/>
              <a:gd name="connsiteX45-1965" fmla="*/ 858705 w 2252546"/>
              <a:gd name="connsiteY45-1966" fmla="*/ 489028 h 1405054"/>
              <a:gd name="connsiteX46-1967" fmla="*/ 852237 w 2252546"/>
              <a:gd name="connsiteY46-1968" fmla="*/ 545538 h 1405054"/>
              <a:gd name="connsiteX47-1969" fmla="*/ 858644 w 2252546"/>
              <a:gd name="connsiteY47-1970" fmla="*/ 731687 h 1405054"/>
              <a:gd name="connsiteX48-1971" fmla="*/ 624468 w 2252546"/>
              <a:gd name="connsiteY48-1972" fmla="*/ 189571 h 1405054"/>
              <a:gd name="connsiteX49-1973" fmla="*/ 659501 w 2252546"/>
              <a:gd name="connsiteY49-1974" fmla="*/ 798752 h 1405054"/>
              <a:gd name="connsiteX50-1975" fmla="*/ 412595 w 2252546"/>
              <a:gd name="connsiteY50-1976" fmla="*/ 144966 h 1405054"/>
              <a:gd name="connsiteX51-1977" fmla="*/ 490654 w 2252546"/>
              <a:gd name="connsiteY51-1978" fmla="*/ 267630 h 1405054"/>
              <a:gd name="connsiteX52-1979" fmla="*/ 591015 w 2252546"/>
              <a:gd name="connsiteY52-1980" fmla="*/ 367991 h 1405054"/>
              <a:gd name="connsiteX53-1981" fmla="*/ 446049 w 2252546"/>
              <a:gd name="connsiteY53-1982" fmla="*/ 367991 h 1405054"/>
              <a:gd name="connsiteX54-1983" fmla="*/ 289932 w 2252546"/>
              <a:gd name="connsiteY54-1984" fmla="*/ 367991 h 1405054"/>
              <a:gd name="connsiteX55-1985" fmla="*/ 234176 w 2252546"/>
              <a:gd name="connsiteY55-1986" fmla="*/ 434898 h 1405054"/>
              <a:gd name="connsiteX56-1987" fmla="*/ 234176 w 2252546"/>
              <a:gd name="connsiteY56-1988" fmla="*/ 512956 h 1405054"/>
              <a:gd name="connsiteX57-1989" fmla="*/ 256478 w 2252546"/>
              <a:gd name="connsiteY57-1990" fmla="*/ 624469 h 1405054"/>
              <a:gd name="connsiteX58-1991" fmla="*/ 178419 w 2252546"/>
              <a:gd name="connsiteY58-1992" fmla="*/ 702527 h 1405054"/>
              <a:gd name="connsiteX59-1993" fmla="*/ 189571 w 2252546"/>
              <a:gd name="connsiteY59-1994" fmla="*/ 769435 h 1405054"/>
              <a:gd name="connsiteX60-1995" fmla="*/ 78058 w 2252546"/>
              <a:gd name="connsiteY60-1996" fmla="*/ 802888 h 1405054"/>
              <a:gd name="connsiteX61-1997" fmla="*/ 0 w 2252546"/>
              <a:gd name="connsiteY61-1998" fmla="*/ 880947 h 1405054"/>
              <a:gd name="connsiteX0-1999" fmla="*/ 0 w 2252546"/>
              <a:gd name="connsiteY0-2000" fmla="*/ 880947 h 1405054"/>
              <a:gd name="connsiteX1-2001" fmla="*/ 100361 w 2252546"/>
              <a:gd name="connsiteY1-2002" fmla="*/ 1025913 h 1405054"/>
              <a:gd name="connsiteX2-2003" fmla="*/ 89210 w 2252546"/>
              <a:gd name="connsiteY2-2004" fmla="*/ 1126274 h 1405054"/>
              <a:gd name="connsiteX3-2005" fmla="*/ 144966 w 2252546"/>
              <a:gd name="connsiteY3-2006" fmla="*/ 1148576 h 1405054"/>
              <a:gd name="connsiteX4-2007" fmla="*/ 156117 w 2252546"/>
              <a:gd name="connsiteY4-2008" fmla="*/ 1059366 h 1405054"/>
              <a:gd name="connsiteX5-2009" fmla="*/ 267629 w 2252546"/>
              <a:gd name="connsiteY5-2010" fmla="*/ 1081669 h 1405054"/>
              <a:gd name="connsiteX6-2011" fmla="*/ 401444 w 2252546"/>
              <a:gd name="connsiteY6-2012" fmla="*/ 1048215 h 1405054"/>
              <a:gd name="connsiteX7-2013" fmla="*/ 479502 w 2252546"/>
              <a:gd name="connsiteY7-2014" fmla="*/ 1226635 h 1405054"/>
              <a:gd name="connsiteX8-2015" fmla="*/ 479502 w 2252546"/>
              <a:gd name="connsiteY8-2016" fmla="*/ 1360449 h 1405054"/>
              <a:gd name="connsiteX9-2017" fmla="*/ 669073 w 2252546"/>
              <a:gd name="connsiteY9-2018" fmla="*/ 1382752 h 1405054"/>
              <a:gd name="connsiteX10-2019" fmla="*/ 713678 w 2252546"/>
              <a:gd name="connsiteY10-2020" fmla="*/ 1405054 h 1405054"/>
              <a:gd name="connsiteX11-2021" fmla="*/ 970156 w 2252546"/>
              <a:gd name="connsiteY11-2022" fmla="*/ 1148576 h 1405054"/>
              <a:gd name="connsiteX12-2023" fmla="*/ 1315844 w 2252546"/>
              <a:gd name="connsiteY12-2024" fmla="*/ 1037064 h 1405054"/>
              <a:gd name="connsiteX13-2025" fmla="*/ 1405054 w 2252546"/>
              <a:gd name="connsiteY13-2026" fmla="*/ 903249 h 1405054"/>
              <a:gd name="connsiteX14-2027" fmla="*/ 1326995 w 2252546"/>
              <a:gd name="connsiteY14-2028" fmla="*/ 847493 h 1405054"/>
              <a:gd name="connsiteX15-2029" fmla="*/ 1371600 w 2252546"/>
              <a:gd name="connsiteY15-2030" fmla="*/ 747132 h 1405054"/>
              <a:gd name="connsiteX16-2031" fmla="*/ 1650380 w 2252546"/>
              <a:gd name="connsiteY16-2032" fmla="*/ 646771 h 1405054"/>
              <a:gd name="connsiteX17-2033" fmla="*/ 1650380 w 2252546"/>
              <a:gd name="connsiteY17-2034" fmla="*/ 591015 h 1405054"/>
              <a:gd name="connsiteX18-2035" fmla="*/ 1806497 w 2252546"/>
              <a:gd name="connsiteY18-2036" fmla="*/ 557561 h 1405054"/>
              <a:gd name="connsiteX19-2037" fmla="*/ 1839951 w 2252546"/>
              <a:gd name="connsiteY19-2038" fmla="*/ 579864 h 1405054"/>
              <a:gd name="connsiteX20-2039" fmla="*/ 1929161 w 2252546"/>
              <a:gd name="connsiteY20-2040" fmla="*/ 546410 h 1405054"/>
              <a:gd name="connsiteX21-2041" fmla="*/ 2241395 w 2252546"/>
              <a:gd name="connsiteY21-2042" fmla="*/ 591015 h 1405054"/>
              <a:gd name="connsiteX22-2043" fmla="*/ 2174488 w 2252546"/>
              <a:gd name="connsiteY22-2044" fmla="*/ 479503 h 1405054"/>
              <a:gd name="connsiteX23-2045" fmla="*/ 2252546 w 2252546"/>
              <a:gd name="connsiteY23-2046" fmla="*/ 434898 h 1405054"/>
              <a:gd name="connsiteX24-2047" fmla="*/ 2062976 w 2252546"/>
              <a:gd name="connsiteY24-2048" fmla="*/ 312235 h 1405054"/>
              <a:gd name="connsiteX25-2049" fmla="*/ 2062976 w 2252546"/>
              <a:gd name="connsiteY25-2050" fmla="*/ 312235 h 1405054"/>
              <a:gd name="connsiteX26-2051" fmla="*/ 2085278 w 2252546"/>
              <a:gd name="connsiteY26-2052" fmla="*/ 289932 h 1405054"/>
              <a:gd name="connsiteX27-2053" fmla="*/ 2040673 w 2252546"/>
              <a:gd name="connsiteY27-2054" fmla="*/ 189571 h 1405054"/>
              <a:gd name="connsiteX28-2055" fmla="*/ 2029522 w 2252546"/>
              <a:gd name="connsiteY28-2056" fmla="*/ 78059 h 1405054"/>
              <a:gd name="connsiteX29-2057" fmla="*/ 1862254 w 2252546"/>
              <a:gd name="connsiteY29-2058" fmla="*/ 100361 h 1405054"/>
              <a:gd name="connsiteX30-2059" fmla="*/ 1661532 w 2252546"/>
              <a:gd name="connsiteY30-2060" fmla="*/ 78059 h 1405054"/>
              <a:gd name="connsiteX31-2061" fmla="*/ 1572322 w 2252546"/>
              <a:gd name="connsiteY31-2062" fmla="*/ 156117 h 1405054"/>
              <a:gd name="connsiteX32-2063" fmla="*/ 1449658 w 2252546"/>
              <a:gd name="connsiteY32-2064" fmla="*/ 156117 h 1405054"/>
              <a:gd name="connsiteX33-2065" fmla="*/ 1550019 w 2252546"/>
              <a:gd name="connsiteY33-2066" fmla="*/ 44605 h 1405054"/>
              <a:gd name="connsiteX34-2067" fmla="*/ 1438507 w 2252546"/>
              <a:gd name="connsiteY34-2068" fmla="*/ 0 h 1405054"/>
              <a:gd name="connsiteX35-2069" fmla="*/ 1433671 w 2252546"/>
              <a:gd name="connsiteY35-2070" fmla="*/ 437229 h 1405054"/>
              <a:gd name="connsiteX36-2071" fmla="*/ 1326995 w 2252546"/>
              <a:gd name="connsiteY36-2072" fmla="*/ 122664 h 1405054"/>
              <a:gd name="connsiteX37-2073" fmla="*/ 1311312 w 2252546"/>
              <a:gd name="connsiteY37-2074" fmla="*/ 487630 h 1405054"/>
              <a:gd name="connsiteX38-2075" fmla="*/ 1240170 w 2252546"/>
              <a:gd name="connsiteY38-2076" fmla="*/ 468487 h 1405054"/>
              <a:gd name="connsiteX39-2077" fmla="*/ 1181596 w 2252546"/>
              <a:gd name="connsiteY39-2078" fmla="*/ 409716 h 1405054"/>
              <a:gd name="connsiteX40-2079" fmla="*/ 1025807 w 2252546"/>
              <a:gd name="connsiteY40-2080" fmla="*/ 409716 h 1405054"/>
              <a:gd name="connsiteX41-2081" fmla="*/ 1094554 w 2252546"/>
              <a:gd name="connsiteY41-2082" fmla="*/ 724206 h 1405054"/>
              <a:gd name="connsiteX42-2083" fmla="*/ 981307 w 2252546"/>
              <a:gd name="connsiteY42-2084" fmla="*/ 778586 h 1405054"/>
              <a:gd name="connsiteX43-2085" fmla="*/ 944234 w 2252546"/>
              <a:gd name="connsiteY43-2086" fmla="*/ 675819 h 1405054"/>
              <a:gd name="connsiteX44-2087" fmla="*/ 858644 w 2252546"/>
              <a:gd name="connsiteY44-2088" fmla="*/ 356839 h 1405054"/>
              <a:gd name="connsiteX45-2089" fmla="*/ 858705 w 2252546"/>
              <a:gd name="connsiteY45-2090" fmla="*/ 489028 h 1405054"/>
              <a:gd name="connsiteX46-2091" fmla="*/ 852237 w 2252546"/>
              <a:gd name="connsiteY46-2092" fmla="*/ 545538 h 1405054"/>
              <a:gd name="connsiteX47-2093" fmla="*/ 858644 w 2252546"/>
              <a:gd name="connsiteY47-2094" fmla="*/ 731687 h 1405054"/>
              <a:gd name="connsiteX48-2095" fmla="*/ 624468 w 2252546"/>
              <a:gd name="connsiteY48-2096" fmla="*/ 814331 h 1405054"/>
              <a:gd name="connsiteX49-2097" fmla="*/ 659501 w 2252546"/>
              <a:gd name="connsiteY49-2098" fmla="*/ 798752 h 1405054"/>
              <a:gd name="connsiteX50-2099" fmla="*/ 412595 w 2252546"/>
              <a:gd name="connsiteY50-2100" fmla="*/ 144966 h 1405054"/>
              <a:gd name="connsiteX51-2101" fmla="*/ 490654 w 2252546"/>
              <a:gd name="connsiteY51-2102" fmla="*/ 267630 h 1405054"/>
              <a:gd name="connsiteX52-2103" fmla="*/ 591015 w 2252546"/>
              <a:gd name="connsiteY52-2104" fmla="*/ 367991 h 1405054"/>
              <a:gd name="connsiteX53-2105" fmla="*/ 446049 w 2252546"/>
              <a:gd name="connsiteY53-2106" fmla="*/ 367991 h 1405054"/>
              <a:gd name="connsiteX54-2107" fmla="*/ 289932 w 2252546"/>
              <a:gd name="connsiteY54-2108" fmla="*/ 367991 h 1405054"/>
              <a:gd name="connsiteX55-2109" fmla="*/ 234176 w 2252546"/>
              <a:gd name="connsiteY55-2110" fmla="*/ 434898 h 1405054"/>
              <a:gd name="connsiteX56-2111" fmla="*/ 234176 w 2252546"/>
              <a:gd name="connsiteY56-2112" fmla="*/ 512956 h 1405054"/>
              <a:gd name="connsiteX57-2113" fmla="*/ 256478 w 2252546"/>
              <a:gd name="connsiteY57-2114" fmla="*/ 624469 h 1405054"/>
              <a:gd name="connsiteX58-2115" fmla="*/ 178419 w 2252546"/>
              <a:gd name="connsiteY58-2116" fmla="*/ 702527 h 1405054"/>
              <a:gd name="connsiteX59-2117" fmla="*/ 189571 w 2252546"/>
              <a:gd name="connsiteY59-2118" fmla="*/ 769435 h 1405054"/>
              <a:gd name="connsiteX60-2119" fmla="*/ 78058 w 2252546"/>
              <a:gd name="connsiteY60-2120" fmla="*/ 802888 h 1405054"/>
              <a:gd name="connsiteX61-2121" fmla="*/ 0 w 2252546"/>
              <a:gd name="connsiteY61-2122" fmla="*/ 880947 h 1405054"/>
              <a:gd name="connsiteX0-2123" fmla="*/ 0 w 2252546"/>
              <a:gd name="connsiteY0-2124" fmla="*/ 880947 h 1405054"/>
              <a:gd name="connsiteX1-2125" fmla="*/ 100361 w 2252546"/>
              <a:gd name="connsiteY1-2126" fmla="*/ 1025913 h 1405054"/>
              <a:gd name="connsiteX2-2127" fmla="*/ 89210 w 2252546"/>
              <a:gd name="connsiteY2-2128" fmla="*/ 1126274 h 1405054"/>
              <a:gd name="connsiteX3-2129" fmla="*/ 144966 w 2252546"/>
              <a:gd name="connsiteY3-2130" fmla="*/ 1148576 h 1405054"/>
              <a:gd name="connsiteX4-2131" fmla="*/ 156117 w 2252546"/>
              <a:gd name="connsiteY4-2132" fmla="*/ 1059366 h 1405054"/>
              <a:gd name="connsiteX5-2133" fmla="*/ 267629 w 2252546"/>
              <a:gd name="connsiteY5-2134" fmla="*/ 1081669 h 1405054"/>
              <a:gd name="connsiteX6-2135" fmla="*/ 401444 w 2252546"/>
              <a:gd name="connsiteY6-2136" fmla="*/ 1048215 h 1405054"/>
              <a:gd name="connsiteX7-2137" fmla="*/ 479502 w 2252546"/>
              <a:gd name="connsiteY7-2138" fmla="*/ 1226635 h 1405054"/>
              <a:gd name="connsiteX8-2139" fmla="*/ 479502 w 2252546"/>
              <a:gd name="connsiteY8-2140" fmla="*/ 1360449 h 1405054"/>
              <a:gd name="connsiteX9-2141" fmla="*/ 669073 w 2252546"/>
              <a:gd name="connsiteY9-2142" fmla="*/ 1382752 h 1405054"/>
              <a:gd name="connsiteX10-2143" fmla="*/ 713678 w 2252546"/>
              <a:gd name="connsiteY10-2144" fmla="*/ 1405054 h 1405054"/>
              <a:gd name="connsiteX11-2145" fmla="*/ 970156 w 2252546"/>
              <a:gd name="connsiteY11-2146" fmla="*/ 1148576 h 1405054"/>
              <a:gd name="connsiteX12-2147" fmla="*/ 1315844 w 2252546"/>
              <a:gd name="connsiteY12-2148" fmla="*/ 1037064 h 1405054"/>
              <a:gd name="connsiteX13-2149" fmla="*/ 1405054 w 2252546"/>
              <a:gd name="connsiteY13-2150" fmla="*/ 903249 h 1405054"/>
              <a:gd name="connsiteX14-2151" fmla="*/ 1326995 w 2252546"/>
              <a:gd name="connsiteY14-2152" fmla="*/ 847493 h 1405054"/>
              <a:gd name="connsiteX15-2153" fmla="*/ 1371600 w 2252546"/>
              <a:gd name="connsiteY15-2154" fmla="*/ 747132 h 1405054"/>
              <a:gd name="connsiteX16-2155" fmla="*/ 1650380 w 2252546"/>
              <a:gd name="connsiteY16-2156" fmla="*/ 646771 h 1405054"/>
              <a:gd name="connsiteX17-2157" fmla="*/ 1650380 w 2252546"/>
              <a:gd name="connsiteY17-2158" fmla="*/ 591015 h 1405054"/>
              <a:gd name="connsiteX18-2159" fmla="*/ 1806497 w 2252546"/>
              <a:gd name="connsiteY18-2160" fmla="*/ 557561 h 1405054"/>
              <a:gd name="connsiteX19-2161" fmla="*/ 1839951 w 2252546"/>
              <a:gd name="connsiteY19-2162" fmla="*/ 579864 h 1405054"/>
              <a:gd name="connsiteX20-2163" fmla="*/ 1929161 w 2252546"/>
              <a:gd name="connsiteY20-2164" fmla="*/ 546410 h 1405054"/>
              <a:gd name="connsiteX21-2165" fmla="*/ 2241395 w 2252546"/>
              <a:gd name="connsiteY21-2166" fmla="*/ 591015 h 1405054"/>
              <a:gd name="connsiteX22-2167" fmla="*/ 2174488 w 2252546"/>
              <a:gd name="connsiteY22-2168" fmla="*/ 479503 h 1405054"/>
              <a:gd name="connsiteX23-2169" fmla="*/ 2252546 w 2252546"/>
              <a:gd name="connsiteY23-2170" fmla="*/ 434898 h 1405054"/>
              <a:gd name="connsiteX24-2171" fmla="*/ 2062976 w 2252546"/>
              <a:gd name="connsiteY24-2172" fmla="*/ 312235 h 1405054"/>
              <a:gd name="connsiteX25-2173" fmla="*/ 2062976 w 2252546"/>
              <a:gd name="connsiteY25-2174" fmla="*/ 312235 h 1405054"/>
              <a:gd name="connsiteX26-2175" fmla="*/ 2085278 w 2252546"/>
              <a:gd name="connsiteY26-2176" fmla="*/ 289932 h 1405054"/>
              <a:gd name="connsiteX27-2177" fmla="*/ 2040673 w 2252546"/>
              <a:gd name="connsiteY27-2178" fmla="*/ 189571 h 1405054"/>
              <a:gd name="connsiteX28-2179" fmla="*/ 2029522 w 2252546"/>
              <a:gd name="connsiteY28-2180" fmla="*/ 78059 h 1405054"/>
              <a:gd name="connsiteX29-2181" fmla="*/ 1862254 w 2252546"/>
              <a:gd name="connsiteY29-2182" fmla="*/ 100361 h 1405054"/>
              <a:gd name="connsiteX30-2183" fmla="*/ 1661532 w 2252546"/>
              <a:gd name="connsiteY30-2184" fmla="*/ 78059 h 1405054"/>
              <a:gd name="connsiteX31-2185" fmla="*/ 1572322 w 2252546"/>
              <a:gd name="connsiteY31-2186" fmla="*/ 156117 h 1405054"/>
              <a:gd name="connsiteX32-2187" fmla="*/ 1449658 w 2252546"/>
              <a:gd name="connsiteY32-2188" fmla="*/ 156117 h 1405054"/>
              <a:gd name="connsiteX33-2189" fmla="*/ 1550019 w 2252546"/>
              <a:gd name="connsiteY33-2190" fmla="*/ 44605 h 1405054"/>
              <a:gd name="connsiteX34-2191" fmla="*/ 1438507 w 2252546"/>
              <a:gd name="connsiteY34-2192" fmla="*/ 0 h 1405054"/>
              <a:gd name="connsiteX35-2193" fmla="*/ 1433671 w 2252546"/>
              <a:gd name="connsiteY35-2194" fmla="*/ 437229 h 1405054"/>
              <a:gd name="connsiteX36-2195" fmla="*/ 1326995 w 2252546"/>
              <a:gd name="connsiteY36-2196" fmla="*/ 122664 h 1405054"/>
              <a:gd name="connsiteX37-2197" fmla="*/ 1311312 w 2252546"/>
              <a:gd name="connsiteY37-2198" fmla="*/ 487630 h 1405054"/>
              <a:gd name="connsiteX38-2199" fmla="*/ 1240170 w 2252546"/>
              <a:gd name="connsiteY38-2200" fmla="*/ 468487 h 1405054"/>
              <a:gd name="connsiteX39-2201" fmla="*/ 1181596 w 2252546"/>
              <a:gd name="connsiteY39-2202" fmla="*/ 409716 h 1405054"/>
              <a:gd name="connsiteX40-2203" fmla="*/ 1025807 w 2252546"/>
              <a:gd name="connsiteY40-2204" fmla="*/ 409716 h 1405054"/>
              <a:gd name="connsiteX41-2205" fmla="*/ 1094554 w 2252546"/>
              <a:gd name="connsiteY41-2206" fmla="*/ 724206 h 1405054"/>
              <a:gd name="connsiteX42-2207" fmla="*/ 981307 w 2252546"/>
              <a:gd name="connsiteY42-2208" fmla="*/ 778586 h 1405054"/>
              <a:gd name="connsiteX43-2209" fmla="*/ 944234 w 2252546"/>
              <a:gd name="connsiteY43-2210" fmla="*/ 675819 h 1405054"/>
              <a:gd name="connsiteX44-2211" fmla="*/ 858644 w 2252546"/>
              <a:gd name="connsiteY44-2212" fmla="*/ 356839 h 1405054"/>
              <a:gd name="connsiteX45-2213" fmla="*/ 858705 w 2252546"/>
              <a:gd name="connsiteY45-2214" fmla="*/ 489028 h 1405054"/>
              <a:gd name="connsiteX46-2215" fmla="*/ 852237 w 2252546"/>
              <a:gd name="connsiteY46-2216" fmla="*/ 545538 h 1405054"/>
              <a:gd name="connsiteX47-2217" fmla="*/ 858644 w 2252546"/>
              <a:gd name="connsiteY47-2218" fmla="*/ 731687 h 1405054"/>
              <a:gd name="connsiteX48-2219" fmla="*/ 624468 w 2252546"/>
              <a:gd name="connsiteY48-2220" fmla="*/ 814331 h 1405054"/>
              <a:gd name="connsiteX49-2221" fmla="*/ 659501 w 2252546"/>
              <a:gd name="connsiteY49-2222" fmla="*/ 798752 h 1405054"/>
              <a:gd name="connsiteX50-2223" fmla="*/ 412595 w 2252546"/>
              <a:gd name="connsiteY50-2224" fmla="*/ 144966 h 1405054"/>
              <a:gd name="connsiteX51-2225" fmla="*/ 490654 w 2252546"/>
              <a:gd name="connsiteY51-2226" fmla="*/ 267630 h 1405054"/>
              <a:gd name="connsiteX52-2227" fmla="*/ 591015 w 2252546"/>
              <a:gd name="connsiteY52-2228" fmla="*/ 367991 h 1405054"/>
              <a:gd name="connsiteX53-2229" fmla="*/ 446049 w 2252546"/>
              <a:gd name="connsiteY53-2230" fmla="*/ 367991 h 1405054"/>
              <a:gd name="connsiteX54-2231" fmla="*/ 289932 w 2252546"/>
              <a:gd name="connsiteY54-2232" fmla="*/ 367991 h 1405054"/>
              <a:gd name="connsiteX55-2233" fmla="*/ 234176 w 2252546"/>
              <a:gd name="connsiteY55-2234" fmla="*/ 434898 h 1405054"/>
              <a:gd name="connsiteX56-2235" fmla="*/ 234176 w 2252546"/>
              <a:gd name="connsiteY56-2236" fmla="*/ 512956 h 1405054"/>
              <a:gd name="connsiteX57-2237" fmla="*/ 256478 w 2252546"/>
              <a:gd name="connsiteY57-2238" fmla="*/ 624469 h 1405054"/>
              <a:gd name="connsiteX58-2239" fmla="*/ 178419 w 2252546"/>
              <a:gd name="connsiteY58-2240" fmla="*/ 702527 h 1405054"/>
              <a:gd name="connsiteX59-2241" fmla="*/ 189571 w 2252546"/>
              <a:gd name="connsiteY59-2242" fmla="*/ 769435 h 1405054"/>
              <a:gd name="connsiteX60-2243" fmla="*/ 78058 w 2252546"/>
              <a:gd name="connsiteY60-2244" fmla="*/ 802888 h 1405054"/>
              <a:gd name="connsiteX61-2245" fmla="*/ 0 w 2252546"/>
              <a:gd name="connsiteY61-2246" fmla="*/ 880947 h 1405054"/>
              <a:gd name="connsiteX0-2247" fmla="*/ 0 w 2252546"/>
              <a:gd name="connsiteY0-2248" fmla="*/ 880947 h 1405054"/>
              <a:gd name="connsiteX1-2249" fmla="*/ 100361 w 2252546"/>
              <a:gd name="connsiteY1-2250" fmla="*/ 1025913 h 1405054"/>
              <a:gd name="connsiteX2-2251" fmla="*/ 89210 w 2252546"/>
              <a:gd name="connsiteY2-2252" fmla="*/ 1126274 h 1405054"/>
              <a:gd name="connsiteX3-2253" fmla="*/ 144966 w 2252546"/>
              <a:gd name="connsiteY3-2254" fmla="*/ 1148576 h 1405054"/>
              <a:gd name="connsiteX4-2255" fmla="*/ 156117 w 2252546"/>
              <a:gd name="connsiteY4-2256" fmla="*/ 1059366 h 1405054"/>
              <a:gd name="connsiteX5-2257" fmla="*/ 267629 w 2252546"/>
              <a:gd name="connsiteY5-2258" fmla="*/ 1081669 h 1405054"/>
              <a:gd name="connsiteX6-2259" fmla="*/ 401444 w 2252546"/>
              <a:gd name="connsiteY6-2260" fmla="*/ 1048215 h 1405054"/>
              <a:gd name="connsiteX7-2261" fmla="*/ 479502 w 2252546"/>
              <a:gd name="connsiteY7-2262" fmla="*/ 1226635 h 1405054"/>
              <a:gd name="connsiteX8-2263" fmla="*/ 479502 w 2252546"/>
              <a:gd name="connsiteY8-2264" fmla="*/ 1360449 h 1405054"/>
              <a:gd name="connsiteX9-2265" fmla="*/ 669073 w 2252546"/>
              <a:gd name="connsiteY9-2266" fmla="*/ 1382752 h 1405054"/>
              <a:gd name="connsiteX10-2267" fmla="*/ 713678 w 2252546"/>
              <a:gd name="connsiteY10-2268" fmla="*/ 1405054 h 1405054"/>
              <a:gd name="connsiteX11-2269" fmla="*/ 970156 w 2252546"/>
              <a:gd name="connsiteY11-2270" fmla="*/ 1148576 h 1405054"/>
              <a:gd name="connsiteX12-2271" fmla="*/ 1315844 w 2252546"/>
              <a:gd name="connsiteY12-2272" fmla="*/ 1037064 h 1405054"/>
              <a:gd name="connsiteX13-2273" fmla="*/ 1405054 w 2252546"/>
              <a:gd name="connsiteY13-2274" fmla="*/ 903249 h 1405054"/>
              <a:gd name="connsiteX14-2275" fmla="*/ 1326995 w 2252546"/>
              <a:gd name="connsiteY14-2276" fmla="*/ 847493 h 1405054"/>
              <a:gd name="connsiteX15-2277" fmla="*/ 1371600 w 2252546"/>
              <a:gd name="connsiteY15-2278" fmla="*/ 747132 h 1405054"/>
              <a:gd name="connsiteX16-2279" fmla="*/ 1650380 w 2252546"/>
              <a:gd name="connsiteY16-2280" fmla="*/ 646771 h 1405054"/>
              <a:gd name="connsiteX17-2281" fmla="*/ 1650380 w 2252546"/>
              <a:gd name="connsiteY17-2282" fmla="*/ 591015 h 1405054"/>
              <a:gd name="connsiteX18-2283" fmla="*/ 1806497 w 2252546"/>
              <a:gd name="connsiteY18-2284" fmla="*/ 557561 h 1405054"/>
              <a:gd name="connsiteX19-2285" fmla="*/ 1839951 w 2252546"/>
              <a:gd name="connsiteY19-2286" fmla="*/ 579864 h 1405054"/>
              <a:gd name="connsiteX20-2287" fmla="*/ 1929161 w 2252546"/>
              <a:gd name="connsiteY20-2288" fmla="*/ 546410 h 1405054"/>
              <a:gd name="connsiteX21-2289" fmla="*/ 2241395 w 2252546"/>
              <a:gd name="connsiteY21-2290" fmla="*/ 591015 h 1405054"/>
              <a:gd name="connsiteX22-2291" fmla="*/ 2174488 w 2252546"/>
              <a:gd name="connsiteY22-2292" fmla="*/ 479503 h 1405054"/>
              <a:gd name="connsiteX23-2293" fmla="*/ 2252546 w 2252546"/>
              <a:gd name="connsiteY23-2294" fmla="*/ 434898 h 1405054"/>
              <a:gd name="connsiteX24-2295" fmla="*/ 2062976 w 2252546"/>
              <a:gd name="connsiteY24-2296" fmla="*/ 312235 h 1405054"/>
              <a:gd name="connsiteX25-2297" fmla="*/ 2062976 w 2252546"/>
              <a:gd name="connsiteY25-2298" fmla="*/ 312235 h 1405054"/>
              <a:gd name="connsiteX26-2299" fmla="*/ 2085278 w 2252546"/>
              <a:gd name="connsiteY26-2300" fmla="*/ 289932 h 1405054"/>
              <a:gd name="connsiteX27-2301" fmla="*/ 2040673 w 2252546"/>
              <a:gd name="connsiteY27-2302" fmla="*/ 189571 h 1405054"/>
              <a:gd name="connsiteX28-2303" fmla="*/ 2029522 w 2252546"/>
              <a:gd name="connsiteY28-2304" fmla="*/ 78059 h 1405054"/>
              <a:gd name="connsiteX29-2305" fmla="*/ 1862254 w 2252546"/>
              <a:gd name="connsiteY29-2306" fmla="*/ 100361 h 1405054"/>
              <a:gd name="connsiteX30-2307" fmla="*/ 1661532 w 2252546"/>
              <a:gd name="connsiteY30-2308" fmla="*/ 78059 h 1405054"/>
              <a:gd name="connsiteX31-2309" fmla="*/ 1572322 w 2252546"/>
              <a:gd name="connsiteY31-2310" fmla="*/ 156117 h 1405054"/>
              <a:gd name="connsiteX32-2311" fmla="*/ 1449658 w 2252546"/>
              <a:gd name="connsiteY32-2312" fmla="*/ 156117 h 1405054"/>
              <a:gd name="connsiteX33-2313" fmla="*/ 1550019 w 2252546"/>
              <a:gd name="connsiteY33-2314" fmla="*/ 44605 h 1405054"/>
              <a:gd name="connsiteX34-2315" fmla="*/ 1438507 w 2252546"/>
              <a:gd name="connsiteY34-2316" fmla="*/ 0 h 1405054"/>
              <a:gd name="connsiteX35-2317" fmla="*/ 1433671 w 2252546"/>
              <a:gd name="connsiteY35-2318" fmla="*/ 437229 h 1405054"/>
              <a:gd name="connsiteX36-2319" fmla="*/ 1326995 w 2252546"/>
              <a:gd name="connsiteY36-2320" fmla="*/ 122664 h 1405054"/>
              <a:gd name="connsiteX37-2321" fmla="*/ 1311312 w 2252546"/>
              <a:gd name="connsiteY37-2322" fmla="*/ 487630 h 1405054"/>
              <a:gd name="connsiteX38-2323" fmla="*/ 1240170 w 2252546"/>
              <a:gd name="connsiteY38-2324" fmla="*/ 468487 h 1405054"/>
              <a:gd name="connsiteX39-2325" fmla="*/ 1181596 w 2252546"/>
              <a:gd name="connsiteY39-2326" fmla="*/ 409716 h 1405054"/>
              <a:gd name="connsiteX40-2327" fmla="*/ 1025807 w 2252546"/>
              <a:gd name="connsiteY40-2328" fmla="*/ 409716 h 1405054"/>
              <a:gd name="connsiteX41-2329" fmla="*/ 1094554 w 2252546"/>
              <a:gd name="connsiteY41-2330" fmla="*/ 724206 h 1405054"/>
              <a:gd name="connsiteX42-2331" fmla="*/ 981307 w 2252546"/>
              <a:gd name="connsiteY42-2332" fmla="*/ 778586 h 1405054"/>
              <a:gd name="connsiteX43-2333" fmla="*/ 944234 w 2252546"/>
              <a:gd name="connsiteY43-2334" fmla="*/ 675819 h 1405054"/>
              <a:gd name="connsiteX44-2335" fmla="*/ 858644 w 2252546"/>
              <a:gd name="connsiteY44-2336" fmla="*/ 356839 h 1405054"/>
              <a:gd name="connsiteX45-2337" fmla="*/ 858705 w 2252546"/>
              <a:gd name="connsiteY45-2338" fmla="*/ 489028 h 1405054"/>
              <a:gd name="connsiteX46-2339" fmla="*/ 852237 w 2252546"/>
              <a:gd name="connsiteY46-2340" fmla="*/ 545538 h 1405054"/>
              <a:gd name="connsiteX47-2341" fmla="*/ 858644 w 2252546"/>
              <a:gd name="connsiteY47-2342" fmla="*/ 731687 h 1405054"/>
              <a:gd name="connsiteX48-2343" fmla="*/ 624468 w 2252546"/>
              <a:gd name="connsiteY48-2344" fmla="*/ 814331 h 1405054"/>
              <a:gd name="connsiteX49-2345" fmla="*/ 659501 w 2252546"/>
              <a:gd name="connsiteY49-2346" fmla="*/ 798752 h 1405054"/>
              <a:gd name="connsiteX50-2347" fmla="*/ 412595 w 2252546"/>
              <a:gd name="connsiteY50-2348" fmla="*/ 144966 h 1405054"/>
              <a:gd name="connsiteX51-2349" fmla="*/ 490654 w 2252546"/>
              <a:gd name="connsiteY51-2350" fmla="*/ 267630 h 1405054"/>
              <a:gd name="connsiteX52-2351" fmla="*/ 591015 w 2252546"/>
              <a:gd name="connsiteY52-2352" fmla="*/ 367991 h 1405054"/>
              <a:gd name="connsiteX53-2353" fmla="*/ 446049 w 2252546"/>
              <a:gd name="connsiteY53-2354" fmla="*/ 367991 h 1405054"/>
              <a:gd name="connsiteX54-2355" fmla="*/ 289932 w 2252546"/>
              <a:gd name="connsiteY54-2356" fmla="*/ 367991 h 1405054"/>
              <a:gd name="connsiteX55-2357" fmla="*/ 234176 w 2252546"/>
              <a:gd name="connsiteY55-2358" fmla="*/ 434898 h 1405054"/>
              <a:gd name="connsiteX56-2359" fmla="*/ 234176 w 2252546"/>
              <a:gd name="connsiteY56-2360" fmla="*/ 512956 h 1405054"/>
              <a:gd name="connsiteX57-2361" fmla="*/ 256478 w 2252546"/>
              <a:gd name="connsiteY57-2362" fmla="*/ 624469 h 1405054"/>
              <a:gd name="connsiteX58-2363" fmla="*/ 178419 w 2252546"/>
              <a:gd name="connsiteY58-2364" fmla="*/ 702527 h 1405054"/>
              <a:gd name="connsiteX59-2365" fmla="*/ 189571 w 2252546"/>
              <a:gd name="connsiteY59-2366" fmla="*/ 769435 h 1405054"/>
              <a:gd name="connsiteX60-2367" fmla="*/ 78058 w 2252546"/>
              <a:gd name="connsiteY60-2368" fmla="*/ 802888 h 1405054"/>
              <a:gd name="connsiteX61-2369" fmla="*/ 0 w 2252546"/>
              <a:gd name="connsiteY61-2370" fmla="*/ 880947 h 1405054"/>
              <a:gd name="connsiteX0-2371" fmla="*/ 412595 w 2252546"/>
              <a:gd name="connsiteY0-2372" fmla="*/ 144966 h 1405054"/>
              <a:gd name="connsiteX1-2373" fmla="*/ 490654 w 2252546"/>
              <a:gd name="connsiteY1-2374" fmla="*/ 267630 h 1405054"/>
              <a:gd name="connsiteX2-2375" fmla="*/ 591015 w 2252546"/>
              <a:gd name="connsiteY2-2376" fmla="*/ 367991 h 1405054"/>
              <a:gd name="connsiteX3-2377" fmla="*/ 446049 w 2252546"/>
              <a:gd name="connsiteY3-2378" fmla="*/ 367991 h 1405054"/>
              <a:gd name="connsiteX4-2379" fmla="*/ 289932 w 2252546"/>
              <a:gd name="connsiteY4-2380" fmla="*/ 367991 h 1405054"/>
              <a:gd name="connsiteX5-2381" fmla="*/ 234176 w 2252546"/>
              <a:gd name="connsiteY5-2382" fmla="*/ 434898 h 1405054"/>
              <a:gd name="connsiteX6-2383" fmla="*/ 234176 w 2252546"/>
              <a:gd name="connsiteY6-2384" fmla="*/ 512956 h 1405054"/>
              <a:gd name="connsiteX7-2385" fmla="*/ 256478 w 2252546"/>
              <a:gd name="connsiteY7-2386" fmla="*/ 624469 h 1405054"/>
              <a:gd name="connsiteX8-2387" fmla="*/ 178419 w 2252546"/>
              <a:gd name="connsiteY8-2388" fmla="*/ 702527 h 1405054"/>
              <a:gd name="connsiteX9-2389" fmla="*/ 189571 w 2252546"/>
              <a:gd name="connsiteY9-2390" fmla="*/ 769435 h 1405054"/>
              <a:gd name="connsiteX10-2391" fmla="*/ 78058 w 2252546"/>
              <a:gd name="connsiteY10-2392" fmla="*/ 802888 h 1405054"/>
              <a:gd name="connsiteX11-2393" fmla="*/ 0 w 2252546"/>
              <a:gd name="connsiteY11-2394" fmla="*/ 880947 h 1405054"/>
              <a:gd name="connsiteX12-2395" fmla="*/ 100361 w 2252546"/>
              <a:gd name="connsiteY12-2396" fmla="*/ 1025913 h 1405054"/>
              <a:gd name="connsiteX13-2397" fmla="*/ 89210 w 2252546"/>
              <a:gd name="connsiteY13-2398" fmla="*/ 1126274 h 1405054"/>
              <a:gd name="connsiteX14-2399" fmla="*/ 144966 w 2252546"/>
              <a:gd name="connsiteY14-2400" fmla="*/ 1148576 h 1405054"/>
              <a:gd name="connsiteX15-2401" fmla="*/ 156117 w 2252546"/>
              <a:gd name="connsiteY15-2402" fmla="*/ 1059366 h 1405054"/>
              <a:gd name="connsiteX16-2403" fmla="*/ 267629 w 2252546"/>
              <a:gd name="connsiteY16-2404" fmla="*/ 1081669 h 1405054"/>
              <a:gd name="connsiteX17-2405" fmla="*/ 401444 w 2252546"/>
              <a:gd name="connsiteY17-2406" fmla="*/ 1048215 h 1405054"/>
              <a:gd name="connsiteX18-2407" fmla="*/ 479502 w 2252546"/>
              <a:gd name="connsiteY18-2408" fmla="*/ 1226635 h 1405054"/>
              <a:gd name="connsiteX19-2409" fmla="*/ 479502 w 2252546"/>
              <a:gd name="connsiteY19-2410" fmla="*/ 1360449 h 1405054"/>
              <a:gd name="connsiteX20-2411" fmla="*/ 669073 w 2252546"/>
              <a:gd name="connsiteY20-2412" fmla="*/ 1382752 h 1405054"/>
              <a:gd name="connsiteX21-2413" fmla="*/ 713678 w 2252546"/>
              <a:gd name="connsiteY21-2414" fmla="*/ 1405054 h 1405054"/>
              <a:gd name="connsiteX22-2415" fmla="*/ 970156 w 2252546"/>
              <a:gd name="connsiteY22-2416" fmla="*/ 1148576 h 1405054"/>
              <a:gd name="connsiteX23-2417" fmla="*/ 1315844 w 2252546"/>
              <a:gd name="connsiteY23-2418" fmla="*/ 1037064 h 1405054"/>
              <a:gd name="connsiteX24-2419" fmla="*/ 1405054 w 2252546"/>
              <a:gd name="connsiteY24-2420" fmla="*/ 903249 h 1405054"/>
              <a:gd name="connsiteX25-2421" fmla="*/ 1326995 w 2252546"/>
              <a:gd name="connsiteY25-2422" fmla="*/ 847493 h 1405054"/>
              <a:gd name="connsiteX26-2423" fmla="*/ 1371600 w 2252546"/>
              <a:gd name="connsiteY26-2424" fmla="*/ 747132 h 1405054"/>
              <a:gd name="connsiteX27-2425" fmla="*/ 1650380 w 2252546"/>
              <a:gd name="connsiteY27-2426" fmla="*/ 646771 h 1405054"/>
              <a:gd name="connsiteX28-2427" fmla="*/ 1650380 w 2252546"/>
              <a:gd name="connsiteY28-2428" fmla="*/ 591015 h 1405054"/>
              <a:gd name="connsiteX29-2429" fmla="*/ 1806497 w 2252546"/>
              <a:gd name="connsiteY29-2430" fmla="*/ 557561 h 1405054"/>
              <a:gd name="connsiteX30-2431" fmla="*/ 1839951 w 2252546"/>
              <a:gd name="connsiteY30-2432" fmla="*/ 579864 h 1405054"/>
              <a:gd name="connsiteX31-2433" fmla="*/ 1929161 w 2252546"/>
              <a:gd name="connsiteY31-2434" fmla="*/ 546410 h 1405054"/>
              <a:gd name="connsiteX32-2435" fmla="*/ 2241395 w 2252546"/>
              <a:gd name="connsiteY32-2436" fmla="*/ 591015 h 1405054"/>
              <a:gd name="connsiteX33-2437" fmla="*/ 2174488 w 2252546"/>
              <a:gd name="connsiteY33-2438" fmla="*/ 479503 h 1405054"/>
              <a:gd name="connsiteX34-2439" fmla="*/ 2252546 w 2252546"/>
              <a:gd name="connsiteY34-2440" fmla="*/ 434898 h 1405054"/>
              <a:gd name="connsiteX35-2441" fmla="*/ 2062976 w 2252546"/>
              <a:gd name="connsiteY35-2442" fmla="*/ 312235 h 1405054"/>
              <a:gd name="connsiteX36-2443" fmla="*/ 2062976 w 2252546"/>
              <a:gd name="connsiteY36-2444" fmla="*/ 312235 h 1405054"/>
              <a:gd name="connsiteX37-2445" fmla="*/ 2085278 w 2252546"/>
              <a:gd name="connsiteY37-2446" fmla="*/ 289932 h 1405054"/>
              <a:gd name="connsiteX38-2447" fmla="*/ 2040673 w 2252546"/>
              <a:gd name="connsiteY38-2448" fmla="*/ 189571 h 1405054"/>
              <a:gd name="connsiteX39-2449" fmla="*/ 2029522 w 2252546"/>
              <a:gd name="connsiteY39-2450" fmla="*/ 78059 h 1405054"/>
              <a:gd name="connsiteX40-2451" fmla="*/ 1862254 w 2252546"/>
              <a:gd name="connsiteY40-2452" fmla="*/ 100361 h 1405054"/>
              <a:gd name="connsiteX41-2453" fmla="*/ 1661532 w 2252546"/>
              <a:gd name="connsiteY41-2454" fmla="*/ 78059 h 1405054"/>
              <a:gd name="connsiteX42-2455" fmla="*/ 1572322 w 2252546"/>
              <a:gd name="connsiteY42-2456" fmla="*/ 156117 h 1405054"/>
              <a:gd name="connsiteX43-2457" fmla="*/ 1449658 w 2252546"/>
              <a:gd name="connsiteY43-2458" fmla="*/ 156117 h 1405054"/>
              <a:gd name="connsiteX44-2459" fmla="*/ 1550019 w 2252546"/>
              <a:gd name="connsiteY44-2460" fmla="*/ 44605 h 1405054"/>
              <a:gd name="connsiteX45-2461" fmla="*/ 1438507 w 2252546"/>
              <a:gd name="connsiteY45-2462" fmla="*/ 0 h 1405054"/>
              <a:gd name="connsiteX46-2463" fmla="*/ 1433671 w 2252546"/>
              <a:gd name="connsiteY46-2464" fmla="*/ 437229 h 1405054"/>
              <a:gd name="connsiteX47-2465" fmla="*/ 1326995 w 2252546"/>
              <a:gd name="connsiteY47-2466" fmla="*/ 122664 h 1405054"/>
              <a:gd name="connsiteX48-2467" fmla="*/ 1311312 w 2252546"/>
              <a:gd name="connsiteY48-2468" fmla="*/ 487630 h 1405054"/>
              <a:gd name="connsiteX49-2469" fmla="*/ 1240170 w 2252546"/>
              <a:gd name="connsiteY49-2470" fmla="*/ 468487 h 1405054"/>
              <a:gd name="connsiteX50-2471" fmla="*/ 1181596 w 2252546"/>
              <a:gd name="connsiteY50-2472" fmla="*/ 409716 h 1405054"/>
              <a:gd name="connsiteX51-2473" fmla="*/ 1025807 w 2252546"/>
              <a:gd name="connsiteY51-2474" fmla="*/ 409716 h 1405054"/>
              <a:gd name="connsiteX52-2475" fmla="*/ 1094554 w 2252546"/>
              <a:gd name="connsiteY52-2476" fmla="*/ 724206 h 1405054"/>
              <a:gd name="connsiteX53-2477" fmla="*/ 981307 w 2252546"/>
              <a:gd name="connsiteY53-2478" fmla="*/ 778586 h 1405054"/>
              <a:gd name="connsiteX54-2479" fmla="*/ 944234 w 2252546"/>
              <a:gd name="connsiteY54-2480" fmla="*/ 675819 h 1405054"/>
              <a:gd name="connsiteX55-2481" fmla="*/ 858644 w 2252546"/>
              <a:gd name="connsiteY55-2482" fmla="*/ 356839 h 1405054"/>
              <a:gd name="connsiteX56-2483" fmla="*/ 858705 w 2252546"/>
              <a:gd name="connsiteY56-2484" fmla="*/ 489028 h 1405054"/>
              <a:gd name="connsiteX57-2485" fmla="*/ 852237 w 2252546"/>
              <a:gd name="connsiteY57-2486" fmla="*/ 545538 h 1405054"/>
              <a:gd name="connsiteX58-2487" fmla="*/ 858644 w 2252546"/>
              <a:gd name="connsiteY58-2488" fmla="*/ 731687 h 1405054"/>
              <a:gd name="connsiteX59-2489" fmla="*/ 624468 w 2252546"/>
              <a:gd name="connsiteY59-2490" fmla="*/ 814331 h 1405054"/>
              <a:gd name="connsiteX60-2491" fmla="*/ 746172 w 2252546"/>
              <a:gd name="connsiteY60-2492" fmla="*/ 878723 h 1405054"/>
              <a:gd name="connsiteX0-2493" fmla="*/ 412595 w 2252546"/>
              <a:gd name="connsiteY0-2494" fmla="*/ 144966 h 1405054"/>
              <a:gd name="connsiteX1-2495" fmla="*/ 490654 w 2252546"/>
              <a:gd name="connsiteY1-2496" fmla="*/ 267630 h 1405054"/>
              <a:gd name="connsiteX2-2497" fmla="*/ 591015 w 2252546"/>
              <a:gd name="connsiteY2-2498" fmla="*/ 367991 h 1405054"/>
              <a:gd name="connsiteX3-2499" fmla="*/ 446049 w 2252546"/>
              <a:gd name="connsiteY3-2500" fmla="*/ 367991 h 1405054"/>
              <a:gd name="connsiteX4-2501" fmla="*/ 289932 w 2252546"/>
              <a:gd name="connsiteY4-2502" fmla="*/ 367991 h 1405054"/>
              <a:gd name="connsiteX5-2503" fmla="*/ 234176 w 2252546"/>
              <a:gd name="connsiteY5-2504" fmla="*/ 434898 h 1405054"/>
              <a:gd name="connsiteX6-2505" fmla="*/ 234176 w 2252546"/>
              <a:gd name="connsiteY6-2506" fmla="*/ 512956 h 1405054"/>
              <a:gd name="connsiteX7-2507" fmla="*/ 256478 w 2252546"/>
              <a:gd name="connsiteY7-2508" fmla="*/ 624469 h 1405054"/>
              <a:gd name="connsiteX8-2509" fmla="*/ 178419 w 2252546"/>
              <a:gd name="connsiteY8-2510" fmla="*/ 702527 h 1405054"/>
              <a:gd name="connsiteX9-2511" fmla="*/ 189571 w 2252546"/>
              <a:gd name="connsiteY9-2512" fmla="*/ 769435 h 1405054"/>
              <a:gd name="connsiteX10-2513" fmla="*/ 78058 w 2252546"/>
              <a:gd name="connsiteY10-2514" fmla="*/ 802888 h 1405054"/>
              <a:gd name="connsiteX11-2515" fmla="*/ 0 w 2252546"/>
              <a:gd name="connsiteY11-2516" fmla="*/ 880947 h 1405054"/>
              <a:gd name="connsiteX12-2517" fmla="*/ 100361 w 2252546"/>
              <a:gd name="connsiteY12-2518" fmla="*/ 1025913 h 1405054"/>
              <a:gd name="connsiteX13-2519" fmla="*/ 89210 w 2252546"/>
              <a:gd name="connsiteY13-2520" fmla="*/ 1126274 h 1405054"/>
              <a:gd name="connsiteX14-2521" fmla="*/ 144966 w 2252546"/>
              <a:gd name="connsiteY14-2522" fmla="*/ 1148576 h 1405054"/>
              <a:gd name="connsiteX15-2523" fmla="*/ 156117 w 2252546"/>
              <a:gd name="connsiteY15-2524" fmla="*/ 1059366 h 1405054"/>
              <a:gd name="connsiteX16-2525" fmla="*/ 267629 w 2252546"/>
              <a:gd name="connsiteY16-2526" fmla="*/ 1081669 h 1405054"/>
              <a:gd name="connsiteX17-2527" fmla="*/ 401444 w 2252546"/>
              <a:gd name="connsiteY17-2528" fmla="*/ 1048215 h 1405054"/>
              <a:gd name="connsiteX18-2529" fmla="*/ 479502 w 2252546"/>
              <a:gd name="connsiteY18-2530" fmla="*/ 1226635 h 1405054"/>
              <a:gd name="connsiteX19-2531" fmla="*/ 479502 w 2252546"/>
              <a:gd name="connsiteY19-2532" fmla="*/ 1360449 h 1405054"/>
              <a:gd name="connsiteX20-2533" fmla="*/ 669073 w 2252546"/>
              <a:gd name="connsiteY20-2534" fmla="*/ 1382752 h 1405054"/>
              <a:gd name="connsiteX21-2535" fmla="*/ 713678 w 2252546"/>
              <a:gd name="connsiteY21-2536" fmla="*/ 1405054 h 1405054"/>
              <a:gd name="connsiteX22-2537" fmla="*/ 970156 w 2252546"/>
              <a:gd name="connsiteY22-2538" fmla="*/ 1148576 h 1405054"/>
              <a:gd name="connsiteX23-2539" fmla="*/ 1315844 w 2252546"/>
              <a:gd name="connsiteY23-2540" fmla="*/ 1037064 h 1405054"/>
              <a:gd name="connsiteX24-2541" fmla="*/ 1405054 w 2252546"/>
              <a:gd name="connsiteY24-2542" fmla="*/ 903249 h 1405054"/>
              <a:gd name="connsiteX25-2543" fmla="*/ 1326995 w 2252546"/>
              <a:gd name="connsiteY25-2544" fmla="*/ 847493 h 1405054"/>
              <a:gd name="connsiteX26-2545" fmla="*/ 1371600 w 2252546"/>
              <a:gd name="connsiteY26-2546" fmla="*/ 747132 h 1405054"/>
              <a:gd name="connsiteX27-2547" fmla="*/ 1650380 w 2252546"/>
              <a:gd name="connsiteY27-2548" fmla="*/ 646771 h 1405054"/>
              <a:gd name="connsiteX28-2549" fmla="*/ 1650380 w 2252546"/>
              <a:gd name="connsiteY28-2550" fmla="*/ 591015 h 1405054"/>
              <a:gd name="connsiteX29-2551" fmla="*/ 1806497 w 2252546"/>
              <a:gd name="connsiteY29-2552" fmla="*/ 557561 h 1405054"/>
              <a:gd name="connsiteX30-2553" fmla="*/ 1839951 w 2252546"/>
              <a:gd name="connsiteY30-2554" fmla="*/ 579864 h 1405054"/>
              <a:gd name="connsiteX31-2555" fmla="*/ 1929161 w 2252546"/>
              <a:gd name="connsiteY31-2556" fmla="*/ 546410 h 1405054"/>
              <a:gd name="connsiteX32-2557" fmla="*/ 2241395 w 2252546"/>
              <a:gd name="connsiteY32-2558" fmla="*/ 591015 h 1405054"/>
              <a:gd name="connsiteX33-2559" fmla="*/ 2174488 w 2252546"/>
              <a:gd name="connsiteY33-2560" fmla="*/ 479503 h 1405054"/>
              <a:gd name="connsiteX34-2561" fmla="*/ 2252546 w 2252546"/>
              <a:gd name="connsiteY34-2562" fmla="*/ 434898 h 1405054"/>
              <a:gd name="connsiteX35-2563" fmla="*/ 2062976 w 2252546"/>
              <a:gd name="connsiteY35-2564" fmla="*/ 312235 h 1405054"/>
              <a:gd name="connsiteX36-2565" fmla="*/ 2062976 w 2252546"/>
              <a:gd name="connsiteY36-2566" fmla="*/ 312235 h 1405054"/>
              <a:gd name="connsiteX37-2567" fmla="*/ 2085278 w 2252546"/>
              <a:gd name="connsiteY37-2568" fmla="*/ 289932 h 1405054"/>
              <a:gd name="connsiteX38-2569" fmla="*/ 2040673 w 2252546"/>
              <a:gd name="connsiteY38-2570" fmla="*/ 189571 h 1405054"/>
              <a:gd name="connsiteX39-2571" fmla="*/ 2029522 w 2252546"/>
              <a:gd name="connsiteY39-2572" fmla="*/ 78059 h 1405054"/>
              <a:gd name="connsiteX40-2573" fmla="*/ 1862254 w 2252546"/>
              <a:gd name="connsiteY40-2574" fmla="*/ 100361 h 1405054"/>
              <a:gd name="connsiteX41-2575" fmla="*/ 1661532 w 2252546"/>
              <a:gd name="connsiteY41-2576" fmla="*/ 78059 h 1405054"/>
              <a:gd name="connsiteX42-2577" fmla="*/ 1572322 w 2252546"/>
              <a:gd name="connsiteY42-2578" fmla="*/ 156117 h 1405054"/>
              <a:gd name="connsiteX43-2579" fmla="*/ 1449658 w 2252546"/>
              <a:gd name="connsiteY43-2580" fmla="*/ 156117 h 1405054"/>
              <a:gd name="connsiteX44-2581" fmla="*/ 1550019 w 2252546"/>
              <a:gd name="connsiteY44-2582" fmla="*/ 44605 h 1405054"/>
              <a:gd name="connsiteX45-2583" fmla="*/ 1438507 w 2252546"/>
              <a:gd name="connsiteY45-2584" fmla="*/ 0 h 1405054"/>
              <a:gd name="connsiteX46-2585" fmla="*/ 1433671 w 2252546"/>
              <a:gd name="connsiteY46-2586" fmla="*/ 437229 h 1405054"/>
              <a:gd name="connsiteX47-2587" fmla="*/ 1326995 w 2252546"/>
              <a:gd name="connsiteY47-2588" fmla="*/ 122664 h 1405054"/>
              <a:gd name="connsiteX48-2589" fmla="*/ 1311312 w 2252546"/>
              <a:gd name="connsiteY48-2590" fmla="*/ 487630 h 1405054"/>
              <a:gd name="connsiteX49-2591" fmla="*/ 1240170 w 2252546"/>
              <a:gd name="connsiteY49-2592" fmla="*/ 468487 h 1405054"/>
              <a:gd name="connsiteX50-2593" fmla="*/ 1181596 w 2252546"/>
              <a:gd name="connsiteY50-2594" fmla="*/ 409716 h 1405054"/>
              <a:gd name="connsiteX51-2595" fmla="*/ 1025807 w 2252546"/>
              <a:gd name="connsiteY51-2596" fmla="*/ 409716 h 1405054"/>
              <a:gd name="connsiteX52-2597" fmla="*/ 1094554 w 2252546"/>
              <a:gd name="connsiteY52-2598" fmla="*/ 724206 h 1405054"/>
              <a:gd name="connsiteX53-2599" fmla="*/ 981307 w 2252546"/>
              <a:gd name="connsiteY53-2600" fmla="*/ 778586 h 1405054"/>
              <a:gd name="connsiteX54-2601" fmla="*/ 944234 w 2252546"/>
              <a:gd name="connsiteY54-2602" fmla="*/ 675819 h 1405054"/>
              <a:gd name="connsiteX55-2603" fmla="*/ 858644 w 2252546"/>
              <a:gd name="connsiteY55-2604" fmla="*/ 356839 h 1405054"/>
              <a:gd name="connsiteX56-2605" fmla="*/ 858705 w 2252546"/>
              <a:gd name="connsiteY56-2606" fmla="*/ 489028 h 1405054"/>
              <a:gd name="connsiteX57-2607" fmla="*/ 852237 w 2252546"/>
              <a:gd name="connsiteY57-2608" fmla="*/ 545538 h 1405054"/>
              <a:gd name="connsiteX58-2609" fmla="*/ 858644 w 2252546"/>
              <a:gd name="connsiteY58-2610" fmla="*/ 731687 h 1405054"/>
              <a:gd name="connsiteX59-2611" fmla="*/ 624468 w 2252546"/>
              <a:gd name="connsiteY59-2612" fmla="*/ 814331 h 1405054"/>
              <a:gd name="connsiteX0-2613" fmla="*/ 412595 w 2252546"/>
              <a:gd name="connsiteY0-2614" fmla="*/ 144966 h 1405054"/>
              <a:gd name="connsiteX1-2615" fmla="*/ 490654 w 2252546"/>
              <a:gd name="connsiteY1-2616" fmla="*/ 267630 h 1405054"/>
              <a:gd name="connsiteX2-2617" fmla="*/ 591015 w 2252546"/>
              <a:gd name="connsiteY2-2618" fmla="*/ 367991 h 1405054"/>
              <a:gd name="connsiteX3-2619" fmla="*/ 446049 w 2252546"/>
              <a:gd name="connsiteY3-2620" fmla="*/ 367991 h 1405054"/>
              <a:gd name="connsiteX4-2621" fmla="*/ 289932 w 2252546"/>
              <a:gd name="connsiteY4-2622" fmla="*/ 367991 h 1405054"/>
              <a:gd name="connsiteX5-2623" fmla="*/ 234176 w 2252546"/>
              <a:gd name="connsiteY5-2624" fmla="*/ 434898 h 1405054"/>
              <a:gd name="connsiteX6-2625" fmla="*/ 234176 w 2252546"/>
              <a:gd name="connsiteY6-2626" fmla="*/ 512956 h 1405054"/>
              <a:gd name="connsiteX7-2627" fmla="*/ 256478 w 2252546"/>
              <a:gd name="connsiteY7-2628" fmla="*/ 624469 h 1405054"/>
              <a:gd name="connsiteX8-2629" fmla="*/ 178419 w 2252546"/>
              <a:gd name="connsiteY8-2630" fmla="*/ 702527 h 1405054"/>
              <a:gd name="connsiteX9-2631" fmla="*/ 189571 w 2252546"/>
              <a:gd name="connsiteY9-2632" fmla="*/ 769435 h 1405054"/>
              <a:gd name="connsiteX10-2633" fmla="*/ 78058 w 2252546"/>
              <a:gd name="connsiteY10-2634" fmla="*/ 802888 h 1405054"/>
              <a:gd name="connsiteX11-2635" fmla="*/ 0 w 2252546"/>
              <a:gd name="connsiteY11-2636" fmla="*/ 880947 h 1405054"/>
              <a:gd name="connsiteX12-2637" fmla="*/ 100361 w 2252546"/>
              <a:gd name="connsiteY12-2638" fmla="*/ 1025913 h 1405054"/>
              <a:gd name="connsiteX13-2639" fmla="*/ 89210 w 2252546"/>
              <a:gd name="connsiteY13-2640" fmla="*/ 1126274 h 1405054"/>
              <a:gd name="connsiteX14-2641" fmla="*/ 144966 w 2252546"/>
              <a:gd name="connsiteY14-2642" fmla="*/ 1148576 h 1405054"/>
              <a:gd name="connsiteX15-2643" fmla="*/ 156117 w 2252546"/>
              <a:gd name="connsiteY15-2644" fmla="*/ 1059366 h 1405054"/>
              <a:gd name="connsiteX16-2645" fmla="*/ 267629 w 2252546"/>
              <a:gd name="connsiteY16-2646" fmla="*/ 1081669 h 1405054"/>
              <a:gd name="connsiteX17-2647" fmla="*/ 401444 w 2252546"/>
              <a:gd name="connsiteY17-2648" fmla="*/ 1048215 h 1405054"/>
              <a:gd name="connsiteX18-2649" fmla="*/ 479502 w 2252546"/>
              <a:gd name="connsiteY18-2650" fmla="*/ 1226635 h 1405054"/>
              <a:gd name="connsiteX19-2651" fmla="*/ 479502 w 2252546"/>
              <a:gd name="connsiteY19-2652" fmla="*/ 1360449 h 1405054"/>
              <a:gd name="connsiteX20-2653" fmla="*/ 669073 w 2252546"/>
              <a:gd name="connsiteY20-2654" fmla="*/ 1382752 h 1405054"/>
              <a:gd name="connsiteX21-2655" fmla="*/ 713678 w 2252546"/>
              <a:gd name="connsiteY21-2656" fmla="*/ 1405054 h 1405054"/>
              <a:gd name="connsiteX22-2657" fmla="*/ 970156 w 2252546"/>
              <a:gd name="connsiteY22-2658" fmla="*/ 1148576 h 1405054"/>
              <a:gd name="connsiteX23-2659" fmla="*/ 1315844 w 2252546"/>
              <a:gd name="connsiteY23-2660" fmla="*/ 1037064 h 1405054"/>
              <a:gd name="connsiteX24-2661" fmla="*/ 1405054 w 2252546"/>
              <a:gd name="connsiteY24-2662" fmla="*/ 903249 h 1405054"/>
              <a:gd name="connsiteX25-2663" fmla="*/ 1326995 w 2252546"/>
              <a:gd name="connsiteY25-2664" fmla="*/ 847493 h 1405054"/>
              <a:gd name="connsiteX26-2665" fmla="*/ 1371600 w 2252546"/>
              <a:gd name="connsiteY26-2666" fmla="*/ 747132 h 1405054"/>
              <a:gd name="connsiteX27-2667" fmla="*/ 1650380 w 2252546"/>
              <a:gd name="connsiteY27-2668" fmla="*/ 646771 h 1405054"/>
              <a:gd name="connsiteX28-2669" fmla="*/ 1650380 w 2252546"/>
              <a:gd name="connsiteY28-2670" fmla="*/ 591015 h 1405054"/>
              <a:gd name="connsiteX29-2671" fmla="*/ 1806497 w 2252546"/>
              <a:gd name="connsiteY29-2672" fmla="*/ 557561 h 1405054"/>
              <a:gd name="connsiteX30-2673" fmla="*/ 1839951 w 2252546"/>
              <a:gd name="connsiteY30-2674" fmla="*/ 579864 h 1405054"/>
              <a:gd name="connsiteX31-2675" fmla="*/ 1929161 w 2252546"/>
              <a:gd name="connsiteY31-2676" fmla="*/ 546410 h 1405054"/>
              <a:gd name="connsiteX32-2677" fmla="*/ 2241395 w 2252546"/>
              <a:gd name="connsiteY32-2678" fmla="*/ 591015 h 1405054"/>
              <a:gd name="connsiteX33-2679" fmla="*/ 2174488 w 2252546"/>
              <a:gd name="connsiteY33-2680" fmla="*/ 479503 h 1405054"/>
              <a:gd name="connsiteX34-2681" fmla="*/ 2252546 w 2252546"/>
              <a:gd name="connsiteY34-2682" fmla="*/ 434898 h 1405054"/>
              <a:gd name="connsiteX35-2683" fmla="*/ 2062976 w 2252546"/>
              <a:gd name="connsiteY35-2684" fmla="*/ 312235 h 1405054"/>
              <a:gd name="connsiteX36-2685" fmla="*/ 2062976 w 2252546"/>
              <a:gd name="connsiteY36-2686" fmla="*/ 312235 h 1405054"/>
              <a:gd name="connsiteX37-2687" fmla="*/ 2085278 w 2252546"/>
              <a:gd name="connsiteY37-2688" fmla="*/ 289932 h 1405054"/>
              <a:gd name="connsiteX38-2689" fmla="*/ 2040673 w 2252546"/>
              <a:gd name="connsiteY38-2690" fmla="*/ 189571 h 1405054"/>
              <a:gd name="connsiteX39-2691" fmla="*/ 2029522 w 2252546"/>
              <a:gd name="connsiteY39-2692" fmla="*/ 78059 h 1405054"/>
              <a:gd name="connsiteX40-2693" fmla="*/ 1862254 w 2252546"/>
              <a:gd name="connsiteY40-2694" fmla="*/ 100361 h 1405054"/>
              <a:gd name="connsiteX41-2695" fmla="*/ 1661532 w 2252546"/>
              <a:gd name="connsiteY41-2696" fmla="*/ 78059 h 1405054"/>
              <a:gd name="connsiteX42-2697" fmla="*/ 1572322 w 2252546"/>
              <a:gd name="connsiteY42-2698" fmla="*/ 156117 h 1405054"/>
              <a:gd name="connsiteX43-2699" fmla="*/ 1449658 w 2252546"/>
              <a:gd name="connsiteY43-2700" fmla="*/ 156117 h 1405054"/>
              <a:gd name="connsiteX44-2701" fmla="*/ 1550019 w 2252546"/>
              <a:gd name="connsiteY44-2702" fmla="*/ 44605 h 1405054"/>
              <a:gd name="connsiteX45-2703" fmla="*/ 1438507 w 2252546"/>
              <a:gd name="connsiteY45-2704" fmla="*/ 0 h 1405054"/>
              <a:gd name="connsiteX46-2705" fmla="*/ 1433671 w 2252546"/>
              <a:gd name="connsiteY46-2706" fmla="*/ 437229 h 1405054"/>
              <a:gd name="connsiteX47-2707" fmla="*/ 1326995 w 2252546"/>
              <a:gd name="connsiteY47-2708" fmla="*/ 122664 h 1405054"/>
              <a:gd name="connsiteX48-2709" fmla="*/ 1311312 w 2252546"/>
              <a:gd name="connsiteY48-2710" fmla="*/ 487630 h 1405054"/>
              <a:gd name="connsiteX49-2711" fmla="*/ 1240170 w 2252546"/>
              <a:gd name="connsiteY49-2712" fmla="*/ 468487 h 1405054"/>
              <a:gd name="connsiteX50-2713" fmla="*/ 1181596 w 2252546"/>
              <a:gd name="connsiteY50-2714" fmla="*/ 409716 h 1405054"/>
              <a:gd name="connsiteX51-2715" fmla="*/ 1025807 w 2252546"/>
              <a:gd name="connsiteY51-2716" fmla="*/ 409716 h 1405054"/>
              <a:gd name="connsiteX52-2717" fmla="*/ 1094554 w 2252546"/>
              <a:gd name="connsiteY52-2718" fmla="*/ 724206 h 1405054"/>
              <a:gd name="connsiteX53-2719" fmla="*/ 981307 w 2252546"/>
              <a:gd name="connsiteY53-2720" fmla="*/ 778586 h 1405054"/>
              <a:gd name="connsiteX54-2721" fmla="*/ 944234 w 2252546"/>
              <a:gd name="connsiteY54-2722" fmla="*/ 675819 h 1405054"/>
              <a:gd name="connsiteX55-2723" fmla="*/ 994038 w 2252546"/>
              <a:gd name="connsiteY55-2724" fmla="*/ 481775 h 1405054"/>
              <a:gd name="connsiteX56-2725" fmla="*/ 858705 w 2252546"/>
              <a:gd name="connsiteY56-2726" fmla="*/ 489028 h 1405054"/>
              <a:gd name="connsiteX57-2727" fmla="*/ 852237 w 2252546"/>
              <a:gd name="connsiteY57-2728" fmla="*/ 545538 h 1405054"/>
              <a:gd name="connsiteX58-2729" fmla="*/ 858644 w 2252546"/>
              <a:gd name="connsiteY58-2730" fmla="*/ 731687 h 1405054"/>
              <a:gd name="connsiteX59-2731" fmla="*/ 624468 w 2252546"/>
              <a:gd name="connsiteY59-2732" fmla="*/ 814331 h 1405054"/>
              <a:gd name="connsiteX0-2733" fmla="*/ 412595 w 2252546"/>
              <a:gd name="connsiteY0-2734" fmla="*/ 144966 h 1405054"/>
              <a:gd name="connsiteX1-2735" fmla="*/ 490654 w 2252546"/>
              <a:gd name="connsiteY1-2736" fmla="*/ 267630 h 1405054"/>
              <a:gd name="connsiteX2-2737" fmla="*/ 591015 w 2252546"/>
              <a:gd name="connsiteY2-2738" fmla="*/ 367991 h 1405054"/>
              <a:gd name="connsiteX3-2739" fmla="*/ 446049 w 2252546"/>
              <a:gd name="connsiteY3-2740" fmla="*/ 367991 h 1405054"/>
              <a:gd name="connsiteX4-2741" fmla="*/ 289932 w 2252546"/>
              <a:gd name="connsiteY4-2742" fmla="*/ 367991 h 1405054"/>
              <a:gd name="connsiteX5-2743" fmla="*/ 234176 w 2252546"/>
              <a:gd name="connsiteY5-2744" fmla="*/ 434898 h 1405054"/>
              <a:gd name="connsiteX6-2745" fmla="*/ 234176 w 2252546"/>
              <a:gd name="connsiteY6-2746" fmla="*/ 512956 h 1405054"/>
              <a:gd name="connsiteX7-2747" fmla="*/ 256478 w 2252546"/>
              <a:gd name="connsiteY7-2748" fmla="*/ 624469 h 1405054"/>
              <a:gd name="connsiteX8-2749" fmla="*/ 178419 w 2252546"/>
              <a:gd name="connsiteY8-2750" fmla="*/ 702527 h 1405054"/>
              <a:gd name="connsiteX9-2751" fmla="*/ 189571 w 2252546"/>
              <a:gd name="connsiteY9-2752" fmla="*/ 769435 h 1405054"/>
              <a:gd name="connsiteX10-2753" fmla="*/ 78058 w 2252546"/>
              <a:gd name="connsiteY10-2754" fmla="*/ 802888 h 1405054"/>
              <a:gd name="connsiteX11-2755" fmla="*/ 0 w 2252546"/>
              <a:gd name="connsiteY11-2756" fmla="*/ 880947 h 1405054"/>
              <a:gd name="connsiteX12-2757" fmla="*/ 100361 w 2252546"/>
              <a:gd name="connsiteY12-2758" fmla="*/ 1025913 h 1405054"/>
              <a:gd name="connsiteX13-2759" fmla="*/ 89210 w 2252546"/>
              <a:gd name="connsiteY13-2760" fmla="*/ 1126274 h 1405054"/>
              <a:gd name="connsiteX14-2761" fmla="*/ 144966 w 2252546"/>
              <a:gd name="connsiteY14-2762" fmla="*/ 1148576 h 1405054"/>
              <a:gd name="connsiteX15-2763" fmla="*/ 156117 w 2252546"/>
              <a:gd name="connsiteY15-2764" fmla="*/ 1059366 h 1405054"/>
              <a:gd name="connsiteX16-2765" fmla="*/ 267629 w 2252546"/>
              <a:gd name="connsiteY16-2766" fmla="*/ 1081669 h 1405054"/>
              <a:gd name="connsiteX17-2767" fmla="*/ 401444 w 2252546"/>
              <a:gd name="connsiteY17-2768" fmla="*/ 1048215 h 1405054"/>
              <a:gd name="connsiteX18-2769" fmla="*/ 479502 w 2252546"/>
              <a:gd name="connsiteY18-2770" fmla="*/ 1226635 h 1405054"/>
              <a:gd name="connsiteX19-2771" fmla="*/ 479502 w 2252546"/>
              <a:gd name="connsiteY19-2772" fmla="*/ 1360449 h 1405054"/>
              <a:gd name="connsiteX20-2773" fmla="*/ 669073 w 2252546"/>
              <a:gd name="connsiteY20-2774" fmla="*/ 1382752 h 1405054"/>
              <a:gd name="connsiteX21-2775" fmla="*/ 713678 w 2252546"/>
              <a:gd name="connsiteY21-2776" fmla="*/ 1405054 h 1405054"/>
              <a:gd name="connsiteX22-2777" fmla="*/ 970156 w 2252546"/>
              <a:gd name="connsiteY22-2778" fmla="*/ 1148576 h 1405054"/>
              <a:gd name="connsiteX23-2779" fmla="*/ 1315844 w 2252546"/>
              <a:gd name="connsiteY23-2780" fmla="*/ 1037064 h 1405054"/>
              <a:gd name="connsiteX24-2781" fmla="*/ 1405054 w 2252546"/>
              <a:gd name="connsiteY24-2782" fmla="*/ 903249 h 1405054"/>
              <a:gd name="connsiteX25-2783" fmla="*/ 1326995 w 2252546"/>
              <a:gd name="connsiteY25-2784" fmla="*/ 847493 h 1405054"/>
              <a:gd name="connsiteX26-2785" fmla="*/ 1371600 w 2252546"/>
              <a:gd name="connsiteY26-2786" fmla="*/ 747132 h 1405054"/>
              <a:gd name="connsiteX27-2787" fmla="*/ 1650380 w 2252546"/>
              <a:gd name="connsiteY27-2788" fmla="*/ 646771 h 1405054"/>
              <a:gd name="connsiteX28-2789" fmla="*/ 1650380 w 2252546"/>
              <a:gd name="connsiteY28-2790" fmla="*/ 591015 h 1405054"/>
              <a:gd name="connsiteX29-2791" fmla="*/ 1806497 w 2252546"/>
              <a:gd name="connsiteY29-2792" fmla="*/ 557561 h 1405054"/>
              <a:gd name="connsiteX30-2793" fmla="*/ 1839951 w 2252546"/>
              <a:gd name="connsiteY30-2794" fmla="*/ 579864 h 1405054"/>
              <a:gd name="connsiteX31-2795" fmla="*/ 1929161 w 2252546"/>
              <a:gd name="connsiteY31-2796" fmla="*/ 546410 h 1405054"/>
              <a:gd name="connsiteX32-2797" fmla="*/ 2241395 w 2252546"/>
              <a:gd name="connsiteY32-2798" fmla="*/ 591015 h 1405054"/>
              <a:gd name="connsiteX33-2799" fmla="*/ 2174488 w 2252546"/>
              <a:gd name="connsiteY33-2800" fmla="*/ 479503 h 1405054"/>
              <a:gd name="connsiteX34-2801" fmla="*/ 2252546 w 2252546"/>
              <a:gd name="connsiteY34-2802" fmla="*/ 434898 h 1405054"/>
              <a:gd name="connsiteX35-2803" fmla="*/ 2062976 w 2252546"/>
              <a:gd name="connsiteY35-2804" fmla="*/ 312235 h 1405054"/>
              <a:gd name="connsiteX36-2805" fmla="*/ 2062976 w 2252546"/>
              <a:gd name="connsiteY36-2806" fmla="*/ 312235 h 1405054"/>
              <a:gd name="connsiteX37-2807" fmla="*/ 2085278 w 2252546"/>
              <a:gd name="connsiteY37-2808" fmla="*/ 289932 h 1405054"/>
              <a:gd name="connsiteX38-2809" fmla="*/ 2040673 w 2252546"/>
              <a:gd name="connsiteY38-2810" fmla="*/ 189571 h 1405054"/>
              <a:gd name="connsiteX39-2811" fmla="*/ 2029522 w 2252546"/>
              <a:gd name="connsiteY39-2812" fmla="*/ 78059 h 1405054"/>
              <a:gd name="connsiteX40-2813" fmla="*/ 1862254 w 2252546"/>
              <a:gd name="connsiteY40-2814" fmla="*/ 100361 h 1405054"/>
              <a:gd name="connsiteX41-2815" fmla="*/ 1661532 w 2252546"/>
              <a:gd name="connsiteY41-2816" fmla="*/ 78059 h 1405054"/>
              <a:gd name="connsiteX42-2817" fmla="*/ 1572322 w 2252546"/>
              <a:gd name="connsiteY42-2818" fmla="*/ 156117 h 1405054"/>
              <a:gd name="connsiteX43-2819" fmla="*/ 1449658 w 2252546"/>
              <a:gd name="connsiteY43-2820" fmla="*/ 156117 h 1405054"/>
              <a:gd name="connsiteX44-2821" fmla="*/ 1550019 w 2252546"/>
              <a:gd name="connsiteY44-2822" fmla="*/ 44605 h 1405054"/>
              <a:gd name="connsiteX45-2823" fmla="*/ 1438507 w 2252546"/>
              <a:gd name="connsiteY45-2824" fmla="*/ 0 h 1405054"/>
              <a:gd name="connsiteX46-2825" fmla="*/ 1433671 w 2252546"/>
              <a:gd name="connsiteY46-2826" fmla="*/ 437229 h 1405054"/>
              <a:gd name="connsiteX47-2827" fmla="*/ 1326995 w 2252546"/>
              <a:gd name="connsiteY47-2828" fmla="*/ 122664 h 1405054"/>
              <a:gd name="connsiteX48-2829" fmla="*/ 1311312 w 2252546"/>
              <a:gd name="connsiteY48-2830" fmla="*/ 487630 h 1405054"/>
              <a:gd name="connsiteX49-2831" fmla="*/ 1240170 w 2252546"/>
              <a:gd name="connsiteY49-2832" fmla="*/ 468487 h 1405054"/>
              <a:gd name="connsiteX50-2833" fmla="*/ 1181596 w 2252546"/>
              <a:gd name="connsiteY50-2834" fmla="*/ 409716 h 1405054"/>
              <a:gd name="connsiteX51-2835" fmla="*/ 890352 w 2252546"/>
              <a:gd name="connsiteY51-2836" fmla="*/ 409716 h 1405054"/>
              <a:gd name="connsiteX52-2837" fmla="*/ 1094554 w 2252546"/>
              <a:gd name="connsiteY52-2838" fmla="*/ 724206 h 1405054"/>
              <a:gd name="connsiteX53-2839" fmla="*/ 981307 w 2252546"/>
              <a:gd name="connsiteY53-2840" fmla="*/ 778586 h 1405054"/>
              <a:gd name="connsiteX54-2841" fmla="*/ 944234 w 2252546"/>
              <a:gd name="connsiteY54-2842" fmla="*/ 675819 h 1405054"/>
              <a:gd name="connsiteX55-2843" fmla="*/ 994038 w 2252546"/>
              <a:gd name="connsiteY55-2844" fmla="*/ 481775 h 1405054"/>
              <a:gd name="connsiteX56-2845" fmla="*/ 858705 w 2252546"/>
              <a:gd name="connsiteY56-2846" fmla="*/ 489028 h 1405054"/>
              <a:gd name="connsiteX57-2847" fmla="*/ 852237 w 2252546"/>
              <a:gd name="connsiteY57-2848" fmla="*/ 545538 h 1405054"/>
              <a:gd name="connsiteX58-2849" fmla="*/ 858644 w 2252546"/>
              <a:gd name="connsiteY58-2850" fmla="*/ 731687 h 1405054"/>
              <a:gd name="connsiteX59-2851" fmla="*/ 624468 w 2252546"/>
              <a:gd name="connsiteY59-2852" fmla="*/ 814331 h 1405054"/>
              <a:gd name="connsiteX0-2853" fmla="*/ 412595 w 2252546"/>
              <a:gd name="connsiteY0-2854" fmla="*/ 144966 h 1405054"/>
              <a:gd name="connsiteX1-2855" fmla="*/ 490654 w 2252546"/>
              <a:gd name="connsiteY1-2856" fmla="*/ 267630 h 1405054"/>
              <a:gd name="connsiteX2-2857" fmla="*/ 591015 w 2252546"/>
              <a:gd name="connsiteY2-2858" fmla="*/ 367991 h 1405054"/>
              <a:gd name="connsiteX3-2859" fmla="*/ 446049 w 2252546"/>
              <a:gd name="connsiteY3-2860" fmla="*/ 367991 h 1405054"/>
              <a:gd name="connsiteX4-2861" fmla="*/ 289932 w 2252546"/>
              <a:gd name="connsiteY4-2862" fmla="*/ 367991 h 1405054"/>
              <a:gd name="connsiteX5-2863" fmla="*/ 234176 w 2252546"/>
              <a:gd name="connsiteY5-2864" fmla="*/ 434898 h 1405054"/>
              <a:gd name="connsiteX6-2865" fmla="*/ 234176 w 2252546"/>
              <a:gd name="connsiteY6-2866" fmla="*/ 512956 h 1405054"/>
              <a:gd name="connsiteX7-2867" fmla="*/ 256478 w 2252546"/>
              <a:gd name="connsiteY7-2868" fmla="*/ 624469 h 1405054"/>
              <a:gd name="connsiteX8-2869" fmla="*/ 178419 w 2252546"/>
              <a:gd name="connsiteY8-2870" fmla="*/ 702527 h 1405054"/>
              <a:gd name="connsiteX9-2871" fmla="*/ 189571 w 2252546"/>
              <a:gd name="connsiteY9-2872" fmla="*/ 769435 h 1405054"/>
              <a:gd name="connsiteX10-2873" fmla="*/ 78058 w 2252546"/>
              <a:gd name="connsiteY10-2874" fmla="*/ 802888 h 1405054"/>
              <a:gd name="connsiteX11-2875" fmla="*/ 0 w 2252546"/>
              <a:gd name="connsiteY11-2876" fmla="*/ 880947 h 1405054"/>
              <a:gd name="connsiteX12-2877" fmla="*/ 100361 w 2252546"/>
              <a:gd name="connsiteY12-2878" fmla="*/ 1025913 h 1405054"/>
              <a:gd name="connsiteX13-2879" fmla="*/ 89210 w 2252546"/>
              <a:gd name="connsiteY13-2880" fmla="*/ 1126274 h 1405054"/>
              <a:gd name="connsiteX14-2881" fmla="*/ 144966 w 2252546"/>
              <a:gd name="connsiteY14-2882" fmla="*/ 1148576 h 1405054"/>
              <a:gd name="connsiteX15-2883" fmla="*/ 156117 w 2252546"/>
              <a:gd name="connsiteY15-2884" fmla="*/ 1059366 h 1405054"/>
              <a:gd name="connsiteX16-2885" fmla="*/ 267629 w 2252546"/>
              <a:gd name="connsiteY16-2886" fmla="*/ 1081669 h 1405054"/>
              <a:gd name="connsiteX17-2887" fmla="*/ 401444 w 2252546"/>
              <a:gd name="connsiteY17-2888" fmla="*/ 1048215 h 1405054"/>
              <a:gd name="connsiteX18-2889" fmla="*/ 479502 w 2252546"/>
              <a:gd name="connsiteY18-2890" fmla="*/ 1226635 h 1405054"/>
              <a:gd name="connsiteX19-2891" fmla="*/ 479502 w 2252546"/>
              <a:gd name="connsiteY19-2892" fmla="*/ 1360449 h 1405054"/>
              <a:gd name="connsiteX20-2893" fmla="*/ 669073 w 2252546"/>
              <a:gd name="connsiteY20-2894" fmla="*/ 1382752 h 1405054"/>
              <a:gd name="connsiteX21-2895" fmla="*/ 713678 w 2252546"/>
              <a:gd name="connsiteY21-2896" fmla="*/ 1405054 h 1405054"/>
              <a:gd name="connsiteX22-2897" fmla="*/ 970156 w 2252546"/>
              <a:gd name="connsiteY22-2898" fmla="*/ 1148576 h 1405054"/>
              <a:gd name="connsiteX23-2899" fmla="*/ 1315844 w 2252546"/>
              <a:gd name="connsiteY23-2900" fmla="*/ 1037064 h 1405054"/>
              <a:gd name="connsiteX24-2901" fmla="*/ 1405054 w 2252546"/>
              <a:gd name="connsiteY24-2902" fmla="*/ 903249 h 1405054"/>
              <a:gd name="connsiteX25-2903" fmla="*/ 1326995 w 2252546"/>
              <a:gd name="connsiteY25-2904" fmla="*/ 847493 h 1405054"/>
              <a:gd name="connsiteX26-2905" fmla="*/ 1371600 w 2252546"/>
              <a:gd name="connsiteY26-2906" fmla="*/ 747132 h 1405054"/>
              <a:gd name="connsiteX27-2907" fmla="*/ 1650380 w 2252546"/>
              <a:gd name="connsiteY27-2908" fmla="*/ 646771 h 1405054"/>
              <a:gd name="connsiteX28-2909" fmla="*/ 1650380 w 2252546"/>
              <a:gd name="connsiteY28-2910" fmla="*/ 591015 h 1405054"/>
              <a:gd name="connsiteX29-2911" fmla="*/ 1806497 w 2252546"/>
              <a:gd name="connsiteY29-2912" fmla="*/ 557561 h 1405054"/>
              <a:gd name="connsiteX30-2913" fmla="*/ 1839951 w 2252546"/>
              <a:gd name="connsiteY30-2914" fmla="*/ 579864 h 1405054"/>
              <a:gd name="connsiteX31-2915" fmla="*/ 1929161 w 2252546"/>
              <a:gd name="connsiteY31-2916" fmla="*/ 546410 h 1405054"/>
              <a:gd name="connsiteX32-2917" fmla="*/ 2241395 w 2252546"/>
              <a:gd name="connsiteY32-2918" fmla="*/ 591015 h 1405054"/>
              <a:gd name="connsiteX33-2919" fmla="*/ 2174488 w 2252546"/>
              <a:gd name="connsiteY33-2920" fmla="*/ 479503 h 1405054"/>
              <a:gd name="connsiteX34-2921" fmla="*/ 2252546 w 2252546"/>
              <a:gd name="connsiteY34-2922" fmla="*/ 434898 h 1405054"/>
              <a:gd name="connsiteX35-2923" fmla="*/ 2062976 w 2252546"/>
              <a:gd name="connsiteY35-2924" fmla="*/ 312235 h 1405054"/>
              <a:gd name="connsiteX36-2925" fmla="*/ 2062976 w 2252546"/>
              <a:gd name="connsiteY36-2926" fmla="*/ 312235 h 1405054"/>
              <a:gd name="connsiteX37-2927" fmla="*/ 2085278 w 2252546"/>
              <a:gd name="connsiteY37-2928" fmla="*/ 289932 h 1405054"/>
              <a:gd name="connsiteX38-2929" fmla="*/ 2040673 w 2252546"/>
              <a:gd name="connsiteY38-2930" fmla="*/ 189571 h 1405054"/>
              <a:gd name="connsiteX39-2931" fmla="*/ 2029522 w 2252546"/>
              <a:gd name="connsiteY39-2932" fmla="*/ 78059 h 1405054"/>
              <a:gd name="connsiteX40-2933" fmla="*/ 1862254 w 2252546"/>
              <a:gd name="connsiteY40-2934" fmla="*/ 100361 h 1405054"/>
              <a:gd name="connsiteX41-2935" fmla="*/ 1661532 w 2252546"/>
              <a:gd name="connsiteY41-2936" fmla="*/ 78059 h 1405054"/>
              <a:gd name="connsiteX42-2937" fmla="*/ 1572322 w 2252546"/>
              <a:gd name="connsiteY42-2938" fmla="*/ 156117 h 1405054"/>
              <a:gd name="connsiteX43-2939" fmla="*/ 1449658 w 2252546"/>
              <a:gd name="connsiteY43-2940" fmla="*/ 156117 h 1405054"/>
              <a:gd name="connsiteX44-2941" fmla="*/ 1550019 w 2252546"/>
              <a:gd name="connsiteY44-2942" fmla="*/ 44605 h 1405054"/>
              <a:gd name="connsiteX45-2943" fmla="*/ 1438507 w 2252546"/>
              <a:gd name="connsiteY45-2944" fmla="*/ 0 h 1405054"/>
              <a:gd name="connsiteX46-2945" fmla="*/ 1433671 w 2252546"/>
              <a:gd name="connsiteY46-2946" fmla="*/ 437229 h 1405054"/>
              <a:gd name="connsiteX47-2947" fmla="*/ 1326995 w 2252546"/>
              <a:gd name="connsiteY47-2948" fmla="*/ 122664 h 1405054"/>
              <a:gd name="connsiteX48-2949" fmla="*/ 1311312 w 2252546"/>
              <a:gd name="connsiteY48-2950" fmla="*/ 487630 h 1405054"/>
              <a:gd name="connsiteX49-2951" fmla="*/ 1240170 w 2252546"/>
              <a:gd name="connsiteY49-2952" fmla="*/ 468487 h 1405054"/>
              <a:gd name="connsiteX50-2953" fmla="*/ 1181596 w 2252546"/>
              <a:gd name="connsiteY50-2954" fmla="*/ 409716 h 1405054"/>
              <a:gd name="connsiteX51-2955" fmla="*/ 890352 w 2252546"/>
              <a:gd name="connsiteY51-2956" fmla="*/ 409716 h 1405054"/>
              <a:gd name="connsiteX52-2957" fmla="*/ 981307 w 2252546"/>
              <a:gd name="connsiteY52-2958" fmla="*/ 778586 h 1405054"/>
              <a:gd name="connsiteX53-2959" fmla="*/ 944234 w 2252546"/>
              <a:gd name="connsiteY53-2960" fmla="*/ 675819 h 1405054"/>
              <a:gd name="connsiteX54-2961" fmla="*/ 994038 w 2252546"/>
              <a:gd name="connsiteY54-2962" fmla="*/ 481775 h 1405054"/>
              <a:gd name="connsiteX55-2963" fmla="*/ 858705 w 2252546"/>
              <a:gd name="connsiteY55-2964" fmla="*/ 489028 h 1405054"/>
              <a:gd name="connsiteX56-2965" fmla="*/ 852237 w 2252546"/>
              <a:gd name="connsiteY56-2966" fmla="*/ 545538 h 1405054"/>
              <a:gd name="connsiteX57-2967" fmla="*/ 858644 w 2252546"/>
              <a:gd name="connsiteY57-2968" fmla="*/ 731687 h 1405054"/>
              <a:gd name="connsiteX58-2969" fmla="*/ 624468 w 2252546"/>
              <a:gd name="connsiteY58-2970" fmla="*/ 814331 h 1405054"/>
              <a:gd name="connsiteX0-2971" fmla="*/ 412595 w 2252546"/>
              <a:gd name="connsiteY0-2972" fmla="*/ 144966 h 1405054"/>
              <a:gd name="connsiteX1-2973" fmla="*/ 490654 w 2252546"/>
              <a:gd name="connsiteY1-2974" fmla="*/ 267630 h 1405054"/>
              <a:gd name="connsiteX2-2975" fmla="*/ 591015 w 2252546"/>
              <a:gd name="connsiteY2-2976" fmla="*/ 367991 h 1405054"/>
              <a:gd name="connsiteX3-2977" fmla="*/ 446049 w 2252546"/>
              <a:gd name="connsiteY3-2978" fmla="*/ 367991 h 1405054"/>
              <a:gd name="connsiteX4-2979" fmla="*/ 289932 w 2252546"/>
              <a:gd name="connsiteY4-2980" fmla="*/ 367991 h 1405054"/>
              <a:gd name="connsiteX5-2981" fmla="*/ 234176 w 2252546"/>
              <a:gd name="connsiteY5-2982" fmla="*/ 434898 h 1405054"/>
              <a:gd name="connsiteX6-2983" fmla="*/ 234176 w 2252546"/>
              <a:gd name="connsiteY6-2984" fmla="*/ 512956 h 1405054"/>
              <a:gd name="connsiteX7-2985" fmla="*/ 256478 w 2252546"/>
              <a:gd name="connsiteY7-2986" fmla="*/ 624469 h 1405054"/>
              <a:gd name="connsiteX8-2987" fmla="*/ 178419 w 2252546"/>
              <a:gd name="connsiteY8-2988" fmla="*/ 702527 h 1405054"/>
              <a:gd name="connsiteX9-2989" fmla="*/ 189571 w 2252546"/>
              <a:gd name="connsiteY9-2990" fmla="*/ 769435 h 1405054"/>
              <a:gd name="connsiteX10-2991" fmla="*/ 78058 w 2252546"/>
              <a:gd name="connsiteY10-2992" fmla="*/ 802888 h 1405054"/>
              <a:gd name="connsiteX11-2993" fmla="*/ 0 w 2252546"/>
              <a:gd name="connsiteY11-2994" fmla="*/ 880947 h 1405054"/>
              <a:gd name="connsiteX12-2995" fmla="*/ 100361 w 2252546"/>
              <a:gd name="connsiteY12-2996" fmla="*/ 1025913 h 1405054"/>
              <a:gd name="connsiteX13-2997" fmla="*/ 89210 w 2252546"/>
              <a:gd name="connsiteY13-2998" fmla="*/ 1126274 h 1405054"/>
              <a:gd name="connsiteX14-2999" fmla="*/ 144966 w 2252546"/>
              <a:gd name="connsiteY14-3000" fmla="*/ 1148576 h 1405054"/>
              <a:gd name="connsiteX15-3001" fmla="*/ 156117 w 2252546"/>
              <a:gd name="connsiteY15-3002" fmla="*/ 1059366 h 1405054"/>
              <a:gd name="connsiteX16-3003" fmla="*/ 267629 w 2252546"/>
              <a:gd name="connsiteY16-3004" fmla="*/ 1081669 h 1405054"/>
              <a:gd name="connsiteX17-3005" fmla="*/ 401444 w 2252546"/>
              <a:gd name="connsiteY17-3006" fmla="*/ 1048215 h 1405054"/>
              <a:gd name="connsiteX18-3007" fmla="*/ 479502 w 2252546"/>
              <a:gd name="connsiteY18-3008" fmla="*/ 1226635 h 1405054"/>
              <a:gd name="connsiteX19-3009" fmla="*/ 479502 w 2252546"/>
              <a:gd name="connsiteY19-3010" fmla="*/ 1360449 h 1405054"/>
              <a:gd name="connsiteX20-3011" fmla="*/ 669073 w 2252546"/>
              <a:gd name="connsiteY20-3012" fmla="*/ 1382752 h 1405054"/>
              <a:gd name="connsiteX21-3013" fmla="*/ 713678 w 2252546"/>
              <a:gd name="connsiteY21-3014" fmla="*/ 1405054 h 1405054"/>
              <a:gd name="connsiteX22-3015" fmla="*/ 970156 w 2252546"/>
              <a:gd name="connsiteY22-3016" fmla="*/ 1148576 h 1405054"/>
              <a:gd name="connsiteX23-3017" fmla="*/ 1315844 w 2252546"/>
              <a:gd name="connsiteY23-3018" fmla="*/ 1037064 h 1405054"/>
              <a:gd name="connsiteX24-3019" fmla="*/ 1405054 w 2252546"/>
              <a:gd name="connsiteY24-3020" fmla="*/ 903249 h 1405054"/>
              <a:gd name="connsiteX25-3021" fmla="*/ 1326995 w 2252546"/>
              <a:gd name="connsiteY25-3022" fmla="*/ 847493 h 1405054"/>
              <a:gd name="connsiteX26-3023" fmla="*/ 1371600 w 2252546"/>
              <a:gd name="connsiteY26-3024" fmla="*/ 747132 h 1405054"/>
              <a:gd name="connsiteX27-3025" fmla="*/ 1650380 w 2252546"/>
              <a:gd name="connsiteY27-3026" fmla="*/ 646771 h 1405054"/>
              <a:gd name="connsiteX28-3027" fmla="*/ 1650380 w 2252546"/>
              <a:gd name="connsiteY28-3028" fmla="*/ 591015 h 1405054"/>
              <a:gd name="connsiteX29-3029" fmla="*/ 1806497 w 2252546"/>
              <a:gd name="connsiteY29-3030" fmla="*/ 557561 h 1405054"/>
              <a:gd name="connsiteX30-3031" fmla="*/ 1839951 w 2252546"/>
              <a:gd name="connsiteY30-3032" fmla="*/ 579864 h 1405054"/>
              <a:gd name="connsiteX31-3033" fmla="*/ 1929161 w 2252546"/>
              <a:gd name="connsiteY31-3034" fmla="*/ 546410 h 1405054"/>
              <a:gd name="connsiteX32-3035" fmla="*/ 2241395 w 2252546"/>
              <a:gd name="connsiteY32-3036" fmla="*/ 591015 h 1405054"/>
              <a:gd name="connsiteX33-3037" fmla="*/ 2174488 w 2252546"/>
              <a:gd name="connsiteY33-3038" fmla="*/ 479503 h 1405054"/>
              <a:gd name="connsiteX34-3039" fmla="*/ 2252546 w 2252546"/>
              <a:gd name="connsiteY34-3040" fmla="*/ 434898 h 1405054"/>
              <a:gd name="connsiteX35-3041" fmla="*/ 2062976 w 2252546"/>
              <a:gd name="connsiteY35-3042" fmla="*/ 312235 h 1405054"/>
              <a:gd name="connsiteX36-3043" fmla="*/ 2062976 w 2252546"/>
              <a:gd name="connsiteY36-3044" fmla="*/ 312235 h 1405054"/>
              <a:gd name="connsiteX37-3045" fmla="*/ 2085278 w 2252546"/>
              <a:gd name="connsiteY37-3046" fmla="*/ 289932 h 1405054"/>
              <a:gd name="connsiteX38-3047" fmla="*/ 2040673 w 2252546"/>
              <a:gd name="connsiteY38-3048" fmla="*/ 189571 h 1405054"/>
              <a:gd name="connsiteX39-3049" fmla="*/ 2029522 w 2252546"/>
              <a:gd name="connsiteY39-3050" fmla="*/ 78059 h 1405054"/>
              <a:gd name="connsiteX40-3051" fmla="*/ 1862254 w 2252546"/>
              <a:gd name="connsiteY40-3052" fmla="*/ 100361 h 1405054"/>
              <a:gd name="connsiteX41-3053" fmla="*/ 1661532 w 2252546"/>
              <a:gd name="connsiteY41-3054" fmla="*/ 78059 h 1405054"/>
              <a:gd name="connsiteX42-3055" fmla="*/ 1572322 w 2252546"/>
              <a:gd name="connsiteY42-3056" fmla="*/ 156117 h 1405054"/>
              <a:gd name="connsiteX43-3057" fmla="*/ 1449658 w 2252546"/>
              <a:gd name="connsiteY43-3058" fmla="*/ 156117 h 1405054"/>
              <a:gd name="connsiteX44-3059" fmla="*/ 1550019 w 2252546"/>
              <a:gd name="connsiteY44-3060" fmla="*/ 44605 h 1405054"/>
              <a:gd name="connsiteX45-3061" fmla="*/ 1438507 w 2252546"/>
              <a:gd name="connsiteY45-3062" fmla="*/ 0 h 1405054"/>
              <a:gd name="connsiteX46-3063" fmla="*/ 1433671 w 2252546"/>
              <a:gd name="connsiteY46-3064" fmla="*/ 437229 h 1405054"/>
              <a:gd name="connsiteX47-3065" fmla="*/ 1326995 w 2252546"/>
              <a:gd name="connsiteY47-3066" fmla="*/ 122664 h 1405054"/>
              <a:gd name="connsiteX48-3067" fmla="*/ 1311312 w 2252546"/>
              <a:gd name="connsiteY48-3068" fmla="*/ 487630 h 1405054"/>
              <a:gd name="connsiteX49-3069" fmla="*/ 1240170 w 2252546"/>
              <a:gd name="connsiteY49-3070" fmla="*/ 468487 h 1405054"/>
              <a:gd name="connsiteX50-3071" fmla="*/ 1181596 w 2252546"/>
              <a:gd name="connsiteY50-3072" fmla="*/ 409716 h 1405054"/>
              <a:gd name="connsiteX51-3073" fmla="*/ 890352 w 2252546"/>
              <a:gd name="connsiteY51-3074" fmla="*/ 409716 h 1405054"/>
              <a:gd name="connsiteX52-3075" fmla="*/ 981307 w 2252546"/>
              <a:gd name="connsiteY52-3076" fmla="*/ 778586 h 1405054"/>
              <a:gd name="connsiteX53-3077" fmla="*/ 981596 w 2252546"/>
              <a:gd name="connsiteY53-3078" fmla="*/ 769918 h 1405054"/>
              <a:gd name="connsiteX54-3079" fmla="*/ 944234 w 2252546"/>
              <a:gd name="connsiteY54-3080" fmla="*/ 675819 h 1405054"/>
              <a:gd name="connsiteX55-3081" fmla="*/ 994038 w 2252546"/>
              <a:gd name="connsiteY55-3082" fmla="*/ 481775 h 1405054"/>
              <a:gd name="connsiteX56-3083" fmla="*/ 858705 w 2252546"/>
              <a:gd name="connsiteY56-3084" fmla="*/ 489028 h 1405054"/>
              <a:gd name="connsiteX57-3085" fmla="*/ 852237 w 2252546"/>
              <a:gd name="connsiteY57-3086" fmla="*/ 545538 h 1405054"/>
              <a:gd name="connsiteX58-3087" fmla="*/ 858644 w 2252546"/>
              <a:gd name="connsiteY58-3088" fmla="*/ 731687 h 1405054"/>
              <a:gd name="connsiteX59-3089" fmla="*/ 624468 w 2252546"/>
              <a:gd name="connsiteY59-3090" fmla="*/ 814331 h 1405054"/>
              <a:gd name="connsiteX0-3091" fmla="*/ 412595 w 2252546"/>
              <a:gd name="connsiteY0-3092" fmla="*/ 144966 h 1405054"/>
              <a:gd name="connsiteX1-3093" fmla="*/ 490654 w 2252546"/>
              <a:gd name="connsiteY1-3094" fmla="*/ 267630 h 1405054"/>
              <a:gd name="connsiteX2-3095" fmla="*/ 591015 w 2252546"/>
              <a:gd name="connsiteY2-3096" fmla="*/ 367991 h 1405054"/>
              <a:gd name="connsiteX3-3097" fmla="*/ 446049 w 2252546"/>
              <a:gd name="connsiteY3-3098" fmla="*/ 367991 h 1405054"/>
              <a:gd name="connsiteX4-3099" fmla="*/ 289932 w 2252546"/>
              <a:gd name="connsiteY4-3100" fmla="*/ 367991 h 1405054"/>
              <a:gd name="connsiteX5-3101" fmla="*/ 234176 w 2252546"/>
              <a:gd name="connsiteY5-3102" fmla="*/ 434898 h 1405054"/>
              <a:gd name="connsiteX6-3103" fmla="*/ 234176 w 2252546"/>
              <a:gd name="connsiteY6-3104" fmla="*/ 512956 h 1405054"/>
              <a:gd name="connsiteX7-3105" fmla="*/ 256478 w 2252546"/>
              <a:gd name="connsiteY7-3106" fmla="*/ 624469 h 1405054"/>
              <a:gd name="connsiteX8-3107" fmla="*/ 178419 w 2252546"/>
              <a:gd name="connsiteY8-3108" fmla="*/ 702527 h 1405054"/>
              <a:gd name="connsiteX9-3109" fmla="*/ 189571 w 2252546"/>
              <a:gd name="connsiteY9-3110" fmla="*/ 769435 h 1405054"/>
              <a:gd name="connsiteX10-3111" fmla="*/ 78058 w 2252546"/>
              <a:gd name="connsiteY10-3112" fmla="*/ 802888 h 1405054"/>
              <a:gd name="connsiteX11-3113" fmla="*/ 0 w 2252546"/>
              <a:gd name="connsiteY11-3114" fmla="*/ 880947 h 1405054"/>
              <a:gd name="connsiteX12-3115" fmla="*/ 100361 w 2252546"/>
              <a:gd name="connsiteY12-3116" fmla="*/ 1025913 h 1405054"/>
              <a:gd name="connsiteX13-3117" fmla="*/ 89210 w 2252546"/>
              <a:gd name="connsiteY13-3118" fmla="*/ 1126274 h 1405054"/>
              <a:gd name="connsiteX14-3119" fmla="*/ 144966 w 2252546"/>
              <a:gd name="connsiteY14-3120" fmla="*/ 1148576 h 1405054"/>
              <a:gd name="connsiteX15-3121" fmla="*/ 156117 w 2252546"/>
              <a:gd name="connsiteY15-3122" fmla="*/ 1059366 h 1405054"/>
              <a:gd name="connsiteX16-3123" fmla="*/ 267629 w 2252546"/>
              <a:gd name="connsiteY16-3124" fmla="*/ 1081669 h 1405054"/>
              <a:gd name="connsiteX17-3125" fmla="*/ 401444 w 2252546"/>
              <a:gd name="connsiteY17-3126" fmla="*/ 1048215 h 1405054"/>
              <a:gd name="connsiteX18-3127" fmla="*/ 479502 w 2252546"/>
              <a:gd name="connsiteY18-3128" fmla="*/ 1226635 h 1405054"/>
              <a:gd name="connsiteX19-3129" fmla="*/ 479502 w 2252546"/>
              <a:gd name="connsiteY19-3130" fmla="*/ 1360449 h 1405054"/>
              <a:gd name="connsiteX20-3131" fmla="*/ 669073 w 2252546"/>
              <a:gd name="connsiteY20-3132" fmla="*/ 1382752 h 1405054"/>
              <a:gd name="connsiteX21-3133" fmla="*/ 713678 w 2252546"/>
              <a:gd name="connsiteY21-3134" fmla="*/ 1405054 h 1405054"/>
              <a:gd name="connsiteX22-3135" fmla="*/ 970156 w 2252546"/>
              <a:gd name="connsiteY22-3136" fmla="*/ 1148576 h 1405054"/>
              <a:gd name="connsiteX23-3137" fmla="*/ 1315844 w 2252546"/>
              <a:gd name="connsiteY23-3138" fmla="*/ 1037064 h 1405054"/>
              <a:gd name="connsiteX24-3139" fmla="*/ 1405054 w 2252546"/>
              <a:gd name="connsiteY24-3140" fmla="*/ 903249 h 1405054"/>
              <a:gd name="connsiteX25-3141" fmla="*/ 1326995 w 2252546"/>
              <a:gd name="connsiteY25-3142" fmla="*/ 847493 h 1405054"/>
              <a:gd name="connsiteX26-3143" fmla="*/ 1371600 w 2252546"/>
              <a:gd name="connsiteY26-3144" fmla="*/ 747132 h 1405054"/>
              <a:gd name="connsiteX27-3145" fmla="*/ 1650380 w 2252546"/>
              <a:gd name="connsiteY27-3146" fmla="*/ 646771 h 1405054"/>
              <a:gd name="connsiteX28-3147" fmla="*/ 1650380 w 2252546"/>
              <a:gd name="connsiteY28-3148" fmla="*/ 591015 h 1405054"/>
              <a:gd name="connsiteX29-3149" fmla="*/ 1806497 w 2252546"/>
              <a:gd name="connsiteY29-3150" fmla="*/ 557561 h 1405054"/>
              <a:gd name="connsiteX30-3151" fmla="*/ 1839951 w 2252546"/>
              <a:gd name="connsiteY30-3152" fmla="*/ 579864 h 1405054"/>
              <a:gd name="connsiteX31-3153" fmla="*/ 1929161 w 2252546"/>
              <a:gd name="connsiteY31-3154" fmla="*/ 546410 h 1405054"/>
              <a:gd name="connsiteX32-3155" fmla="*/ 2241395 w 2252546"/>
              <a:gd name="connsiteY32-3156" fmla="*/ 591015 h 1405054"/>
              <a:gd name="connsiteX33-3157" fmla="*/ 2174488 w 2252546"/>
              <a:gd name="connsiteY33-3158" fmla="*/ 479503 h 1405054"/>
              <a:gd name="connsiteX34-3159" fmla="*/ 2252546 w 2252546"/>
              <a:gd name="connsiteY34-3160" fmla="*/ 434898 h 1405054"/>
              <a:gd name="connsiteX35-3161" fmla="*/ 2062976 w 2252546"/>
              <a:gd name="connsiteY35-3162" fmla="*/ 312235 h 1405054"/>
              <a:gd name="connsiteX36-3163" fmla="*/ 2062976 w 2252546"/>
              <a:gd name="connsiteY36-3164" fmla="*/ 312235 h 1405054"/>
              <a:gd name="connsiteX37-3165" fmla="*/ 2085278 w 2252546"/>
              <a:gd name="connsiteY37-3166" fmla="*/ 289932 h 1405054"/>
              <a:gd name="connsiteX38-3167" fmla="*/ 2040673 w 2252546"/>
              <a:gd name="connsiteY38-3168" fmla="*/ 189571 h 1405054"/>
              <a:gd name="connsiteX39-3169" fmla="*/ 2029522 w 2252546"/>
              <a:gd name="connsiteY39-3170" fmla="*/ 78059 h 1405054"/>
              <a:gd name="connsiteX40-3171" fmla="*/ 1862254 w 2252546"/>
              <a:gd name="connsiteY40-3172" fmla="*/ 100361 h 1405054"/>
              <a:gd name="connsiteX41-3173" fmla="*/ 1661532 w 2252546"/>
              <a:gd name="connsiteY41-3174" fmla="*/ 78059 h 1405054"/>
              <a:gd name="connsiteX42-3175" fmla="*/ 1572322 w 2252546"/>
              <a:gd name="connsiteY42-3176" fmla="*/ 156117 h 1405054"/>
              <a:gd name="connsiteX43-3177" fmla="*/ 1449658 w 2252546"/>
              <a:gd name="connsiteY43-3178" fmla="*/ 156117 h 1405054"/>
              <a:gd name="connsiteX44-3179" fmla="*/ 1550019 w 2252546"/>
              <a:gd name="connsiteY44-3180" fmla="*/ 44605 h 1405054"/>
              <a:gd name="connsiteX45-3181" fmla="*/ 1438507 w 2252546"/>
              <a:gd name="connsiteY45-3182" fmla="*/ 0 h 1405054"/>
              <a:gd name="connsiteX46-3183" fmla="*/ 1433671 w 2252546"/>
              <a:gd name="connsiteY46-3184" fmla="*/ 437229 h 1405054"/>
              <a:gd name="connsiteX47-3185" fmla="*/ 1326995 w 2252546"/>
              <a:gd name="connsiteY47-3186" fmla="*/ 122664 h 1405054"/>
              <a:gd name="connsiteX48-3187" fmla="*/ 1311312 w 2252546"/>
              <a:gd name="connsiteY48-3188" fmla="*/ 487630 h 1405054"/>
              <a:gd name="connsiteX49-3189" fmla="*/ 1240170 w 2252546"/>
              <a:gd name="connsiteY49-3190" fmla="*/ 468487 h 1405054"/>
              <a:gd name="connsiteX50-3191" fmla="*/ 1181596 w 2252546"/>
              <a:gd name="connsiteY50-3192" fmla="*/ 409716 h 1405054"/>
              <a:gd name="connsiteX51-3193" fmla="*/ 890352 w 2252546"/>
              <a:gd name="connsiteY51-3194" fmla="*/ 409716 h 1405054"/>
              <a:gd name="connsiteX52-3195" fmla="*/ 981307 w 2252546"/>
              <a:gd name="connsiteY52-3196" fmla="*/ 778586 h 1405054"/>
              <a:gd name="connsiteX53-3197" fmla="*/ 944234 w 2252546"/>
              <a:gd name="connsiteY53-3198" fmla="*/ 675819 h 1405054"/>
              <a:gd name="connsiteX54-3199" fmla="*/ 994038 w 2252546"/>
              <a:gd name="connsiteY54-3200" fmla="*/ 481775 h 1405054"/>
              <a:gd name="connsiteX55-3201" fmla="*/ 858705 w 2252546"/>
              <a:gd name="connsiteY55-3202" fmla="*/ 489028 h 1405054"/>
              <a:gd name="connsiteX56-3203" fmla="*/ 852237 w 2252546"/>
              <a:gd name="connsiteY56-3204" fmla="*/ 545538 h 1405054"/>
              <a:gd name="connsiteX57-3205" fmla="*/ 858644 w 2252546"/>
              <a:gd name="connsiteY57-3206" fmla="*/ 731687 h 1405054"/>
              <a:gd name="connsiteX58-3207" fmla="*/ 624468 w 2252546"/>
              <a:gd name="connsiteY58-3208" fmla="*/ 814331 h 1405054"/>
              <a:gd name="connsiteX0-3209" fmla="*/ 412595 w 2252546"/>
              <a:gd name="connsiteY0-3210" fmla="*/ 144966 h 1405054"/>
              <a:gd name="connsiteX1-3211" fmla="*/ 490654 w 2252546"/>
              <a:gd name="connsiteY1-3212" fmla="*/ 267630 h 1405054"/>
              <a:gd name="connsiteX2-3213" fmla="*/ 591015 w 2252546"/>
              <a:gd name="connsiteY2-3214" fmla="*/ 367991 h 1405054"/>
              <a:gd name="connsiteX3-3215" fmla="*/ 446049 w 2252546"/>
              <a:gd name="connsiteY3-3216" fmla="*/ 367991 h 1405054"/>
              <a:gd name="connsiteX4-3217" fmla="*/ 289932 w 2252546"/>
              <a:gd name="connsiteY4-3218" fmla="*/ 367991 h 1405054"/>
              <a:gd name="connsiteX5-3219" fmla="*/ 234176 w 2252546"/>
              <a:gd name="connsiteY5-3220" fmla="*/ 434898 h 1405054"/>
              <a:gd name="connsiteX6-3221" fmla="*/ 234176 w 2252546"/>
              <a:gd name="connsiteY6-3222" fmla="*/ 512956 h 1405054"/>
              <a:gd name="connsiteX7-3223" fmla="*/ 256478 w 2252546"/>
              <a:gd name="connsiteY7-3224" fmla="*/ 624469 h 1405054"/>
              <a:gd name="connsiteX8-3225" fmla="*/ 178419 w 2252546"/>
              <a:gd name="connsiteY8-3226" fmla="*/ 702527 h 1405054"/>
              <a:gd name="connsiteX9-3227" fmla="*/ 189571 w 2252546"/>
              <a:gd name="connsiteY9-3228" fmla="*/ 769435 h 1405054"/>
              <a:gd name="connsiteX10-3229" fmla="*/ 78058 w 2252546"/>
              <a:gd name="connsiteY10-3230" fmla="*/ 802888 h 1405054"/>
              <a:gd name="connsiteX11-3231" fmla="*/ 0 w 2252546"/>
              <a:gd name="connsiteY11-3232" fmla="*/ 880947 h 1405054"/>
              <a:gd name="connsiteX12-3233" fmla="*/ 100361 w 2252546"/>
              <a:gd name="connsiteY12-3234" fmla="*/ 1025913 h 1405054"/>
              <a:gd name="connsiteX13-3235" fmla="*/ 89210 w 2252546"/>
              <a:gd name="connsiteY13-3236" fmla="*/ 1126274 h 1405054"/>
              <a:gd name="connsiteX14-3237" fmla="*/ 144966 w 2252546"/>
              <a:gd name="connsiteY14-3238" fmla="*/ 1148576 h 1405054"/>
              <a:gd name="connsiteX15-3239" fmla="*/ 156117 w 2252546"/>
              <a:gd name="connsiteY15-3240" fmla="*/ 1059366 h 1405054"/>
              <a:gd name="connsiteX16-3241" fmla="*/ 267629 w 2252546"/>
              <a:gd name="connsiteY16-3242" fmla="*/ 1081669 h 1405054"/>
              <a:gd name="connsiteX17-3243" fmla="*/ 401444 w 2252546"/>
              <a:gd name="connsiteY17-3244" fmla="*/ 1048215 h 1405054"/>
              <a:gd name="connsiteX18-3245" fmla="*/ 479502 w 2252546"/>
              <a:gd name="connsiteY18-3246" fmla="*/ 1226635 h 1405054"/>
              <a:gd name="connsiteX19-3247" fmla="*/ 479502 w 2252546"/>
              <a:gd name="connsiteY19-3248" fmla="*/ 1360449 h 1405054"/>
              <a:gd name="connsiteX20-3249" fmla="*/ 669073 w 2252546"/>
              <a:gd name="connsiteY20-3250" fmla="*/ 1382752 h 1405054"/>
              <a:gd name="connsiteX21-3251" fmla="*/ 713678 w 2252546"/>
              <a:gd name="connsiteY21-3252" fmla="*/ 1405054 h 1405054"/>
              <a:gd name="connsiteX22-3253" fmla="*/ 970156 w 2252546"/>
              <a:gd name="connsiteY22-3254" fmla="*/ 1148576 h 1405054"/>
              <a:gd name="connsiteX23-3255" fmla="*/ 1315844 w 2252546"/>
              <a:gd name="connsiteY23-3256" fmla="*/ 1037064 h 1405054"/>
              <a:gd name="connsiteX24-3257" fmla="*/ 1405054 w 2252546"/>
              <a:gd name="connsiteY24-3258" fmla="*/ 903249 h 1405054"/>
              <a:gd name="connsiteX25-3259" fmla="*/ 1326995 w 2252546"/>
              <a:gd name="connsiteY25-3260" fmla="*/ 847493 h 1405054"/>
              <a:gd name="connsiteX26-3261" fmla="*/ 1371600 w 2252546"/>
              <a:gd name="connsiteY26-3262" fmla="*/ 747132 h 1405054"/>
              <a:gd name="connsiteX27-3263" fmla="*/ 1650380 w 2252546"/>
              <a:gd name="connsiteY27-3264" fmla="*/ 646771 h 1405054"/>
              <a:gd name="connsiteX28-3265" fmla="*/ 1650380 w 2252546"/>
              <a:gd name="connsiteY28-3266" fmla="*/ 591015 h 1405054"/>
              <a:gd name="connsiteX29-3267" fmla="*/ 1806497 w 2252546"/>
              <a:gd name="connsiteY29-3268" fmla="*/ 557561 h 1405054"/>
              <a:gd name="connsiteX30-3269" fmla="*/ 1839951 w 2252546"/>
              <a:gd name="connsiteY30-3270" fmla="*/ 579864 h 1405054"/>
              <a:gd name="connsiteX31-3271" fmla="*/ 1929161 w 2252546"/>
              <a:gd name="connsiteY31-3272" fmla="*/ 546410 h 1405054"/>
              <a:gd name="connsiteX32-3273" fmla="*/ 2241395 w 2252546"/>
              <a:gd name="connsiteY32-3274" fmla="*/ 591015 h 1405054"/>
              <a:gd name="connsiteX33-3275" fmla="*/ 2174488 w 2252546"/>
              <a:gd name="connsiteY33-3276" fmla="*/ 479503 h 1405054"/>
              <a:gd name="connsiteX34-3277" fmla="*/ 2252546 w 2252546"/>
              <a:gd name="connsiteY34-3278" fmla="*/ 434898 h 1405054"/>
              <a:gd name="connsiteX35-3279" fmla="*/ 2062976 w 2252546"/>
              <a:gd name="connsiteY35-3280" fmla="*/ 312235 h 1405054"/>
              <a:gd name="connsiteX36-3281" fmla="*/ 2062976 w 2252546"/>
              <a:gd name="connsiteY36-3282" fmla="*/ 312235 h 1405054"/>
              <a:gd name="connsiteX37-3283" fmla="*/ 2085278 w 2252546"/>
              <a:gd name="connsiteY37-3284" fmla="*/ 289932 h 1405054"/>
              <a:gd name="connsiteX38-3285" fmla="*/ 2040673 w 2252546"/>
              <a:gd name="connsiteY38-3286" fmla="*/ 189571 h 1405054"/>
              <a:gd name="connsiteX39-3287" fmla="*/ 2029522 w 2252546"/>
              <a:gd name="connsiteY39-3288" fmla="*/ 78059 h 1405054"/>
              <a:gd name="connsiteX40-3289" fmla="*/ 1862254 w 2252546"/>
              <a:gd name="connsiteY40-3290" fmla="*/ 100361 h 1405054"/>
              <a:gd name="connsiteX41-3291" fmla="*/ 1661532 w 2252546"/>
              <a:gd name="connsiteY41-3292" fmla="*/ 78059 h 1405054"/>
              <a:gd name="connsiteX42-3293" fmla="*/ 1572322 w 2252546"/>
              <a:gd name="connsiteY42-3294" fmla="*/ 156117 h 1405054"/>
              <a:gd name="connsiteX43-3295" fmla="*/ 1449658 w 2252546"/>
              <a:gd name="connsiteY43-3296" fmla="*/ 156117 h 1405054"/>
              <a:gd name="connsiteX44-3297" fmla="*/ 1550019 w 2252546"/>
              <a:gd name="connsiteY44-3298" fmla="*/ 44605 h 1405054"/>
              <a:gd name="connsiteX45-3299" fmla="*/ 1438507 w 2252546"/>
              <a:gd name="connsiteY45-3300" fmla="*/ 0 h 1405054"/>
              <a:gd name="connsiteX46-3301" fmla="*/ 1433671 w 2252546"/>
              <a:gd name="connsiteY46-3302" fmla="*/ 437229 h 1405054"/>
              <a:gd name="connsiteX47-3303" fmla="*/ 1326995 w 2252546"/>
              <a:gd name="connsiteY47-3304" fmla="*/ 122664 h 1405054"/>
              <a:gd name="connsiteX48-3305" fmla="*/ 1311312 w 2252546"/>
              <a:gd name="connsiteY48-3306" fmla="*/ 487630 h 1405054"/>
              <a:gd name="connsiteX49-3307" fmla="*/ 1240170 w 2252546"/>
              <a:gd name="connsiteY49-3308" fmla="*/ 468487 h 1405054"/>
              <a:gd name="connsiteX50-3309" fmla="*/ 1181596 w 2252546"/>
              <a:gd name="connsiteY50-3310" fmla="*/ 409716 h 1405054"/>
              <a:gd name="connsiteX51-3311" fmla="*/ 890352 w 2252546"/>
              <a:gd name="connsiteY51-3312" fmla="*/ 409716 h 1405054"/>
              <a:gd name="connsiteX52-3313" fmla="*/ 944234 w 2252546"/>
              <a:gd name="connsiteY52-3314" fmla="*/ 675819 h 1405054"/>
              <a:gd name="connsiteX53-3315" fmla="*/ 994038 w 2252546"/>
              <a:gd name="connsiteY53-3316" fmla="*/ 481775 h 1405054"/>
              <a:gd name="connsiteX54-3317" fmla="*/ 858705 w 2252546"/>
              <a:gd name="connsiteY54-3318" fmla="*/ 489028 h 1405054"/>
              <a:gd name="connsiteX55-3319" fmla="*/ 852237 w 2252546"/>
              <a:gd name="connsiteY55-3320" fmla="*/ 545538 h 1405054"/>
              <a:gd name="connsiteX56-3321" fmla="*/ 858644 w 2252546"/>
              <a:gd name="connsiteY56-3322" fmla="*/ 731687 h 1405054"/>
              <a:gd name="connsiteX57-3323" fmla="*/ 624468 w 2252546"/>
              <a:gd name="connsiteY57-3324" fmla="*/ 814331 h 1405054"/>
              <a:gd name="connsiteX0-3325" fmla="*/ 412595 w 2252546"/>
              <a:gd name="connsiteY0-3326" fmla="*/ 144966 h 1405054"/>
              <a:gd name="connsiteX1-3327" fmla="*/ 490654 w 2252546"/>
              <a:gd name="connsiteY1-3328" fmla="*/ 267630 h 1405054"/>
              <a:gd name="connsiteX2-3329" fmla="*/ 591015 w 2252546"/>
              <a:gd name="connsiteY2-3330" fmla="*/ 367991 h 1405054"/>
              <a:gd name="connsiteX3-3331" fmla="*/ 446049 w 2252546"/>
              <a:gd name="connsiteY3-3332" fmla="*/ 367991 h 1405054"/>
              <a:gd name="connsiteX4-3333" fmla="*/ 289932 w 2252546"/>
              <a:gd name="connsiteY4-3334" fmla="*/ 367991 h 1405054"/>
              <a:gd name="connsiteX5-3335" fmla="*/ 234176 w 2252546"/>
              <a:gd name="connsiteY5-3336" fmla="*/ 434898 h 1405054"/>
              <a:gd name="connsiteX6-3337" fmla="*/ 234176 w 2252546"/>
              <a:gd name="connsiteY6-3338" fmla="*/ 512956 h 1405054"/>
              <a:gd name="connsiteX7-3339" fmla="*/ 256478 w 2252546"/>
              <a:gd name="connsiteY7-3340" fmla="*/ 624469 h 1405054"/>
              <a:gd name="connsiteX8-3341" fmla="*/ 178419 w 2252546"/>
              <a:gd name="connsiteY8-3342" fmla="*/ 702527 h 1405054"/>
              <a:gd name="connsiteX9-3343" fmla="*/ 189571 w 2252546"/>
              <a:gd name="connsiteY9-3344" fmla="*/ 769435 h 1405054"/>
              <a:gd name="connsiteX10-3345" fmla="*/ 78058 w 2252546"/>
              <a:gd name="connsiteY10-3346" fmla="*/ 802888 h 1405054"/>
              <a:gd name="connsiteX11-3347" fmla="*/ 0 w 2252546"/>
              <a:gd name="connsiteY11-3348" fmla="*/ 880947 h 1405054"/>
              <a:gd name="connsiteX12-3349" fmla="*/ 100361 w 2252546"/>
              <a:gd name="connsiteY12-3350" fmla="*/ 1025913 h 1405054"/>
              <a:gd name="connsiteX13-3351" fmla="*/ 89210 w 2252546"/>
              <a:gd name="connsiteY13-3352" fmla="*/ 1126274 h 1405054"/>
              <a:gd name="connsiteX14-3353" fmla="*/ 144966 w 2252546"/>
              <a:gd name="connsiteY14-3354" fmla="*/ 1148576 h 1405054"/>
              <a:gd name="connsiteX15-3355" fmla="*/ 156117 w 2252546"/>
              <a:gd name="connsiteY15-3356" fmla="*/ 1059366 h 1405054"/>
              <a:gd name="connsiteX16-3357" fmla="*/ 267629 w 2252546"/>
              <a:gd name="connsiteY16-3358" fmla="*/ 1081669 h 1405054"/>
              <a:gd name="connsiteX17-3359" fmla="*/ 401444 w 2252546"/>
              <a:gd name="connsiteY17-3360" fmla="*/ 1048215 h 1405054"/>
              <a:gd name="connsiteX18-3361" fmla="*/ 479502 w 2252546"/>
              <a:gd name="connsiteY18-3362" fmla="*/ 1226635 h 1405054"/>
              <a:gd name="connsiteX19-3363" fmla="*/ 479502 w 2252546"/>
              <a:gd name="connsiteY19-3364" fmla="*/ 1360449 h 1405054"/>
              <a:gd name="connsiteX20-3365" fmla="*/ 669073 w 2252546"/>
              <a:gd name="connsiteY20-3366" fmla="*/ 1382752 h 1405054"/>
              <a:gd name="connsiteX21-3367" fmla="*/ 713678 w 2252546"/>
              <a:gd name="connsiteY21-3368" fmla="*/ 1405054 h 1405054"/>
              <a:gd name="connsiteX22-3369" fmla="*/ 970156 w 2252546"/>
              <a:gd name="connsiteY22-3370" fmla="*/ 1148576 h 1405054"/>
              <a:gd name="connsiteX23-3371" fmla="*/ 1315844 w 2252546"/>
              <a:gd name="connsiteY23-3372" fmla="*/ 1037064 h 1405054"/>
              <a:gd name="connsiteX24-3373" fmla="*/ 1405054 w 2252546"/>
              <a:gd name="connsiteY24-3374" fmla="*/ 903249 h 1405054"/>
              <a:gd name="connsiteX25-3375" fmla="*/ 1326995 w 2252546"/>
              <a:gd name="connsiteY25-3376" fmla="*/ 847493 h 1405054"/>
              <a:gd name="connsiteX26-3377" fmla="*/ 1371600 w 2252546"/>
              <a:gd name="connsiteY26-3378" fmla="*/ 747132 h 1405054"/>
              <a:gd name="connsiteX27-3379" fmla="*/ 1650380 w 2252546"/>
              <a:gd name="connsiteY27-3380" fmla="*/ 646771 h 1405054"/>
              <a:gd name="connsiteX28-3381" fmla="*/ 1650380 w 2252546"/>
              <a:gd name="connsiteY28-3382" fmla="*/ 591015 h 1405054"/>
              <a:gd name="connsiteX29-3383" fmla="*/ 1806497 w 2252546"/>
              <a:gd name="connsiteY29-3384" fmla="*/ 557561 h 1405054"/>
              <a:gd name="connsiteX30-3385" fmla="*/ 1839951 w 2252546"/>
              <a:gd name="connsiteY30-3386" fmla="*/ 579864 h 1405054"/>
              <a:gd name="connsiteX31-3387" fmla="*/ 1929161 w 2252546"/>
              <a:gd name="connsiteY31-3388" fmla="*/ 546410 h 1405054"/>
              <a:gd name="connsiteX32-3389" fmla="*/ 2241395 w 2252546"/>
              <a:gd name="connsiteY32-3390" fmla="*/ 591015 h 1405054"/>
              <a:gd name="connsiteX33-3391" fmla="*/ 2174488 w 2252546"/>
              <a:gd name="connsiteY33-3392" fmla="*/ 479503 h 1405054"/>
              <a:gd name="connsiteX34-3393" fmla="*/ 2252546 w 2252546"/>
              <a:gd name="connsiteY34-3394" fmla="*/ 434898 h 1405054"/>
              <a:gd name="connsiteX35-3395" fmla="*/ 2062976 w 2252546"/>
              <a:gd name="connsiteY35-3396" fmla="*/ 312235 h 1405054"/>
              <a:gd name="connsiteX36-3397" fmla="*/ 2062976 w 2252546"/>
              <a:gd name="connsiteY36-3398" fmla="*/ 312235 h 1405054"/>
              <a:gd name="connsiteX37-3399" fmla="*/ 2085278 w 2252546"/>
              <a:gd name="connsiteY37-3400" fmla="*/ 289932 h 1405054"/>
              <a:gd name="connsiteX38-3401" fmla="*/ 2040673 w 2252546"/>
              <a:gd name="connsiteY38-3402" fmla="*/ 189571 h 1405054"/>
              <a:gd name="connsiteX39-3403" fmla="*/ 2029522 w 2252546"/>
              <a:gd name="connsiteY39-3404" fmla="*/ 78059 h 1405054"/>
              <a:gd name="connsiteX40-3405" fmla="*/ 1862254 w 2252546"/>
              <a:gd name="connsiteY40-3406" fmla="*/ 100361 h 1405054"/>
              <a:gd name="connsiteX41-3407" fmla="*/ 1661532 w 2252546"/>
              <a:gd name="connsiteY41-3408" fmla="*/ 78059 h 1405054"/>
              <a:gd name="connsiteX42-3409" fmla="*/ 1572322 w 2252546"/>
              <a:gd name="connsiteY42-3410" fmla="*/ 156117 h 1405054"/>
              <a:gd name="connsiteX43-3411" fmla="*/ 1449658 w 2252546"/>
              <a:gd name="connsiteY43-3412" fmla="*/ 156117 h 1405054"/>
              <a:gd name="connsiteX44-3413" fmla="*/ 1550019 w 2252546"/>
              <a:gd name="connsiteY44-3414" fmla="*/ 44605 h 1405054"/>
              <a:gd name="connsiteX45-3415" fmla="*/ 1438507 w 2252546"/>
              <a:gd name="connsiteY45-3416" fmla="*/ 0 h 1405054"/>
              <a:gd name="connsiteX46-3417" fmla="*/ 1433671 w 2252546"/>
              <a:gd name="connsiteY46-3418" fmla="*/ 437229 h 1405054"/>
              <a:gd name="connsiteX47-3419" fmla="*/ 1326995 w 2252546"/>
              <a:gd name="connsiteY47-3420" fmla="*/ 122664 h 1405054"/>
              <a:gd name="connsiteX48-3421" fmla="*/ 1311312 w 2252546"/>
              <a:gd name="connsiteY48-3422" fmla="*/ 487630 h 1405054"/>
              <a:gd name="connsiteX49-3423" fmla="*/ 1240170 w 2252546"/>
              <a:gd name="connsiteY49-3424" fmla="*/ 468487 h 1405054"/>
              <a:gd name="connsiteX50-3425" fmla="*/ 1181596 w 2252546"/>
              <a:gd name="connsiteY50-3426" fmla="*/ 409716 h 1405054"/>
              <a:gd name="connsiteX51-3427" fmla="*/ 890352 w 2252546"/>
              <a:gd name="connsiteY51-3428" fmla="*/ 409716 h 1405054"/>
              <a:gd name="connsiteX52-3429" fmla="*/ 944234 w 2252546"/>
              <a:gd name="connsiteY52-3430" fmla="*/ 675819 h 1405054"/>
              <a:gd name="connsiteX53-3431" fmla="*/ 994038 w 2252546"/>
              <a:gd name="connsiteY53-3432" fmla="*/ 481775 h 1405054"/>
              <a:gd name="connsiteX54-3433" fmla="*/ 913853 w 2252546"/>
              <a:gd name="connsiteY54-3434" fmla="*/ 1045735 h 1405054"/>
              <a:gd name="connsiteX55-3435" fmla="*/ 858705 w 2252546"/>
              <a:gd name="connsiteY55-3436" fmla="*/ 489028 h 1405054"/>
              <a:gd name="connsiteX56-3437" fmla="*/ 852237 w 2252546"/>
              <a:gd name="connsiteY56-3438" fmla="*/ 545538 h 1405054"/>
              <a:gd name="connsiteX57-3439" fmla="*/ 858644 w 2252546"/>
              <a:gd name="connsiteY57-3440" fmla="*/ 731687 h 1405054"/>
              <a:gd name="connsiteX58-3441" fmla="*/ 624468 w 2252546"/>
              <a:gd name="connsiteY58-3442" fmla="*/ 814331 h 1405054"/>
              <a:gd name="connsiteX0-3443" fmla="*/ 412595 w 2252546"/>
              <a:gd name="connsiteY0-3444" fmla="*/ 144966 h 1405054"/>
              <a:gd name="connsiteX1-3445" fmla="*/ 490654 w 2252546"/>
              <a:gd name="connsiteY1-3446" fmla="*/ 267630 h 1405054"/>
              <a:gd name="connsiteX2-3447" fmla="*/ 591015 w 2252546"/>
              <a:gd name="connsiteY2-3448" fmla="*/ 367991 h 1405054"/>
              <a:gd name="connsiteX3-3449" fmla="*/ 446049 w 2252546"/>
              <a:gd name="connsiteY3-3450" fmla="*/ 367991 h 1405054"/>
              <a:gd name="connsiteX4-3451" fmla="*/ 289932 w 2252546"/>
              <a:gd name="connsiteY4-3452" fmla="*/ 367991 h 1405054"/>
              <a:gd name="connsiteX5-3453" fmla="*/ 234176 w 2252546"/>
              <a:gd name="connsiteY5-3454" fmla="*/ 434898 h 1405054"/>
              <a:gd name="connsiteX6-3455" fmla="*/ 234176 w 2252546"/>
              <a:gd name="connsiteY6-3456" fmla="*/ 512956 h 1405054"/>
              <a:gd name="connsiteX7-3457" fmla="*/ 256478 w 2252546"/>
              <a:gd name="connsiteY7-3458" fmla="*/ 624469 h 1405054"/>
              <a:gd name="connsiteX8-3459" fmla="*/ 178419 w 2252546"/>
              <a:gd name="connsiteY8-3460" fmla="*/ 702527 h 1405054"/>
              <a:gd name="connsiteX9-3461" fmla="*/ 189571 w 2252546"/>
              <a:gd name="connsiteY9-3462" fmla="*/ 769435 h 1405054"/>
              <a:gd name="connsiteX10-3463" fmla="*/ 78058 w 2252546"/>
              <a:gd name="connsiteY10-3464" fmla="*/ 802888 h 1405054"/>
              <a:gd name="connsiteX11-3465" fmla="*/ 0 w 2252546"/>
              <a:gd name="connsiteY11-3466" fmla="*/ 880947 h 1405054"/>
              <a:gd name="connsiteX12-3467" fmla="*/ 100361 w 2252546"/>
              <a:gd name="connsiteY12-3468" fmla="*/ 1025913 h 1405054"/>
              <a:gd name="connsiteX13-3469" fmla="*/ 89210 w 2252546"/>
              <a:gd name="connsiteY13-3470" fmla="*/ 1126274 h 1405054"/>
              <a:gd name="connsiteX14-3471" fmla="*/ 144966 w 2252546"/>
              <a:gd name="connsiteY14-3472" fmla="*/ 1148576 h 1405054"/>
              <a:gd name="connsiteX15-3473" fmla="*/ 156117 w 2252546"/>
              <a:gd name="connsiteY15-3474" fmla="*/ 1059366 h 1405054"/>
              <a:gd name="connsiteX16-3475" fmla="*/ 267629 w 2252546"/>
              <a:gd name="connsiteY16-3476" fmla="*/ 1081669 h 1405054"/>
              <a:gd name="connsiteX17-3477" fmla="*/ 401444 w 2252546"/>
              <a:gd name="connsiteY17-3478" fmla="*/ 1048215 h 1405054"/>
              <a:gd name="connsiteX18-3479" fmla="*/ 479502 w 2252546"/>
              <a:gd name="connsiteY18-3480" fmla="*/ 1226635 h 1405054"/>
              <a:gd name="connsiteX19-3481" fmla="*/ 479502 w 2252546"/>
              <a:gd name="connsiteY19-3482" fmla="*/ 1360449 h 1405054"/>
              <a:gd name="connsiteX20-3483" fmla="*/ 669073 w 2252546"/>
              <a:gd name="connsiteY20-3484" fmla="*/ 1382752 h 1405054"/>
              <a:gd name="connsiteX21-3485" fmla="*/ 713678 w 2252546"/>
              <a:gd name="connsiteY21-3486" fmla="*/ 1405054 h 1405054"/>
              <a:gd name="connsiteX22-3487" fmla="*/ 970156 w 2252546"/>
              <a:gd name="connsiteY22-3488" fmla="*/ 1148576 h 1405054"/>
              <a:gd name="connsiteX23-3489" fmla="*/ 1315844 w 2252546"/>
              <a:gd name="connsiteY23-3490" fmla="*/ 1037064 h 1405054"/>
              <a:gd name="connsiteX24-3491" fmla="*/ 1405054 w 2252546"/>
              <a:gd name="connsiteY24-3492" fmla="*/ 903249 h 1405054"/>
              <a:gd name="connsiteX25-3493" fmla="*/ 1326995 w 2252546"/>
              <a:gd name="connsiteY25-3494" fmla="*/ 847493 h 1405054"/>
              <a:gd name="connsiteX26-3495" fmla="*/ 1371600 w 2252546"/>
              <a:gd name="connsiteY26-3496" fmla="*/ 747132 h 1405054"/>
              <a:gd name="connsiteX27-3497" fmla="*/ 1650380 w 2252546"/>
              <a:gd name="connsiteY27-3498" fmla="*/ 646771 h 1405054"/>
              <a:gd name="connsiteX28-3499" fmla="*/ 1650380 w 2252546"/>
              <a:gd name="connsiteY28-3500" fmla="*/ 591015 h 1405054"/>
              <a:gd name="connsiteX29-3501" fmla="*/ 1806497 w 2252546"/>
              <a:gd name="connsiteY29-3502" fmla="*/ 557561 h 1405054"/>
              <a:gd name="connsiteX30-3503" fmla="*/ 1839951 w 2252546"/>
              <a:gd name="connsiteY30-3504" fmla="*/ 579864 h 1405054"/>
              <a:gd name="connsiteX31-3505" fmla="*/ 1929161 w 2252546"/>
              <a:gd name="connsiteY31-3506" fmla="*/ 546410 h 1405054"/>
              <a:gd name="connsiteX32-3507" fmla="*/ 2241395 w 2252546"/>
              <a:gd name="connsiteY32-3508" fmla="*/ 591015 h 1405054"/>
              <a:gd name="connsiteX33-3509" fmla="*/ 2174488 w 2252546"/>
              <a:gd name="connsiteY33-3510" fmla="*/ 479503 h 1405054"/>
              <a:gd name="connsiteX34-3511" fmla="*/ 2252546 w 2252546"/>
              <a:gd name="connsiteY34-3512" fmla="*/ 434898 h 1405054"/>
              <a:gd name="connsiteX35-3513" fmla="*/ 2062976 w 2252546"/>
              <a:gd name="connsiteY35-3514" fmla="*/ 312235 h 1405054"/>
              <a:gd name="connsiteX36-3515" fmla="*/ 2062976 w 2252546"/>
              <a:gd name="connsiteY36-3516" fmla="*/ 312235 h 1405054"/>
              <a:gd name="connsiteX37-3517" fmla="*/ 2085278 w 2252546"/>
              <a:gd name="connsiteY37-3518" fmla="*/ 289932 h 1405054"/>
              <a:gd name="connsiteX38-3519" fmla="*/ 2040673 w 2252546"/>
              <a:gd name="connsiteY38-3520" fmla="*/ 189571 h 1405054"/>
              <a:gd name="connsiteX39-3521" fmla="*/ 2029522 w 2252546"/>
              <a:gd name="connsiteY39-3522" fmla="*/ 78059 h 1405054"/>
              <a:gd name="connsiteX40-3523" fmla="*/ 1862254 w 2252546"/>
              <a:gd name="connsiteY40-3524" fmla="*/ 100361 h 1405054"/>
              <a:gd name="connsiteX41-3525" fmla="*/ 1661532 w 2252546"/>
              <a:gd name="connsiteY41-3526" fmla="*/ 78059 h 1405054"/>
              <a:gd name="connsiteX42-3527" fmla="*/ 1572322 w 2252546"/>
              <a:gd name="connsiteY42-3528" fmla="*/ 156117 h 1405054"/>
              <a:gd name="connsiteX43-3529" fmla="*/ 1449658 w 2252546"/>
              <a:gd name="connsiteY43-3530" fmla="*/ 156117 h 1405054"/>
              <a:gd name="connsiteX44-3531" fmla="*/ 1550019 w 2252546"/>
              <a:gd name="connsiteY44-3532" fmla="*/ 44605 h 1405054"/>
              <a:gd name="connsiteX45-3533" fmla="*/ 1438507 w 2252546"/>
              <a:gd name="connsiteY45-3534" fmla="*/ 0 h 1405054"/>
              <a:gd name="connsiteX46-3535" fmla="*/ 1433671 w 2252546"/>
              <a:gd name="connsiteY46-3536" fmla="*/ 437229 h 1405054"/>
              <a:gd name="connsiteX47-3537" fmla="*/ 1326995 w 2252546"/>
              <a:gd name="connsiteY47-3538" fmla="*/ 122664 h 1405054"/>
              <a:gd name="connsiteX48-3539" fmla="*/ 1311312 w 2252546"/>
              <a:gd name="connsiteY48-3540" fmla="*/ 487630 h 1405054"/>
              <a:gd name="connsiteX49-3541" fmla="*/ 1240170 w 2252546"/>
              <a:gd name="connsiteY49-3542" fmla="*/ 468487 h 1405054"/>
              <a:gd name="connsiteX50-3543" fmla="*/ 1181596 w 2252546"/>
              <a:gd name="connsiteY50-3544" fmla="*/ 409716 h 1405054"/>
              <a:gd name="connsiteX51-3545" fmla="*/ 890352 w 2252546"/>
              <a:gd name="connsiteY51-3546" fmla="*/ 409716 h 1405054"/>
              <a:gd name="connsiteX52-3547" fmla="*/ 944234 w 2252546"/>
              <a:gd name="connsiteY52-3548" fmla="*/ 675819 h 1405054"/>
              <a:gd name="connsiteX53-3549" fmla="*/ 913853 w 2252546"/>
              <a:gd name="connsiteY53-3550" fmla="*/ 1045735 h 1405054"/>
              <a:gd name="connsiteX54-3551" fmla="*/ 858705 w 2252546"/>
              <a:gd name="connsiteY54-3552" fmla="*/ 489028 h 1405054"/>
              <a:gd name="connsiteX55-3553" fmla="*/ 852237 w 2252546"/>
              <a:gd name="connsiteY55-3554" fmla="*/ 545538 h 1405054"/>
              <a:gd name="connsiteX56-3555" fmla="*/ 858644 w 2252546"/>
              <a:gd name="connsiteY56-3556" fmla="*/ 731687 h 1405054"/>
              <a:gd name="connsiteX57-3557" fmla="*/ 624468 w 2252546"/>
              <a:gd name="connsiteY57-3558" fmla="*/ 814331 h 1405054"/>
              <a:gd name="connsiteX0-3559" fmla="*/ 412595 w 2252546"/>
              <a:gd name="connsiteY0-3560" fmla="*/ 144966 h 1405054"/>
              <a:gd name="connsiteX1-3561" fmla="*/ 490654 w 2252546"/>
              <a:gd name="connsiteY1-3562" fmla="*/ 267630 h 1405054"/>
              <a:gd name="connsiteX2-3563" fmla="*/ 591015 w 2252546"/>
              <a:gd name="connsiteY2-3564" fmla="*/ 367991 h 1405054"/>
              <a:gd name="connsiteX3-3565" fmla="*/ 446049 w 2252546"/>
              <a:gd name="connsiteY3-3566" fmla="*/ 367991 h 1405054"/>
              <a:gd name="connsiteX4-3567" fmla="*/ 289932 w 2252546"/>
              <a:gd name="connsiteY4-3568" fmla="*/ 367991 h 1405054"/>
              <a:gd name="connsiteX5-3569" fmla="*/ 234176 w 2252546"/>
              <a:gd name="connsiteY5-3570" fmla="*/ 434898 h 1405054"/>
              <a:gd name="connsiteX6-3571" fmla="*/ 234176 w 2252546"/>
              <a:gd name="connsiteY6-3572" fmla="*/ 512956 h 1405054"/>
              <a:gd name="connsiteX7-3573" fmla="*/ 256478 w 2252546"/>
              <a:gd name="connsiteY7-3574" fmla="*/ 624469 h 1405054"/>
              <a:gd name="connsiteX8-3575" fmla="*/ 178419 w 2252546"/>
              <a:gd name="connsiteY8-3576" fmla="*/ 702527 h 1405054"/>
              <a:gd name="connsiteX9-3577" fmla="*/ 189571 w 2252546"/>
              <a:gd name="connsiteY9-3578" fmla="*/ 769435 h 1405054"/>
              <a:gd name="connsiteX10-3579" fmla="*/ 78058 w 2252546"/>
              <a:gd name="connsiteY10-3580" fmla="*/ 802888 h 1405054"/>
              <a:gd name="connsiteX11-3581" fmla="*/ 0 w 2252546"/>
              <a:gd name="connsiteY11-3582" fmla="*/ 880947 h 1405054"/>
              <a:gd name="connsiteX12-3583" fmla="*/ 100361 w 2252546"/>
              <a:gd name="connsiteY12-3584" fmla="*/ 1025913 h 1405054"/>
              <a:gd name="connsiteX13-3585" fmla="*/ 89210 w 2252546"/>
              <a:gd name="connsiteY13-3586" fmla="*/ 1126274 h 1405054"/>
              <a:gd name="connsiteX14-3587" fmla="*/ 144966 w 2252546"/>
              <a:gd name="connsiteY14-3588" fmla="*/ 1148576 h 1405054"/>
              <a:gd name="connsiteX15-3589" fmla="*/ 156117 w 2252546"/>
              <a:gd name="connsiteY15-3590" fmla="*/ 1059366 h 1405054"/>
              <a:gd name="connsiteX16-3591" fmla="*/ 267629 w 2252546"/>
              <a:gd name="connsiteY16-3592" fmla="*/ 1081669 h 1405054"/>
              <a:gd name="connsiteX17-3593" fmla="*/ 401444 w 2252546"/>
              <a:gd name="connsiteY17-3594" fmla="*/ 1048215 h 1405054"/>
              <a:gd name="connsiteX18-3595" fmla="*/ 479502 w 2252546"/>
              <a:gd name="connsiteY18-3596" fmla="*/ 1226635 h 1405054"/>
              <a:gd name="connsiteX19-3597" fmla="*/ 479502 w 2252546"/>
              <a:gd name="connsiteY19-3598" fmla="*/ 1360449 h 1405054"/>
              <a:gd name="connsiteX20-3599" fmla="*/ 669073 w 2252546"/>
              <a:gd name="connsiteY20-3600" fmla="*/ 1382752 h 1405054"/>
              <a:gd name="connsiteX21-3601" fmla="*/ 713678 w 2252546"/>
              <a:gd name="connsiteY21-3602" fmla="*/ 1405054 h 1405054"/>
              <a:gd name="connsiteX22-3603" fmla="*/ 970156 w 2252546"/>
              <a:gd name="connsiteY22-3604" fmla="*/ 1148576 h 1405054"/>
              <a:gd name="connsiteX23-3605" fmla="*/ 1315844 w 2252546"/>
              <a:gd name="connsiteY23-3606" fmla="*/ 1037064 h 1405054"/>
              <a:gd name="connsiteX24-3607" fmla="*/ 1405054 w 2252546"/>
              <a:gd name="connsiteY24-3608" fmla="*/ 903249 h 1405054"/>
              <a:gd name="connsiteX25-3609" fmla="*/ 1326995 w 2252546"/>
              <a:gd name="connsiteY25-3610" fmla="*/ 847493 h 1405054"/>
              <a:gd name="connsiteX26-3611" fmla="*/ 1371600 w 2252546"/>
              <a:gd name="connsiteY26-3612" fmla="*/ 747132 h 1405054"/>
              <a:gd name="connsiteX27-3613" fmla="*/ 1650380 w 2252546"/>
              <a:gd name="connsiteY27-3614" fmla="*/ 646771 h 1405054"/>
              <a:gd name="connsiteX28-3615" fmla="*/ 1650380 w 2252546"/>
              <a:gd name="connsiteY28-3616" fmla="*/ 591015 h 1405054"/>
              <a:gd name="connsiteX29-3617" fmla="*/ 1806497 w 2252546"/>
              <a:gd name="connsiteY29-3618" fmla="*/ 557561 h 1405054"/>
              <a:gd name="connsiteX30-3619" fmla="*/ 1839951 w 2252546"/>
              <a:gd name="connsiteY30-3620" fmla="*/ 579864 h 1405054"/>
              <a:gd name="connsiteX31-3621" fmla="*/ 1929161 w 2252546"/>
              <a:gd name="connsiteY31-3622" fmla="*/ 546410 h 1405054"/>
              <a:gd name="connsiteX32-3623" fmla="*/ 2241395 w 2252546"/>
              <a:gd name="connsiteY32-3624" fmla="*/ 591015 h 1405054"/>
              <a:gd name="connsiteX33-3625" fmla="*/ 2174488 w 2252546"/>
              <a:gd name="connsiteY33-3626" fmla="*/ 479503 h 1405054"/>
              <a:gd name="connsiteX34-3627" fmla="*/ 2252546 w 2252546"/>
              <a:gd name="connsiteY34-3628" fmla="*/ 434898 h 1405054"/>
              <a:gd name="connsiteX35-3629" fmla="*/ 2062976 w 2252546"/>
              <a:gd name="connsiteY35-3630" fmla="*/ 312235 h 1405054"/>
              <a:gd name="connsiteX36-3631" fmla="*/ 2062976 w 2252546"/>
              <a:gd name="connsiteY36-3632" fmla="*/ 312235 h 1405054"/>
              <a:gd name="connsiteX37-3633" fmla="*/ 2085278 w 2252546"/>
              <a:gd name="connsiteY37-3634" fmla="*/ 289932 h 1405054"/>
              <a:gd name="connsiteX38-3635" fmla="*/ 2040673 w 2252546"/>
              <a:gd name="connsiteY38-3636" fmla="*/ 189571 h 1405054"/>
              <a:gd name="connsiteX39-3637" fmla="*/ 2029522 w 2252546"/>
              <a:gd name="connsiteY39-3638" fmla="*/ 78059 h 1405054"/>
              <a:gd name="connsiteX40-3639" fmla="*/ 1862254 w 2252546"/>
              <a:gd name="connsiteY40-3640" fmla="*/ 100361 h 1405054"/>
              <a:gd name="connsiteX41-3641" fmla="*/ 1661532 w 2252546"/>
              <a:gd name="connsiteY41-3642" fmla="*/ 78059 h 1405054"/>
              <a:gd name="connsiteX42-3643" fmla="*/ 1572322 w 2252546"/>
              <a:gd name="connsiteY42-3644" fmla="*/ 156117 h 1405054"/>
              <a:gd name="connsiteX43-3645" fmla="*/ 1449658 w 2252546"/>
              <a:gd name="connsiteY43-3646" fmla="*/ 156117 h 1405054"/>
              <a:gd name="connsiteX44-3647" fmla="*/ 1550019 w 2252546"/>
              <a:gd name="connsiteY44-3648" fmla="*/ 44605 h 1405054"/>
              <a:gd name="connsiteX45-3649" fmla="*/ 1438507 w 2252546"/>
              <a:gd name="connsiteY45-3650" fmla="*/ 0 h 1405054"/>
              <a:gd name="connsiteX46-3651" fmla="*/ 1433671 w 2252546"/>
              <a:gd name="connsiteY46-3652" fmla="*/ 437229 h 1405054"/>
              <a:gd name="connsiteX47-3653" fmla="*/ 1326995 w 2252546"/>
              <a:gd name="connsiteY47-3654" fmla="*/ 122664 h 1405054"/>
              <a:gd name="connsiteX48-3655" fmla="*/ 1311312 w 2252546"/>
              <a:gd name="connsiteY48-3656" fmla="*/ 487630 h 1405054"/>
              <a:gd name="connsiteX49-3657" fmla="*/ 1240170 w 2252546"/>
              <a:gd name="connsiteY49-3658" fmla="*/ 468487 h 1405054"/>
              <a:gd name="connsiteX50-3659" fmla="*/ 1181596 w 2252546"/>
              <a:gd name="connsiteY50-3660" fmla="*/ 409716 h 1405054"/>
              <a:gd name="connsiteX51-3661" fmla="*/ 890352 w 2252546"/>
              <a:gd name="connsiteY51-3662" fmla="*/ 409716 h 1405054"/>
              <a:gd name="connsiteX52-3663" fmla="*/ 944234 w 2252546"/>
              <a:gd name="connsiteY52-3664" fmla="*/ 675819 h 1405054"/>
              <a:gd name="connsiteX53-3665" fmla="*/ 913853 w 2252546"/>
              <a:gd name="connsiteY53-3666" fmla="*/ 1045735 h 1405054"/>
              <a:gd name="connsiteX54-3667" fmla="*/ 858705 w 2252546"/>
              <a:gd name="connsiteY54-3668" fmla="*/ 489028 h 1405054"/>
              <a:gd name="connsiteX55-3669" fmla="*/ 852237 w 2252546"/>
              <a:gd name="connsiteY55-3670" fmla="*/ 545538 h 1405054"/>
              <a:gd name="connsiteX56-3671" fmla="*/ 858644 w 2252546"/>
              <a:gd name="connsiteY56-3672" fmla="*/ 731687 h 1405054"/>
              <a:gd name="connsiteX57-3673" fmla="*/ 624468 w 2252546"/>
              <a:gd name="connsiteY57-3674" fmla="*/ 501920 h 1405054"/>
              <a:gd name="connsiteX0-3675" fmla="*/ 412595 w 2252546"/>
              <a:gd name="connsiteY0-3676" fmla="*/ 144966 h 1405054"/>
              <a:gd name="connsiteX1-3677" fmla="*/ 490654 w 2252546"/>
              <a:gd name="connsiteY1-3678" fmla="*/ 267630 h 1405054"/>
              <a:gd name="connsiteX2-3679" fmla="*/ 591015 w 2252546"/>
              <a:gd name="connsiteY2-3680" fmla="*/ 367991 h 1405054"/>
              <a:gd name="connsiteX3-3681" fmla="*/ 446049 w 2252546"/>
              <a:gd name="connsiteY3-3682" fmla="*/ 367991 h 1405054"/>
              <a:gd name="connsiteX4-3683" fmla="*/ 289932 w 2252546"/>
              <a:gd name="connsiteY4-3684" fmla="*/ 367991 h 1405054"/>
              <a:gd name="connsiteX5-3685" fmla="*/ 234176 w 2252546"/>
              <a:gd name="connsiteY5-3686" fmla="*/ 434898 h 1405054"/>
              <a:gd name="connsiteX6-3687" fmla="*/ 234176 w 2252546"/>
              <a:gd name="connsiteY6-3688" fmla="*/ 512956 h 1405054"/>
              <a:gd name="connsiteX7-3689" fmla="*/ 256478 w 2252546"/>
              <a:gd name="connsiteY7-3690" fmla="*/ 624469 h 1405054"/>
              <a:gd name="connsiteX8-3691" fmla="*/ 178419 w 2252546"/>
              <a:gd name="connsiteY8-3692" fmla="*/ 702527 h 1405054"/>
              <a:gd name="connsiteX9-3693" fmla="*/ 189571 w 2252546"/>
              <a:gd name="connsiteY9-3694" fmla="*/ 769435 h 1405054"/>
              <a:gd name="connsiteX10-3695" fmla="*/ 78058 w 2252546"/>
              <a:gd name="connsiteY10-3696" fmla="*/ 802888 h 1405054"/>
              <a:gd name="connsiteX11-3697" fmla="*/ 0 w 2252546"/>
              <a:gd name="connsiteY11-3698" fmla="*/ 880947 h 1405054"/>
              <a:gd name="connsiteX12-3699" fmla="*/ 100361 w 2252546"/>
              <a:gd name="connsiteY12-3700" fmla="*/ 1025913 h 1405054"/>
              <a:gd name="connsiteX13-3701" fmla="*/ 89210 w 2252546"/>
              <a:gd name="connsiteY13-3702" fmla="*/ 1126274 h 1405054"/>
              <a:gd name="connsiteX14-3703" fmla="*/ 144966 w 2252546"/>
              <a:gd name="connsiteY14-3704" fmla="*/ 1148576 h 1405054"/>
              <a:gd name="connsiteX15-3705" fmla="*/ 156117 w 2252546"/>
              <a:gd name="connsiteY15-3706" fmla="*/ 1059366 h 1405054"/>
              <a:gd name="connsiteX16-3707" fmla="*/ 267629 w 2252546"/>
              <a:gd name="connsiteY16-3708" fmla="*/ 1081669 h 1405054"/>
              <a:gd name="connsiteX17-3709" fmla="*/ 401444 w 2252546"/>
              <a:gd name="connsiteY17-3710" fmla="*/ 1048215 h 1405054"/>
              <a:gd name="connsiteX18-3711" fmla="*/ 479502 w 2252546"/>
              <a:gd name="connsiteY18-3712" fmla="*/ 1226635 h 1405054"/>
              <a:gd name="connsiteX19-3713" fmla="*/ 479502 w 2252546"/>
              <a:gd name="connsiteY19-3714" fmla="*/ 1360449 h 1405054"/>
              <a:gd name="connsiteX20-3715" fmla="*/ 669073 w 2252546"/>
              <a:gd name="connsiteY20-3716" fmla="*/ 1382752 h 1405054"/>
              <a:gd name="connsiteX21-3717" fmla="*/ 713678 w 2252546"/>
              <a:gd name="connsiteY21-3718" fmla="*/ 1405054 h 1405054"/>
              <a:gd name="connsiteX22-3719" fmla="*/ 970156 w 2252546"/>
              <a:gd name="connsiteY22-3720" fmla="*/ 1148576 h 1405054"/>
              <a:gd name="connsiteX23-3721" fmla="*/ 1315844 w 2252546"/>
              <a:gd name="connsiteY23-3722" fmla="*/ 1037064 h 1405054"/>
              <a:gd name="connsiteX24-3723" fmla="*/ 1405054 w 2252546"/>
              <a:gd name="connsiteY24-3724" fmla="*/ 903249 h 1405054"/>
              <a:gd name="connsiteX25-3725" fmla="*/ 1326995 w 2252546"/>
              <a:gd name="connsiteY25-3726" fmla="*/ 847493 h 1405054"/>
              <a:gd name="connsiteX26-3727" fmla="*/ 1371600 w 2252546"/>
              <a:gd name="connsiteY26-3728" fmla="*/ 747132 h 1405054"/>
              <a:gd name="connsiteX27-3729" fmla="*/ 1650380 w 2252546"/>
              <a:gd name="connsiteY27-3730" fmla="*/ 646771 h 1405054"/>
              <a:gd name="connsiteX28-3731" fmla="*/ 1650380 w 2252546"/>
              <a:gd name="connsiteY28-3732" fmla="*/ 591015 h 1405054"/>
              <a:gd name="connsiteX29-3733" fmla="*/ 1806497 w 2252546"/>
              <a:gd name="connsiteY29-3734" fmla="*/ 557561 h 1405054"/>
              <a:gd name="connsiteX30-3735" fmla="*/ 1839951 w 2252546"/>
              <a:gd name="connsiteY30-3736" fmla="*/ 579864 h 1405054"/>
              <a:gd name="connsiteX31-3737" fmla="*/ 1929161 w 2252546"/>
              <a:gd name="connsiteY31-3738" fmla="*/ 546410 h 1405054"/>
              <a:gd name="connsiteX32-3739" fmla="*/ 2241395 w 2252546"/>
              <a:gd name="connsiteY32-3740" fmla="*/ 591015 h 1405054"/>
              <a:gd name="connsiteX33-3741" fmla="*/ 2174488 w 2252546"/>
              <a:gd name="connsiteY33-3742" fmla="*/ 479503 h 1405054"/>
              <a:gd name="connsiteX34-3743" fmla="*/ 2252546 w 2252546"/>
              <a:gd name="connsiteY34-3744" fmla="*/ 434898 h 1405054"/>
              <a:gd name="connsiteX35-3745" fmla="*/ 2062976 w 2252546"/>
              <a:gd name="connsiteY35-3746" fmla="*/ 312235 h 1405054"/>
              <a:gd name="connsiteX36-3747" fmla="*/ 2062976 w 2252546"/>
              <a:gd name="connsiteY36-3748" fmla="*/ 312235 h 1405054"/>
              <a:gd name="connsiteX37-3749" fmla="*/ 2085278 w 2252546"/>
              <a:gd name="connsiteY37-3750" fmla="*/ 289932 h 1405054"/>
              <a:gd name="connsiteX38-3751" fmla="*/ 2040673 w 2252546"/>
              <a:gd name="connsiteY38-3752" fmla="*/ 189571 h 1405054"/>
              <a:gd name="connsiteX39-3753" fmla="*/ 2029522 w 2252546"/>
              <a:gd name="connsiteY39-3754" fmla="*/ 78059 h 1405054"/>
              <a:gd name="connsiteX40-3755" fmla="*/ 1862254 w 2252546"/>
              <a:gd name="connsiteY40-3756" fmla="*/ 100361 h 1405054"/>
              <a:gd name="connsiteX41-3757" fmla="*/ 1661532 w 2252546"/>
              <a:gd name="connsiteY41-3758" fmla="*/ 78059 h 1405054"/>
              <a:gd name="connsiteX42-3759" fmla="*/ 1572322 w 2252546"/>
              <a:gd name="connsiteY42-3760" fmla="*/ 156117 h 1405054"/>
              <a:gd name="connsiteX43-3761" fmla="*/ 1449658 w 2252546"/>
              <a:gd name="connsiteY43-3762" fmla="*/ 156117 h 1405054"/>
              <a:gd name="connsiteX44-3763" fmla="*/ 1550019 w 2252546"/>
              <a:gd name="connsiteY44-3764" fmla="*/ 44605 h 1405054"/>
              <a:gd name="connsiteX45-3765" fmla="*/ 1438507 w 2252546"/>
              <a:gd name="connsiteY45-3766" fmla="*/ 0 h 1405054"/>
              <a:gd name="connsiteX46-3767" fmla="*/ 1433671 w 2252546"/>
              <a:gd name="connsiteY46-3768" fmla="*/ 437229 h 1405054"/>
              <a:gd name="connsiteX47-3769" fmla="*/ 1326995 w 2252546"/>
              <a:gd name="connsiteY47-3770" fmla="*/ 122664 h 1405054"/>
              <a:gd name="connsiteX48-3771" fmla="*/ 1311312 w 2252546"/>
              <a:gd name="connsiteY48-3772" fmla="*/ 487630 h 1405054"/>
              <a:gd name="connsiteX49-3773" fmla="*/ 1240170 w 2252546"/>
              <a:gd name="connsiteY49-3774" fmla="*/ 468487 h 1405054"/>
              <a:gd name="connsiteX50-3775" fmla="*/ 1181596 w 2252546"/>
              <a:gd name="connsiteY50-3776" fmla="*/ 409716 h 1405054"/>
              <a:gd name="connsiteX51-3777" fmla="*/ 890352 w 2252546"/>
              <a:gd name="connsiteY51-3778" fmla="*/ 409716 h 1405054"/>
              <a:gd name="connsiteX52-3779" fmla="*/ 944234 w 2252546"/>
              <a:gd name="connsiteY52-3780" fmla="*/ 675819 h 1405054"/>
              <a:gd name="connsiteX53-3781" fmla="*/ 913853 w 2252546"/>
              <a:gd name="connsiteY53-3782" fmla="*/ 1045735 h 1405054"/>
              <a:gd name="connsiteX54-3783" fmla="*/ 858705 w 2252546"/>
              <a:gd name="connsiteY54-3784" fmla="*/ 489028 h 1405054"/>
              <a:gd name="connsiteX55-3785" fmla="*/ 852237 w 2252546"/>
              <a:gd name="connsiteY55-3786" fmla="*/ 545538 h 1405054"/>
              <a:gd name="connsiteX56-3787" fmla="*/ 858644 w 2252546"/>
              <a:gd name="connsiteY56-3788" fmla="*/ 731687 h 1405054"/>
              <a:gd name="connsiteX0-3789" fmla="*/ 412595 w 2252546"/>
              <a:gd name="connsiteY0-3790" fmla="*/ 144966 h 1405054"/>
              <a:gd name="connsiteX1-3791" fmla="*/ 490654 w 2252546"/>
              <a:gd name="connsiteY1-3792" fmla="*/ 267630 h 1405054"/>
              <a:gd name="connsiteX2-3793" fmla="*/ 591015 w 2252546"/>
              <a:gd name="connsiteY2-3794" fmla="*/ 367991 h 1405054"/>
              <a:gd name="connsiteX3-3795" fmla="*/ 446049 w 2252546"/>
              <a:gd name="connsiteY3-3796" fmla="*/ 367991 h 1405054"/>
              <a:gd name="connsiteX4-3797" fmla="*/ 289932 w 2252546"/>
              <a:gd name="connsiteY4-3798" fmla="*/ 367991 h 1405054"/>
              <a:gd name="connsiteX5-3799" fmla="*/ 234176 w 2252546"/>
              <a:gd name="connsiteY5-3800" fmla="*/ 434898 h 1405054"/>
              <a:gd name="connsiteX6-3801" fmla="*/ 234176 w 2252546"/>
              <a:gd name="connsiteY6-3802" fmla="*/ 512956 h 1405054"/>
              <a:gd name="connsiteX7-3803" fmla="*/ 256478 w 2252546"/>
              <a:gd name="connsiteY7-3804" fmla="*/ 624469 h 1405054"/>
              <a:gd name="connsiteX8-3805" fmla="*/ 178419 w 2252546"/>
              <a:gd name="connsiteY8-3806" fmla="*/ 702527 h 1405054"/>
              <a:gd name="connsiteX9-3807" fmla="*/ 189571 w 2252546"/>
              <a:gd name="connsiteY9-3808" fmla="*/ 769435 h 1405054"/>
              <a:gd name="connsiteX10-3809" fmla="*/ 78058 w 2252546"/>
              <a:gd name="connsiteY10-3810" fmla="*/ 802888 h 1405054"/>
              <a:gd name="connsiteX11-3811" fmla="*/ 0 w 2252546"/>
              <a:gd name="connsiteY11-3812" fmla="*/ 880947 h 1405054"/>
              <a:gd name="connsiteX12-3813" fmla="*/ 100361 w 2252546"/>
              <a:gd name="connsiteY12-3814" fmla="*/ 1025913 h 1405054"/>
              <a:gd name="connsiteX13-3815" fmla="*/ 89210 w 2252546"/>
              <a:gd name="connsiteY13-3816" fmla="*/ 1126274 h 1405054"/>
              <a:gd name="connsiteX14-3817" fmla="*/ 144966 w 2252546"/>
              <a:gd name="connsiteY14-3818" fmla="*/ 1148576 h 1405054"/>
              <a:gd name="connsiteX15-3819" fmla="*/ 156117 w 2252546"/>
              <a:gd name="connsiteY15-3820" fmla="*/ 1059366 h 1405054"/>
              <a:gd name="connsiteX16-3821" fmla="*/ 267629 w 2252546"/>
              <a:gd name="connsiteY16-3822" fmla="*/ 1081669 h 1405054"/>
              <a:gd name="connsiteX17-3823" fmla="*/ 401444 w 2252546"/>
              <a:gd name="connsiteY17-3824" fmla="*/ 1048215 h 1405054"/>
              <a:gd name="connsiteX18-3825" fmla="*/ 479502 w 2252546"/>
              <a:gd name="connsiteY18-3826" fmla="*/ 1226635 h 1405054"/>
              <a:gd name="connsiteX19-3827" fmla="*/ 479502 w 2252546"/>
              <a:gd name="connsiteY19-3828" fmla="*/ 1360449 h 1405054"/>
              <a:gd name="connsiteX20-3829" fmla="*/ 669073 w 2252546"/>
              <a:gd name="connsiteY20-3830" fmla="*/ 1382752 h 1405054"/>
              <a:gd name="connsiteX21-3831" fmla="*/ 713678 w 2252546"/>
              <a:gd name="connsiteY21-3832" fmla="*/ 1405054 h 1405054"/>
              <a:gd name="connsiteX22-3833" fmla="*/ 970156 w 2252546"/>
              <a:gd name="connsiteY22-3834" fmla="*/ 1148576 h 1405054"/>
              <a:gd name="connsiteX23-3835" fmla="*/ 1315844 w 2252546"/>
              <a:gd name="connsiteY23-3836" fmla="*/ 1037064 h 1405054"/>
              <a:gd name="connsiteX24-3837" fmla="*/ 1405054 w 2252546"/>
              <a:gd name="connsiteY24-3838" fmla="*/ 903249 h 1405054"/>
              <a:gd name="connsiteX25-3839" fmla="*/ 1326995 w 2252546"/>
              <a:gd name="connsiteY25-3840" fmla="*/ 847493 h 1405054"/>
              <a:gd name="connsiteX26-3841" fmla="*/ 1371600 w 2252546"/>
              <a:gd name="connsiteY26-3842" fmla="*/ 747132 h 1405054"/>
              <a:gd name="connsiteX27-3843" fmla="*/ 1650380 w 2252546"/>
              <a:gd name="connsiteY27-3844" fmla="*/ 646771 h 1405054"/>
              <a:gd name="connsiteX28-3845" fmla="*/ 1650380 w 2252546"/>
              <a:gd name="connsiteY28-3846" fmla="*/ 591015 h 1405054"/>
              <a:gd name="connsiteX29-3847" fmla="*/ 1806497 w 2252546"/>
              <a:gd name="connsiteY29-3848" fmla="*/ 557561 h 1405054"/>
              <a:gd name="connsiteX30-3849" fmla="*/ 1839951 w 2252546"/>
              <a:gd name="connsiteY30-3850" fmla="*/ 579864 h 1405054"/>
              <a:gd name="connsiteX31-3851" fmla="*/ 1929161 w 2252546"/>
              <a:gd name="connsiteY31-3852" fmla="*/ 546410 h 1405054"/>
              <a:gd name="connsiteX32-3853" fmla="*/ 2241395 w 2252546"/>
              <a:gd name="connsiteY32-3854" fmla="*/ 591015 h 1405054"/>
              <a:gd name="connsiteX33-3855" fmla="*/ 2174488 w 2252546"/>
              <a:gd name="connsiteY33-3856" fmla="*/ 479503 h 1405054"/>
              <a:gd name="connsiteX34-3857" fmla="*/ 2252546 w 2252546"/>
              <a:gd name="connsiteY34-3858" fmla="*/ 434898 h 1405054"/>
              <a:gd name="connsiteX35-3859" fmla="*/ 2062976 w 2252546"/>
              <a:gd name="connsiteY35-3860" fmla="*/ 312235 h 1405054"/>
              <a:gd name="connsiteX36-3861" fmla="*/ 2062976 w 2252546"/>
              <a:gd name="connsiteY36-3862" fmla="*/ 312235 h 1405054"/>
              <a:gd name="connsiteX37-3863" fmla="*/ 2085278 w 2252546"/>
              <a:gd name="connsiteY37-3864" fmla="*/ 289932 h 1405054"/>
              <a:gd name="connsiteX38-3865" fmla="*/ 2040673 w 2252546"/>
              <a:gd name="connsiteY38-3866" fmla="*/ 189571 h 1405054"/>
              <a:gd name="connsiteX39-3867" fmla="*/ 2029522 w 2252546"/>
              <a:gd name="connsiteY39-3868" fmla="*/ 78059 h 1405054"/>
              <a:gd name="connsiteX40-3869" fmla="*/ 1862254 w 2252546"/>
              <a:gd name="connsiteY40-3870" fmla="*/ 100361 h 1405054"/>
              <a:gd name="connsiteX41-3871" fmla="*/ 1661532 w 2252546"/>
              <a:gd name="connsiteY41-3872" fmla="*/ 78059 h 1405054"/>
              <a:gd name="connsiteX42-3873" fmla="*/ 1572322 w 2252546"/>
              <a:gd name="connsiteY42-3874" fmla="*/ 156117 h 1405054"/>
              <a:gd name="connsiteX43-3875" fmla="*/ 1449658 w 2252546"/>
              <a:gd name="connsiteY43-3876" fmla="*/ 156117 h 1405054"/>
              <a:gd name="connsiteX44-3877" fmla="*/ 1550019 w 2252546"/>
              <a:gd name="connsiteY44-3878" fmla="*/ 44605 h 1405054"/>
              <a:gd name="connsiteX45-3879" fmla="*/ 1438507 w 2252546"/>
              <a:gd name="connsiteY45-3880" fmla="*/ 0 h 1405054"/>
              <a:gd name="connsiteX46-3881" fmla="*/ 1433671 w 2252546"/>
              <a:gd name="connsiteY46-3882" fmla="*/ 437229 h 1405054"/>
              <a:gd name="connsiteX47-3883" fmla="*/ 1326995 w 2252546"/>
              <a:gd name="connsiteY47-3884" fmla="*/ 122664 h 1405054"/>
              <a:gd name="connsiteX48-3885" fmla="*/ 1311312 w 2252546"/>
              <a:gd name="connsiteY48-3886" fmla="*/ 487630 h 1405054"/>
              <a:gd name="connsiteX49-3887" fmla="*/ 1240170 w 2252546"/>
              <a:gd name="connsiteY49-3888" fmla="*/ 468487 h 1405054"/>
              <a:gd name="connsiteX50-3889" fmla="*/ 1181596 w 2252546"/>
              <a:gd name="connsiteY50-3890" fmla="*/ 409716 h 1405054"/>
              <a:gd name="connsiteX51-3891" fmla="*/ 890352 w 2252546"/>
              <a:gd name="connsiteY51-3892" fmla="*/ 409716 h 1405054"/>
              <a:gd name="connsiteX52-3893" fmla="*/ 944234 w 2252546"/>
              <a:gd name="connsiteY52-3894" fmla="*/ 675819 h 1405054"/>
              <a:gd name="connsiteX53-3895" fmla="*/ 913853 w 2252546"/>
              <a:gd name="connsiteY53-3896" fmla="*/ 1045735 h 1405054"/>
              <a:gd name="connsiteX54-3897" fmla="*/ 858705 w 2252546"/>
              <a:gd name="connsiteY54-3898" fmla="*/ 489028 h 1405054"/>
              <a:gd name="connsiteX55-3899" fmla="*/ 852237 w 2252546"/>
              <a:gd name="connsiteY55-3900" fmla="*/ 545538 h 1405054"/>
              <a:gd name="connsiteX56-3901" fmla="*/ 723189 w 2252546"/>
              <a:gd name="connsiteY56-3902" fmla="*/ 481754 h 1405054"/>
              <a:gd name="connsiteX0-3903" fmla="*/ 412595 w 2252546"/>
              <a:gd name="connsiteY0-3904" fmla="*/ 144966 h 1405054"/>
              <a:gd name="connsiteX1-3905" fmla="*/ 490654 w 2252546"/>
              <a:gd name="connsiteY1-3906" fmla="*/ 267630 h 1405054"/>
              <a:gd name="connsiteX2-3907" fmla="*/ 591015 w 2252546"/>
              <a:gd name="connsiteY2-3908" fmla="*/ 367991 h 1405054"/>
              <a:gd name="connsiteX3-3909" fmla="*/ 446049 w 2252546"/>
              <a:gd name="connsiteY3-3910" fmla="*/ 367991 h 1405054"/>
              <a:gd name="connsiteX4-3911" fmla="*/ 289932 w 2252546"/>
              <a:gd name="connsiteY4-3912" fmla="*/ 367991 h 1405054"/>
              <a:gd name="connsiteX5-3913" fmla="*/ 234176 w 2252546"/>
              <a:gd name="connsiteY5-3914" fmla="*/ 434898 h 1405054"/>
              <a:gd name="connsiteX6-3915" fmla="*/ 234176 w 2252546"/>
              <a:gd name="connsiteY6-3916" fmla="*/ 512956 h 1405054"/>
              <a:gd name="connsiteX7-3917" fmla="*/ 256478 w 2252546"/>
              <a:gd name="connsiteY7-3918" fmla="*/ 624469 h 1405054"/>
              <a:gd name="connsiteX8-3919" fmla="*/ 178419 w 2252546"/>
              <a:gd name="connsiteY8-3920" fmla="*/ 702527 h 1405054"/>
              <a:gd name="connsiteX9-3921" fmla="*/ 189571 w 2252546"/>
              <a:gd name="connsiteY9-3922" fmla="*/ 769435 h 1405054"/>
              <a:gd name="connsiteX10-3923" fmla="*/ 78058 w 2252546"/>
              <a:gd name="connsiteY10-3924" fmla="*/ 802888 h 1405054"/>
              <a:gd name="connsiteX11-3925" fmla="*/ 0 w 2252546"/>
              <a:gd name="connsiteY11-3926" fmla="*/ 880947 h 1405054"/>
              <a:gd name="connsiteX12-3927" fmla="*/ 100361 w 2252546"/>
              <a:gd name="connsiteY12-3928" fmla="*/ 1025913 h 1405054"/>
              <a:gd name="connsiteX13-3929" fmla="*/ 89210 w 2252546"/>
              <a:gd name="connsiteY13-3930" fmla="*/ 1126274 h 1405054"/>
              <a:gd name="connsiteX14-3931" fmla="*/ 144966 w 2252546"/>
              <a:gd name="connsiteY14-3932" fmla="*/ 1148576 h 1405054"/>
              <a:gd name="connsiteX15-3933" fmla="*/ 156117 w 2252546"/>
              <a:gd name="connsiteY15-3934" fmla="*/ 1059366 h 1405054"/>
              <a:gd name="connsiteX16-3935" fmla="*/ 267629 w 2252546"/>
              <a:gd name="connsiteY16-3936" fmla="*/ 1081669 h 1405054"/>
              <a:gd name="connsiteX17-3937" fmla="*/ 401444 w 2252546"/>
              <a:gd name="connsiteY17-3938" fmla="*/ 1048215 h 1405054"/>
              <a:gd name="connsiteX18-3939" fmla="*/ 479502 w 2252546"/>
              <a:gd name="connsiteY18-3940" fmla="*/ 1226635 h 1405054"/>
              <a:gd name="connsiteX19-3941" fmla="*/ 479502 w 2252546"/>
              <a:gd name="connsiteY19-3942" fmla="*/ 1360449 h 1405054"/>
              <a:gd name="connsiteX20-3943" fmla="*/ 669073 w 2252546"/>
              <a:gd name="connsiteY20-3944" fmla="*/ 1382752 h 1405054"/>
              <a:gd name="connsiteX21-3945" fmla="*/ 713678 w 2252546"/>
              <a:gd name="connsiteY21-3946" fmla="*/ 1405054 h 1405054"/>
              <a:gd name="connsiteX22-3947" fmla="*/ 970156 w 2252546"/>
              <a:gd name="connsiteY22-3948" fmla="*/ 1148576 h 1405054"/>
              <a:gd name="connsiteX23-3949" fmla="*/ 1315844 w 2252546"/>
              <a:gd name="connsiteY23-3950" fmla="*/ 1037064 h 1405054"/>
              <a:gd name="connsiteX24-3951" fmla="*/ 1405054 w 2252546"/>
              <a:gd name="connsiteY24-3952" fmla="*/ 903249 h 1405054"/>
              <a:gd name="connsiteX25-3953" fmla="*/ 1326995 w 2252546"/>
              <a:gd name="connsiteY25-3954" fmla="*/ 847493 h 1405054"/>
              <a:gd name="connsiteX26-3955" fmla="*/ 1371600 w 2252546"/>
              <a:gd name="connsiteY26-3956" fmla="*/ 747132 h 1405054"/>
              <a:gd name="connsiteX27-3957" fmla="*/ 1650380 w 2252546"/>
              <a:gd name="connsiteY27-3958" fmla="*/ 646771 h 1405054"/>
              <a:gd name="connsiteX28-3959" fmla="*/ 1650380 w 2252546"/>
              <a:gd name="connsiteY28-3960" fmla="*/ 591015 h 1405054"/>
              <a:gd name="connsiteX29-3961" fmla="*/ 1806497 w 2252546"/>
              <a:gd name="connsiteY29-3962" fmla="*/ 557561 h 1405054"/>
              <a:gd name="connsiteX30-3963" fmla="*/ 1839951 w 2252546"/>
              <a:gd name="connsiteY30-3964" fmla="*/ 579864 h 1405054"/>
              <a:gd name="connsiteX31-3965" fmla="*/ 1929161 w 2252546"/>
              <a:gd name="connsiteY31-3966" fmla="*/ 546410 h 1405054"/>
              <a:gd name="connsiteX32-3967" fmla="*/ 2241395 w 2252546"/>
              <a:gd name="connsiteY32-3968" fmla="*/ 591015 h 1405054"/>
              <a:gd name="connsiteX33-3969" fmla="*/ 2174488 w 2252546"/>
              <a:gd name="connsiteY33-3970" fmla="*/ 479503 h 1405054"/>
              <a:gd name="connsiteX34-3971" fmla="*/ 2252546 w 2252546"/>
              <a:gd name="connsiteY34-3972" fmla="*/ 434898 h 1405054"/>
              <a:gd name="connsiteX35-3973" fmla="*/ 2062976 w 2252546"/>
              <a:gd name="connsiteY35-3974" fmla="*/ 312235 h 1405054"/>
              <a:gd name="connsiteX36-3975" fmla="*/ 2062976 w 2252546"/>
              <a:gd name="connsiteY36-3976" fmla="*/ 312235 h 1405054"/>
              <a:gd name="connsiteX37-3977" fmla="*/ 2085278 w 2252546"/>
              <a:gd name="connsiteY37-3978" fmla="*/ 289932 h 1405054"/>
              <a:gd name="connsiteX38-3979" fmla="*/ 2040673 w 2252546"/>
              <a:gd name="connsiteY38-3980" fmla="*/ 189571 h 1405054"/>
              <a:gd name="connsiteX39-3981" fmla="*/ 2029522 w 2252546"/>
              <a:gd name="connsiteY39-3982" fmla="*/ 78059 h 1405054"/>
              <a:gd name="connsiteX40-3983" fmla="*/ 1862254 w 2252546"/>
              <a:gd name="connsiteY40-3984" fmla="*/ 100361 h 1405054"/>
              <a:gd name="connsiteX41-3985" fmla="*/ 1661532 w 2252546"/>
              <a:gd name="connsiteY41-3986" fmla="*/ 78059 h 1405054"/>
              <a:gd name="connsiteX42-3987" fmla="*/ 1572322 w 2252546"/>
              <a:gd name="connsiteY42-3988" fmla="*/ 156117 h 1405054"/>
              <a:gd name="connsiteX43-3989" fmla="*/ 1449658 w 2252546"/>
              <a:gd name="connsiteY43-3990" fmla="*/ 156117 h 1405054"/>
              <a:gd name="connsiteX44-3991" fmla="*/ 1550019 w 2252546"/>
              <a:gd name="connsiteY44-3992" fmla="*/ 44605 h 1405054"/>
              <a:gd name="connsiteX45-3993" fmla="*/ 1438507 w 2252546"/>
              <a:gd name="connsiteY45-3994" fmla="*/ 0 h 1405054"/>
              <a:gd name="connsiteX46-3995" fmla="*/ 1433671 w 2252546"/>
              <a:gd name="connsiteY46-3996" fmla="*/ 437229 h 1405054"/>
              <a:gd name="connsiteX47-3997" fmla="*/ 1326995 w 2252546"/>
              <a:gd name="connsiteY47-3998" fmla="*/ 122664 h 1405054"/>
              <a:gd name="connsiteX48-3999" fmla="*/ 1311312 w 2252546"/>
              <a:gd name="connsiteY48-4000" fmla="*/ 487630 h 1405054"/>
              <a:gd name="connsiteX49-4001" fmla="*/ 1240170 w 2252546"/>
              <a:gd name="connsiteY49-4002" fmla="*/ 468487 h 1405054"/>
              <a:gd name="connsiteX50-4003" fmla="*/ 1181596 w 2252546"/>
              <a:gd name="connsiteY50-4004" fmla="*/ 409716 h 1405054"/>
              <a:gd name="connsiteX51-4005" fmla="*/ 890352 w 2252546"/>
              <a:gd name="connsiteY51-4006" fmla="*/ 409716 h 1405054"/>
              <a:gd name="connsiteX52-4007" fmla="*/ 944234 w 2252546"/>
              <a:gd name="connsiteY52-4008" fmla="*/ 675819 h 1405054"/>
              <a:gd name="connsiteX53-4009" fmla="*/ 913853 w 2252546"/>
              <a:gd name="connsiteY53-4010" fmla="*/ 1045735 h 1405054"/>
              <a:gd name="connsiteX54-4011" fmla="*/ 858705 w 2252546"/>
              <a:gd name="connsiteY54-4012" fmla="*/ 489028 h 1405054"/>
              <a:gd name="connsiteX55-4013" fmla="*/ 784495 w 2252546"/>
              <a:gd name="connsiteY55-4014" fmla="*/ 545538 h 1405054"/>
              <a:gd name="connsiteX56-4015" fmla="*/ 723189 w 2252546"/>
              <a:gd name="connsiteY56-4016" fmla="*/ 481754 h 1405054"/>
              <a:gd name="connsiteX0-4017" fmla="*/ 412595 w 2252546"/>
              <a:gd name="connsiteY0-4018" fmla="*/ 144966 h 1405054"/>
              <a:gd name="connsiteX1-4019" fmla="*/ 490654 w 2252546"/>
              <a:gd name="connsiteY1-4020" fmla="*/ 267630 h 1405054"/>
              <a:gd name="connsiteX2-4021" fmla="*/ 591015 w 2252546"/>
              <a:gd name="connsiteY2-4022" fmla="*/ 367991 h 1405054"/>
              <a:gd name="connsiteX3-4023" fmla="*/ 446049 w 2252546"/>
              <a:gd name="connsiteY3-4024" fmla="*/ 367991 h 1405054"/>
              <a:gd name="connsiteX4-4025" fmla="*/ 289932 w 2252546"/>
              <a:gd name="connsiteY4-4026" fmla="*/ 367991 h 1405054"/>
              <a:gd name="connsiteX5-4027" fmla="*/ 234176 w 2252546"/>
              <a:gd name="connsiteY5-4028" fmla="*/ 434898 h 1405054"/>
              <a:gd name="connsiteX6-4029" fmla="*/ 234176 w 2252546"/>
              <a:gd name="connsiteY6-4030" fmla="*/ 512956 h 1405054"/>
              <a:gd name="connsiteX7-4031" fmla="*/ 256478 w 2252546"/>
              <a:gd name="connsiteY7-4032" fmla="*/ 624469 h 1405054"/>
              <a:gd name="connsiteX8-4033" fmla="*/ 178419 w 2252546"/>
              <a:gd name="connsiteY8-4034" fmla="*/ 702527 h 1405054"/>
              <a:gd name="connsiteX9-4035" fmla="*/ 189571 w 2252546"/>
              <a:gd name="connsiteY9-4036" fmla="*/ 769435 h 1405054"/>
              <a:gd name="connsiteX10-4037" fmla="*/ 78058 w 2252546"/>
              <a:gd name="connsiteY10-4038" fmla="*/ 802888 h 1405054"/>
              <a:gd name="connsiteX11-4039" fmla="*/ 0 w 2252546"/>
              <a:gd name="connsiteY11-4040" fmla="*/ 880947 h 1405054"/>
              <a:gd name="connsiteX12-4041" fmla="*/ 100361 w 2252546"/>
              <a:gd name="connsiteY12-4042" fmla="*/ 1025913 h 1405054"/>
              <a:gd name="connsiteX13-4043" fmla="*/ 89210 w 2252546"/>
              <a:gd name="connsiteY13-4044" fmla="*/ 1126274 h 1405054"/>
              <a:gd name="connsiteX14-4045" fmla="*/ 144966 w 2252546"/>
              <a:gd name="connsiteY14-4046" fmla="*/ 1148576 h 1405054"/>
              <a:gd name="connsiteX15-4047" fmla="*/ 156117 w 2252546"/>
              <a:gd name="connsiteY15-4048" fmla="*/ 1059366 h 1405054"/>
              <a:gd name="connsiteX16-4049" fmla="*/ 267629 w 2252546"/>
              <a:gd name="connsiteY16-4050" fmla="*/ 1081669 h 1405054"/>
              <a:gd name="connsiteX17-4051" fmla="*/ 401444 w 2252546"/>
              <a:gd name="connsiteY17-4052" fmla="*/ 1048215 h 1405054"/>
              <a:gd name="connsiteX18-4053" fmla="*/ 479502 w 2252546"/>
              <a:gd name="connsiteY18-4054" fmla="*/ 1226635 h 1405054"/>
              <a:gd name="connsiteX19-4055" fmla="*/ 479502 w 2252546"/>
              <a:gd name="connsiteY19-4056" fmla="*/ 1360449 h 1405054"/>
              <a:gd name="connsiteX20-4057" fmla="*/ 669073 w 2252546"/>
              <a:gd name="connsiteY20-4058" fmla="*/ 1382752 h 1405054"/>
              <a:gd name="connsiteX21-4059" fmla="*/ 713678 w 2252546"/>
              <a:gd name="connsiteY21-4060" fmla="*/ 1405054 h 1405054"/>
              <a:gd name="connsiteX22-4061" fmla="*/ 970156 w 2252546"/>
              <a:gd name="connsiteY22-4062" fmla="*/ 1148576 h 1405054"/>
              <a:gd name="connsiteX23-4063" fmla="*/ 1315844 w 2252546"/>
              <a:gd name="connsiteY23-4064" fmla="*/ 1037064 h 1405054"/>
              <a:gd name="connsiteX24-4065" fmla="*/ 1405054 w 2252546"/>
              <a:gd name="connsiteY24-4066" fmla="*/ 903249 h 1405054"/>
              <a:gd name="connsiteX25-4067" fmla="*/ 1326995 w 2252546"/>
              <a:gd name="connsiteY25-4068" fmla="*/ 847493 h 1405054"/>
              <a:gd name="connsiteX26-4069" fmla="*/ 1371600 w 2252546"/>
              <a:gd name="connsiteY26-4070" fmla="*/ 747132 h 1405054"/>
              <a:gd name="connsiteX27-4071" fmla="*/ 1650380 w 2252546"/>
              <a:gd name="connsiteY27-4072" fmla="*/ 646771 h 1405054"/>
              <a:gd name="connsiteX28-4073" fmla="*/ 1650380 w 2252546"/>
              <a:gd name="connsiteY28-4074" fmla="*/ 591015 h 1405054"/>
              <a:gd name="connsiteX29-4075" fmla="*/ 1806497 w 2252546"/>
              <a:gd name="connsiteY29-4076" fmla="*/ 557561 h 1405054"/>
              <a:gd name="connsiteX30-4077" fmla="*/ 1839951 w 2252546"/>
              <a:gd name="connsiteY30-4078" fmla="*/ 579864 h 1405054"/>
              <a:gd name="connsiteX31-4079" fmla="*/ 1929161 w 2252546"/>
              <a:gd name="connsiteY31-4080" fmla="*/ 546410 h 1405054"/>
              <a:gd name="connsiteX32-4081" fmla="*/ 2241395 w 2252546"/>
              <a:gd name="connsiteY32-4082" fmla="*/ 591015 h 1405054"/>
              <a:gd name="connsiteX33-4083" fmla="*/ 2174488 w 2252546"/>
              <a:gd name="connsiteY33-4084" fmla="*/ 479503 h 1405054"/>
              <a:gd name="connsiteX34-4085" fmla="*/ 2252546 w 2252546"/>
              <a:gd name="connsiteY34-4086" fmla="*/ 434898 h 1405054"/>
              <a:gd name="connsiteX35-4087" fmla="*/ 2062976 w 2252546"/>
              <a:gd name="connsiteY35-4088" fmla="*/ 312235 h 1405054"/>
              <a:gd name="connsiteX36-4089" fmla="*/ 2062976 w 2252546"/>
              <a:gd name="connsiteY36-4090" fmla="*/ 312235 h 1405054"/>
              <a:gd name="connsiteX37-4091" fmla="*/ 2085278 w 2252546"/>
              <a:gd name="connsiteY37-4092" fmla="*/ 289932 h 1405054"/>
              <a:gd name="connsiteX38-4093" fmla="*/ 2040673 w 2252546"/>
              <a:gd name="connsiteY38-4094" fmla="*/ 189571 h 1405054"/>
              <a:gd name="connsiteX39-4095" fmla="*/ 2029522 w 2252546"/>
              <a:gd name="connsiteY39-4096" fmla="*/ 78059 h 1405054"/>
              <a:gd name="connsiteX40-4097" fmla="*/ 1862254 w 2252546"/>
              <a:gd name="connsiteY40-4098" fmla="*/ 100361 h 1405054"/>
              <a:gd name="connsiteX41-4099" fmla="*/ 1661532 w 2252546"/>
              <a:gd name="connsiteY41-4100" fmla="*/ 78059 h 1405054"/>
              <a:gd name="connsiteX42-4101" fmla="*/ 1572322 w 2252546"/>
              <a:gd name="connsiteY42-4102" fmla="*/ 156117 h 1405054"/>
              <a:gd name="connsiteX43-4103" fmla="*/ 1449658 w 2252546"/>
              <a:gd name="connsiteY43-4104" fmla="*/ 156117 h 1405054"/>
              <a:gd name="connsiteX44-4105" fmla="*/ 1550019 w 2252546"/>
              <a:gd name="connsiteY44-4106" fmla="*/ 44605 h 1405054"/>
              <a:gd name="connsiteX45-4107" fmla="*/ 1438507 w 2252546"/>
              <a:gd name="connsiteY45-4108" fmla="*/ 0 h 1405054"/>
              <a:gd name="connsiteX46-4109" fmla="*/ 1433671 w 2252546"/>
              <a:gd name="connsiteY46-4110" fmla="*/ 437229 h 1405054"/>
              <a:gd name="connsiteX47-4111" fmla="*/ 1326995 w 2252546"/>
              <a:gd name="connsiteY47-4112" fmla="*/ 122664 h 1405054"/>
              <a:gd name="connsiteX48-4113" fmla="*/ 1311312 w 2252546"/>
              <a:gd name="connsiteY48-4114" fmla="*/ 487630 h 1405054"/>
              <a:gd name="connsiteX49-4115" fmla="*/ 1240170 w 2252546"/>
              <a:gd name="connsiteY49-4116" fmla="*/ 468487 h 1405054"/>
              <a:gd name="connsiteX50-4117" fmla="*/ 1181596 w 2252546"/>
              <a:gd name="connsiteY50-4118" fmla="*/ 409716 h 1405054"/>
              <a:gd name="connsiteX51-4119" fmla="*/ 890352 w 2252546"/>
              <a:gd name="connsiteY51-4120" fmla="*/ 409716 h 1405054"/>
              <a:gd name="connsiteX52-4121" fmla="*/ 944234 w 2252546"/>
              <a:gd name="connsiteY52-4122" fmla="*/ 675819 h 1405054"/>
              <a:gd name="connsiteX53-4123" fmla="*/ 858705 w 2252546"/>
              <a:gd name="connsiteY53-4124" fmla="*/ 489028 h 1405054"/>
              <a:gd name="connsiteX54-4125" fmla="*/ 784495 w 2252546"/>
              <a:gd name="connsiteY54-4126" fmla="*/ 545538 h 1405054"/>
              <a:gd name="connsiteX55-4127" fmla="*/ 723189 w 2252546"/>
              <a:gd name="connsiteY55-4128" fmla="*/ 481754 h 1405054"/>
              <a:gd name="connsiteX0-4129" fmla="*/ 412595 w 2252546"/>
              <a:gd name="connsiteY0-4130" fmla="*/ 144966 h 1405054"/>
              <a:gd name="connsiteX1-4131" fmla="*/ 490654 w 2252546"/>
              <a:gd name="connsiteY1-4132" fmla="*/ 267630 h 1405054"/>
              <a:gd name="connsiteX2-4133" fmla="*/ 591015 w 2252546"/>
              <a:gd name="connsiteY2-4134" fmla="*/ 367991 h 1405054"/>
              <a:gd name="connsiteX3-4135" fmla="*/ 446049 w 2252546"/>
              <a:gd name="connsiteY3-4136" fmla="*/ 367991 h 1405054"/>
              <a:gd name="connsiteX4-4137" fmla="*/ 289932 w 2252546"/>
              <a:gd name="connsiteY4-4138" fmla="*/ 367991 h 1405054"/>
              <a:gd name="connsiteX5-4139" fmla="*/ 234176 w 2252546"/>
              <a:gd name="connsiteY5-4140" fmla="*/ 434898 h 1405054"/>
              <a:gd name="connsiteX6-4141" fmla="*/ 234176 w 2252546"/>
              <a:gd name="connsiteY6-4142" fmla="*/ 512956 h 1405054"/>
              <a:gd name="connsiteX7-4143" fmla="*/ 256478 w 2252546"/>
              <a:gd name="connsiteY7-4144" fmla="*/ 624469 h 1405054"/>
              <a:gd name="connsiteX8-4145" fmla="*/ 178419 w 2252546"/>
              <a:gd name="connsiteY8-4146" fmla="*/ 702527 h 1405054"/>
              <a:gd name="connsiteX9-4147" fmla="*/ 189571 w 2252546"/>
              <a:gd name="connsiteY9-4148" fmla="*/ 769435 h 1405054"/>
              <a:gd name="connsiteX10-4149" fmla="*/ 78058 w 2252546"/>
              <a:gd name="connsiteY10-4150" fmla="*/ 802888 h 1405054"/>
              <a:gd name="connsiteX11-4151" fmla="*/ 0 w 2252546"/>
              <a:gd name="connsiteY11-4152" fmla="*/ 880947 h 1405054"/>
              <a:gd name="connsiteX12-4153" fmla="*/ 100361 w 2252546"/>
              <a:gd name="connsiteY12-4154" fmla="*/ 1025913 h 1405054"/>
              <a:gd name="connsiteX13-4155" fmla="*/ 89210 w 2252546"/>
              <a:gd name="connsiteY13-4156" fmla="*/ 1126274 h 1405054"/>
              <a:gd name="connsiteX14-4157" fmla="*/ 144966 w 2252546"/>
              <a:gd name="connsiteY14-4158" fmla="*/ 1148576 h 1405054"/>
              <a:gd name="connsiteX15-4159" fmla="*/ 156117 w 2252546"/>
              <a:gd name="connsiteY15-4160" fmla="*/ 1059366 h 1405054"/>
              <a:gd name="connsiteX16-4161" fmla="*/ 267629 w 2252546"/>
              <a:gd name="connsiteY16-4162" fmla="*/ 1081669 h 1405054"/>
              <a:gd name="connsiteX17-4163" fmla="*/ 401444 w 2252546"/>
              <a:gd name="connsiteY17-4164" fmla="*/ 1048215 h 1405054"/>
              <a:gd name="connsiteX18-4165" fmla="*/ 479502 w 2252546"/>
              <a:gd name="connsiteY18-4166" fmla="*/ 1226635 h 1405054"/>
              <a:gd name="connsiteX19-4167" fmla="*/ 479502 w 2252546"/>
              <a:gd name="connsiteY19-4168" fmla="*/ 1360449 h 1405054"/>
              <a:gd name="connsiteX20-4169" fmla="*/ 669073 w 2252546"/>
              <a:gd name="connsiteY20-4170" fmla="*/ 1382752 h 1405054"/>
              <a:gd name="connsiteX21-4171" fmla="*/ 713678 w 2252546"/>
              <a:gd name="connsiteY21-4172" fmla="*/ 1405054 h 1405054"/>
              <a:gd name="connsiteX22-4173" fmla="*/ 970156 w 2252546"/>
              <a:gd name="connsiteY22-4174" fmla="*/ 1148576 h 1405054"/>
              <a:gd name="connsiteX23-4175" fmla="*/ 1315844 w 2252546"/>
              <a:gd name="connsiteY23-4176" fmla="*/ 1037064 h 1405054"/>
              <a:gd name="connsiteX24-4177" fmla="*/ 1405054 w 2252546"/>
              <a:gd name="connsiteY24-4178" fmla="*/ 903249 h 1405054"/>
              <a:gd name="connsiteX25-4179" fmla="*/ 1326995 w 2252546"/>
              <a:gd name="connsiteY25-4180" fmla="*/ 847493 h 1405054"/>
              <a:gd name="connsiteX26-4181" fmla="*/ 1371600 w 2252546"/>
              <a:gd name="connsiteY26-4182" fmla="*/ 747132 h 1405054"/>
              <a:gd name="connsiteX27-4183" fmla="*/ 1650380 w 2252546"/>
              <a:gd name="connsiteY27-4184" fmla="*/ 646771 h 1405054"/>
              <a:gd name="connsiteX28-4185" fmla="*/ 1650380 w 2252546"/>
              <a:gd name="connsiteY28-4186" fmla="*/ 591015 h 1405054"/>
              <a:gd name="connsiteX29-4187" fmla="*/ 1806497 w 2252546"/>
              <a:gd name="connsiteY29-4188" fmla="*/ 557561 h 1405054"/>
              <a:gd name="connsiteX30-4189" fmla="*/ 1839951 w 2252546"/>
              <a:gd name="connsiteY30-4190" fmla="*/ 579864 h 1405054"/>
              <a:gd name="connsiteX31-4191" fmla="*/ 1929161 w 2252546"/>
              <a:gd name="connsiteY31-4192" fmla="*/ 546410 h 1405054"/>
              <a:gd name="connsiteX32-4193" fmla="*/ 2241395 w 2252546"/>
              <a:gd name="connsiteY32-4194" fmla="*/ 591015 h 1405054"/>
              <a:gd name="connsiteX33-4195" fmla="*/ 2174488 w 2252546"/>
              <a:gd name="connsiteY33-4196" fmla="*/ 479503 h 1405054"/>
              <a:gd name="connsiteX34-4197" fmla="*/ 2252546 w 2252546"/>
              <a:gd name="connsiteY34-4198" fmla="*/ 434898 h 1405054"/>
              <a:gd name="connsiteX35-4199" fmla="*/ 2062976 w 2252546"/>
              <a:gd name="connsiteY35-4200" fmla="*/ 312235 h 1405054"/>
              <a:gd name="connsiteX36-4201" fmla="*/ 2062976 w 2252546"/>
              <a:gd name="connsiteY36-4202" fmla="*/ 312235 h 1405054"/>
              <a:gd name="connsiteX37-4203" fmla="*/ 2085278 w 2252546"/>
              <a:gd name="connsiteY37-4204" fmla="*/ 289932 h 1405054"/>
              <a:gd name="connsiteX38-4205" fmla="*/ 2040673 w 2252546"/>
              <a:gd name="connsiteY38-4206" fmla="*/ 189571 h 1405054"/>
              <a:gd name="connsiteX39-4207" fmla="*/ 2029522 w 2252546"/>
              <a:gd name="connsiteY39-4208" fmla="*/ 78059 h 1405054"/>
              <a:gd name="connsiteX40-4209" fmla="*/ 1862254 w 2252546"/>
              <a:gd name="connsiteY40-4210" fmla="*/ 100361 h 1405054"/>
              <a:gd name="connsiteX41-4211" fmla="*/ 1661532 w 2252546"/>
              <a:gd name="connsiteY41-4212" fmla="*/ 78059 h 1405054"/>
              <a:gd name="connsiteX42-4213" fmla="*/ 1572322 w 2252546"/>
              <a:gd name="connsiteY42-4214" fmla="*/ 156117 h 1405054"/>
              <a:gd name="connsiteX43-4215" fmla="*/ 1449658 w 2252546"/>
              <a:gd name="connsiteY43-4216" fmla="*/ 156117 h 1405054"/>
              <a:gd name="connsiteX44-4217" fmla="*/ 1550019 w 2252546"/>
              <a:gd name="connsiteY44-4218" fmla="*/ 44605 h 1405054"/>
              <a:gd name="connsiteX45-4219" fmla="*/ 1438507 w 2252546"/>
              <a:gd name="connsiteY45-4220" fmla="*/ 0 h 1405054"/>
              <a:gd name="connsiteX46-4221" fmla="*/ 1433671 w 2252546"/>
              <a:gd name="connsiteY46-4222" fmla="*/ 437229 h 1405054"/>
              <a:gd name="connsiteX47-4223" fmla="*/ 1326995 w 2252546"/>
              <a:gd name="connsiteY47-4224" fmla="*/ 122664 h 1405054"/>
              <a:gd name="connsiteX48-4225" fmla="*/ 1311312 w 2252546"/>
              <a:gd name="connsiteY48-4226" fmla="*/ 487630 h 1405054"/>
              <a:gd name="connsiteX49-4227" fmla="*/ 1240170 w 2252546"/>
              <a:gd name="connsiteY49-4228" fmla="*/ 468487 h 1405054"/>
              <a:gd name="connsiteX50-4229" fmla="*/ 1181596 w 2252546"/>
              <a:gd name="connsiteY50-4230" fmla="*/ 409716 h 1405054"/>
              <a:gd name="connsiteX51-4231" fmla="*/ 890352 w 2252546"/>
              <a:gd name="connsiteY51-4232" fmla="*/ 409716 h 1405054"/>
              <a:gd name="connsiteX52-4233" fmla="*/ 858705 w 2252546"/>
              <a:gd name="connsiteY52-4234" fmla="*/ 489028 h 1405054"/>
              <a:gd name="connsiteX53-4235" fmla="*/ 784495 w 2252546"/>
              <a:gd name="connsiteY53-4236" fmla="*/ 545538 h 1405054"/>
              <a:gd name="connsiteX54-4237" fmla="*/ 723189 w 2252546"/>
              <a:gd name="connsiteY54-4238" fmla="*/ 481754 h 1405054"/>
              <a:gd name="connsiteX0-4239" fmla="*/ 412595 w 2252546"/>
              <a:gd name="connsiteY0-4240" fmla="*/ 144966 h 1405054"/>
              <a:gd name="connsiteX1-4241" fmla="*/ 490654 w 2252546"/>
              <a:gd name="connsiteY1-4242" fmla="*/ 267630 h 1405054"/>
              <a:gd name="connsiteX2-4243" fmla="*/ 591015 w 2252546"/>
              <a:gd name="connsiteY2-4244" fmla="*/ 367991 h 1405054"/>
              <a:gd name="connsiteX3-4245" fmla="*/ 446049 w 2252546"/>
              <a:gd name="connsiteY3-4246" fmla="*/ 367991 h 1405054"/>
              <a:gd name="connsiteX4-4247" fmla="*/ 289932 w 2252546"/>
              <a:gd name="connsiteY4-4248" fmla="*/ 367991 h 1405054"/>
              <a:gd name="connsiteX5-4249" fmla="*/ 234176 w 2252546"/>
              <a:gd name="connsiteY5-4250" fmla="*/ 434898 h 1405054"/>
              <a:gd name="connsiteX6-4251" fmla="*/ 234176 w 2252546"/>
              <a:gd name="connsiteY6-4252" fmla="*/ 512956 h 1405054"/>
              <a:gd name="connsiteX7-4253" fmla="*/ 256478 w 2252546"/>
              <a:gd name="connsiteY7-4254" fmla="*/ 624469 h 1405054"/>
              <a:gd name="connsiteX8-4255" fmla="*/ 178419 w 2252546"/>
              <a:gd name="connsiteY8-4256" fmla="*/ 702527 h 1405054"/>
              <a:gd name="connsiteX9-4257" fmla="*/ 189571 w 2252546"/>
              <a:gd name="connsiteY9-4258" fmla="*/ 769435 h 1405054"/>
              <a:gd name="connsiteX10-4259" fmla="*/ 78058 w 2252546"/>
              <a:gd name="connsiteY10-4260" fmla="*/ 802888 h 1405054"/>
              <a:gd name="connsiteX11-4261" fmla="*/ 0 w 2252546"/>
              <a:gd name="connsiteY11-4262" fmla="*/ 880947 h 1405054"/>
              <a:gd name="connsiteX12-4263" fmla="*/ 100361 w 2252546"/>
              <a:gd name="connsiteY12-4264" fmla="*/ 1025913 h 1405054"/>
              <a:gd name="connsiteX13-4265" fmla="*/ 89210 w 2252546"/>
              <a:gd name="connsiteY13-4266" fmla="*/ 1126274 h 1405054"/>
              <a:gd name="connsiteX14-4267" fmla="*/ 144966 w 2252546"/>
              <a:gd name="connsiteY14-4268" fmla="*/ 1148576 h 1405054"/>
              <a:gd name="connsiteX15-4269" fmla="*/ 156117 w 2252546"/>
              <a:gd name="connsiteY15-4270" fmla="*/ 1059366 h 1405054"/>
              <a:gd name="connsiteX16-4271" fmla="*/ 267629 w 2252546"/>
              <a:gd name="connsiteY16-4272" fmla="*/ 1081669 h 1405054"/>
              <a:gd name="connsiteX17-4273" fmla="*/ 401444 w 2252546"/>
              <a:gd name="connsiteY17-4274" fmla="*/ 1048215 h 1405054"/>
              <a:gd name="connsiteX18-4275" fmla="*/ 479502 w 2252546"/>
              <a:gd name="connsiteY18-4276" fmla="*/ 1226635 h 1405054"/>
              <a:gd name="connsiteX19-4277" fmla="*/ 479502 w 2252546"/>
              <a:gd name="connsiteY19-4278" fmla="*/ 1360449 h 1405054"/>
              <a:gd name="connsiteX20-4279" fmla="*/ 669073 w 2252546"/>
              <a:gd name="connsiteY20-4280" fmla="*/ 1382752 h 1405054"/>
              <a:gd name="connsiteX21-4281" fmla="*/ 713678 w 2252546"/>
              <a:gd name="connsiteY21-4282" fmla="*/ 1405054 h 1405054"/>
              <a:gd name="connsiteX22-4283" fmla="*/ 970156 w 2252546"/>
              <a:gd name="connsiteY22-4284" fmla="*/ 1148576 h 1405054"/>
              <a:gd name="connsiteX23-4285" fmla="*/ 1315844 w 2252546"/>
              <a:gd name="connsiteY23-4286" fmla="*/ 1037064 h 1405054"/>
              <a:gd name="connsiteX24-4287" fmla="*/ 1405054 w 2252546"/>
              <a:gd name="connsiteY24-4288" fmla="*/ 903249 h 1405054"/>
              <a:gd name="connsiteX25-4289" fmla="*/ 1326995 w 2252546"/>
              <a:gd name="connsiteY25-4290" fmla="*/ 847493 h 1405054"/>
              <a:gd name="connsiteX26-4291" fmla="*/ 1371600 w 2252546"/>
              <a:gd name="connsiteY26-4292" fmla="*/ 747132 h 1405054"/>
              <a:gd name="connsiteX27-4293" fmla="*/ 1650380 w 2252546"/>
              <a:gd name="connsiteY27-4294" fmla="*/ 646771 h 1405054"/>
              <a:gd name="connsiteX28-4295" fmla="*/ 1650380 w 2252546"/>
              <a:gd name="connsiteY28-4296" fmla="*/ 591015 h 1405054"/>
              <a:gd name="connsiteX29-4297" fmla="*/ 1806497 w 2252546"/>
              <a:gd name="connsiteY29-4298" fmla="*/ 557561 h 1405054"/>
              <a:gd name="connsiteX30-4299" fmla="*/ 1839951 w 2252546"/>
              <a:gd name="connsiteY30-4300" fmla="*/ 579864 h 1405054"/>
              <a:gd name="connsiteX31-4301" fmla="*/ 1929161 w 2252546"/>
              <a:gd name="connsiteY31-4302" fmla="*/ 546410 h 1405054"/>
              <a:gd name="connsiteX32-4303" fmla="*/ 2241395 w 2252546"/>
              <a:gd name="connsiteY32-4304" fmla="*/ 591015 h 1405054"/>
              <a:gd name="connsiteX33-4305" fmla="*/ 2174488 w 2252546"/>
              <a:gd name="connsiteY33-4306" fmla="*/ 479503 h 1405054"/>
              <a:gd name="connsiteX34-4307" fmla="*/ 2252546 w 2252546"/>
              <a:gd name="connsiteY34-4308" fmla="*/ 434898 h 1405054"/>
              <a:gd name="connsiteX35-4309" fmla="*/ 2062976 w 2252546"/>
              <a:gd name="connsiteY35-4310" fmla="*/ 312235 h 1405054"/>
              <a:gd name="connsiteX36-4311" fmla="*/ 2062976 w 2252546"/>
              <a:gd name="connsiteY36-4312" fmla="*/ 312235 h 1405054"/>
              <a:gd name="connsiteX37-4313" fmla="*/ 2085278 w 2252546"/>
              <a:gd name="connsiteY37-4314" fmla="*/ 289932 h 1405054"/>
              <a:gd name="connsiteX38-4315" fmla="*/ 2040673 w 2252546"/>
              <a:gd name="connsiteY38-4316" fmla="*/ 189571 h 1405054"/>
              <a:gd name="connsiteX39-4317" fmla="*/ 2029522 w 2252546"/>
              <a:gd name="connsiteY39-4318" fmla="*/ 78059 h 1405054"/>
              <a:gd name="connsiteX40-4319" fmla="*/ 1862254 w 2252546"/>
              <a:gd name="connsiteY40-4320" fmla="*/ 100361 h 1405054"/>
              <a:gd name="connsiteX41-4321" fmla="*/ 1661532 w 2252546"/>
              <a:gd name="connsiteY41-4322" fmla="*/ 78059 h 1405054"/>
              <a:gd name="connsiteX42-4323" fmla="*/ 1572322 w 2252546"/>
              <a:gd name="connsiteY42-4324" fmla="*/ 156117 h 1405054"/>
              <a:gd name="connsiteX43-4325" fmla="*/ 1449658 w 2252546"/>
              <a:gd name="connsiteY43-4326" fmla="*/ 156117 h 1405054"/>
              <a:gd name="connsiteX44-4327" fmla="*/ 1550019 w 2252546"/>
              <a:gd name="connsiteY44-4328" fmla="*/ 44605 h 1405054"/>
              <a:gd name="connsiteX45-4329" fmla="*/ 1438507 w 2252546"/>
              <a:gd name="connsiteY45-4330" fmla="*/ 0 h 1405054"/>
              <a:gd name="connsiteX46-4331" fmla="*/ 1433671 w 2252546"/>
              <a:gd name="connsiteY46-4332" fmla="*/ 437229 h 1405054"/>
              <a:gd name="connsiteX47-4333" fmla="*/ 1326995 w 2252546"/>
              <a:gd name="connsiteY47-4334" fmla="*/ 122664 h 1405054"/>
              <a:gd name="connsiteX48-4335" fmla="*/ 1311312 w 2252546"/>
              <a:gd name="connsiteY48-4336" fmla="*/ 487630 h 1405054"/>
              <a:gd name="connsiteX49-4337" fmla="*/ 1240170 w 2252546"/>
              <a:gd name="connsiteY49-4338" fmla="*/ 468487 h 1405054"/>
              <a:gd name="connsiteX50-4339" fmla="*/ 1181596 w 2252546"/>
              <a:gd name="connsiteY50-4340" fmla="*/ 409716 h 1405054"/>
              <a:gd name="connsiteX51-4341" fmla="*/ 890352 w 2252546"/>
              <a:gd name="connsiteY51-4342" fmla="*/ 409716 h 1405054"/>
              <a:gd name="connsiteX52-4343" fmla="*/ 858705 w 2252546"/>
              <a:gd name="connsiteY52-4344" fmla="*/ 489028 h 1405054"/>
              <a:gd name="connsiteX53-4345" fmla="*/ 784495 w 2252546"/>
              <a:gd name="connsiteY53-4346" fmla="*/ 545538 h 1405054"/>
              <a:gd name="connsiteX54-4347" fmla="*/ 781088 w 2252546"/>
              <a:gd name="connsiteY54-4348" fmla="*/ 537164 h 1405054"/>
              <a:gd name="connsiteX55-4349" fmla="*/ 723189 w 2252546"/>
              <a:gd name="connsiteY55-4350" fmla="*/ 481754 h 1405054"/>
              <a:gd name="connsiteX0-4351" fmla="*/ 412595 w 2252546"/>
              <a:gd name="connsiteY0-4352" fmla="*/ 144966 h 1405054"/>
              <a:gd name="connsiteX1-4353" fmla="*/ 490654 w 2252546"/>
              <a:gd name="connsiteY1-4354" fmla="*/ 267630 h 1405054"/>
              <a:gd name="connsiteX2-4355" fmla="*/ 591015 w 2252546"/>
              <a:gd name="connsiteY2-4356" fmla="*/ 367991 h 1405054"/>
              <a:gd name="connsiteX3-4357" fmla="*/ 446049 w 2252546"/>
              <a:gd name="connsiteY3-4358" fmla="*/ 367991 h 1405054"/>
              <a:gd name="connsiteX4-4359" fmla="*/ 289932 w 2252546"/>
              <a:gd name="connsiteY4-4360" fmla="*/ 367991 h 1405054"/>
              <a:gd name="connsiteX5-4361" fmla="*/ 234176 w 2252546"/>
              <a:gd name="connsiteY5-4362" fmla="*/ 434898 h 1405054"/>
              <a:gd name="connsiteX6-4363" fmla="*/ 234176 w 2252546"/>
              <a:gd name="connsiteY6-4364" fmla="*/ 512956 h 1405054"/>
              <a:gd name="connsiteX7-4365" fmla="*/ 256478 w 2252546"/>
              <a:gd name="connsiteY7-4366" fmla="*/ 624469 h 1405054"/>
              <a:gd name="connsiteX8-4367" fmla="*/ 178419 w 2252546"/>
              <a:gd name="connsiteY8-4368" fmla="*/ 702527 h 1405054"/>
              <a:gd name="connsiteX9-4369" fmla="*/ 189571 w 2252546"/>
              <a:gd name="connsiteY9-4370" fmla="*/ 769435 h 1405054"/>
              <a:gd name="connsiteX10-4371" fmla="*/ 78058 w 2252546"/>
              <a:gd name="connsiteY10-4372" fmla="*/ 802888 h 1405054"/>
              <a:gd name="connsiteX11-4373" fmla="*/ 0 w 2252546"/>
              <a:gd name="connsiteY11-4374" fmla="*/ 880947 h 1405054"/>
              <a:gd name="connsiteX12-4375" fmla="*/ 100361 w 2252546"/>
              <a:gd name="connsiteY12-4376" fmla="*/ 1025913 h 1405054"/>
              <a:gd name="connsiteX13-4377" fmla="*/ 89210 w 2252546"/>
              <a:gd name="connsiteY13-4378" fmla="*/ 1126274 h 1405054"/>
              <a:gd name="connsiteX14-4379" fmla="*/ 144966 w 2252546"/>
              <a:gd name="connsiteY14-4380" fmla="*/ 1148576 h 1405054"/>
              <a:gd name="connsiteX15-4381" fmla="*/ 156117 w 2252546"/>
              <a:gd name="connsiteY15-4382" fmla="*/ 1059366 h 1405054"/>
              <a:gd name="connsiteX16-4383" fmla="*/ 267629 w 2252546"/>
              <a:gd name="connsiteY16-4384" fmla="*/ 1081669 h 1405054"/>
              <a:gd name="connsiteX17-4385" fmla="*/ 401444 w 2252546"/>
              <a:gd name="connsiteY17-4386" fmla="*/ 1048215 h 1405054"/>
              <a:gd name="connsiteX18-4387" fmla="*/ 479502 w 2252546"/>
              <a:gd name="connsiteY18-4388" fmla="*/ 1226635 h 1405054"/>
              <a:gd name="connsiteX19-4389" fmla="*/ 479502 w 2252546"/>
              <a:gd name="connsiteY19-4390" fmla="*/ 1360449 h 1405054"/>
              <a:gd name="connsiteX20-4391" fmla="*/ 669073 w 2252546"/>
              <a:gd name="connsiteY20-4392" fmla="*/ 1382752 h 1405054"/>
              <a:gd name="connsiteX21-4393" fmla="*/ 713678 w 2252546"/>
              <a:gd name="connsiteY21-4394" fmla="*/ 1405054 h 1405054"/>
              <a:gd name="connsiteX22-4395" fmla="*/ 970156 w 2252546"/>
              <a:gd name="connsiteY22-4396" fmla="*/ 1148576 h 1405054"/>
              <a:gd name="connsiteX23-4397" fmla="*/ 1315844 w 2252546"/>
              <a:gd name="connsiteY23-4398" fmla="*/ 1037064 h 1405054"/>
              <a:gd name="connsiteX24-4399" fmla="*/ 1405054 w 2252546"/>
              <a:gd name="connsiteY24-4400" fmla="*/ 903249 h 1405054"/>
              <a:gd name="connsiteX25-4401" fmla="*/ 1326995 w 2252546"/>
              <a:gd name="connsiteY25-4402" fmla="*/ 847493 h 1405054"/>
              <a:gd name="connsiteX26-4403" fmla="*/ 1371600 w 2252546"/>
              <a:gd name="connsiteY26-4404" fmla="*/ 747132 h 1405054"/>
              <a:gd name="connsiteX27-4405" fmla="*/ 1650380 w 2252546"/>
              <a:gd name="connsiteY27-4406" fmla="*/ 646771 h 1405054"/>
              <a:gd name="connsiteX28-4407" fmla="*/ 1650380 w 2252546"/>
              <a:gd name="connsiteY28-4408" fmla="*/ 591015 h 1405054"/>
              <a:gd name="connsiteX29-4409" fmla="*/ 1806497 w 2252546"/>
              <a:gd name="connsiteY29-4410" fmla="*/ 557561 h 1405054"/>
              <a:gd name="connsiteX30-4411" fmla="*/ 1839951 w 2252546"/>
              <a:gd name="connsiteY30-4412" fmla="*/ 579864 h 1405054"/>
              <a:gd name="connsiteX31-4413" fmla="*/ 1929161 w 2252546"/>
              <a:gd name="connsiteY31-4414" fmla="*/ 546410 h 1405054"/>
              <a:gd name="connsiteX32-4415" fmla="*/ 2241395 w 2252546"/>
              <a:gd name="connsiteY32-4416" fmla="*/ 591015 h 1405054"/>
              <a:gd name="connsiteX33-4417" fmla="*/ 2174488 w 2252546"/>
              <a:gd name="connsiteY33-4418" fmla="*/ 479503 h 1405054"/>
              <a:gd name="connsiteX34-4419" fmla="*/ 2252546 w 2252546"/>
              <a:gd name="connsiteY34-4420" fmla="*/ 434898 h 1405054"/>
              <a:gd name="connsiteX35-4421" fmla="*/ 2062976 w 2252546"/>
              <a:gd name="connsiteY35-4422" fmla="*/ 312235 h 1405054"/>
              <a:gd name="connsiteX36-4423" fmla="*/ 2062976 w 2252546"/>
              <a:gd name="connsiteY36-4424" fmla="*/ 312235 h 1405054"/>
              <a:gd name="connsiteX37-4425" fmla="*/ 2085278 w 2252546"/>
              <a:gd name="connsiteY37-4426" fmla="*/ 289932 h 1405054"/>
              <a:gd name="connsiteX38-4427" fmla="*/ 2040673 w 2252546"/>
              <a:gd name="connsiteY38-4428" fmla="*/ 189571 h 1405054"/>
              <a:gd name="connsiteX39-4429" fmla="*/ 2029522 w 2252546"/>
              <a:gd name="connsiteY39-4430" fmla="*/ 78059 h 1405054"/>
              <a:gd name="connsiteX40-4431" fmla="*/ 1862254 w 2252546"/>
              <a:gd name="connsiteY40-4432" fmla="*/ 100361 h 1405054"/>
              <a:gd name="connsiteX41-4433" fmla="*/ 1661532 w 2252546"/>
              <a:gd name="connsiteY41-4434" fmla="*/ 78059 h 1405054"/>
              <a:gd name="connsiteX42-4435" fmla="*/ 1572322 w 2252546"/>
              <a:gd name="connsiteY42-4436" fmla="*/ 156117 h 1405054"/>
              <a:gd name="connsiteX43-4437" fmla="*/ 1449658 w 2252546"/>
              <a:gd name="connsiteY43-4438" fmla="*/ 156117 h 1405054"/>
              <a:gd name="connsiteX44-4439" fmla="*/ 1550019 w 2252546"/>
              <a:gd name="connsiteY44-4440" fmla="*/ 44605 h 1405054"/>
              <a:gd name="connsiteX45-4441" fmla="*/ 1438507 w 2252546"/>
              <a:gd name="connsiteY45-4442" fmla="*/ 0 h 1405054"/>
              <a:gd name="connsiteX46-4443" fmla="*/ 1433671 w 2252546"/>
              <a:gd name="connsiteY46-4444" fmla="*/ 437229 h 1405054"/>
              <a:gd name="connsiteX47-4445" fmla="*/ 1326995 w 2252546"/>
              <a:gd name="connsiteY47-4446" fmla="*/ 122664 h 1405054"/>
              <a:gd name="connsiteX48-4447" fmla="*/ 1459794 w 2252546"/>
              <a:gd name="connsiteY48-4448" fmla="*/ 625176 h 1405054"/>
              <a:gd name="connsiteX49-4449" fmla="*/ 1311312 w 2252546"/>
              <a:gd name="connsiteY49-4450" fmla="*/ 487630 h 1405054"/>
              <a:gd name="connsiteX50-4451" fmla="*/ 1240170 w 2252546"/>
              <a:gd name="connsiteY50-4452" fmla="*/ 468487 h 1405054"/>
              <a:gd name="connsiteX51-4453" fmla="*/ 1181596 w 2252546"/>
              <a:gd name="connsiteY51-4454" fmla="*/ 409716 h 1405054"/>
              <a:gd name="connsiteX52-4455" fmla="*/ 890352 w 2252546"/>
              <a:gd name="connsiteY52-4456" fmla="*/ 409716 h 1405054"/>
              <a:gd name="connsiteX53-4457" fmla="*/ 858705 w 2252546"/>
              <a:gd name="connsiteY53-4458" fmla="*/ 489028 h 1405054"/>
              <a:gd name="connsiteX54-4459" fmla="*/ 784495 w 2252546"/>
              <a:gd name="connsiteY54-4460" fmla="*/ 545538 h 1405054"/>
              <a:gd name="connsiteX55-4461" fmla="*/ 781088 w 2252546"/>
              <a:gd name="connsiteY55-4462" fmla="*/ 537164 h 1405054"/>
              <a:gd name="connsiteX56-4463" fmla="*/ 723189 w 2252546"/>
              <a:gd name="connsiteY56-4464" fmla="*/ 481754 h 1405054"/>
              <a:gd name="connsiteX0-4465" fmla="*/ 412595 w 2252546"/>
              <a:gd name="connsiteY0-4466" fmla="*/ 144966 h 1405054"/>
              <a:gd name="connsiteX1-4467" fmla="*/ 490654 w 2252546"/>
              <a:gd name="connsiteY1-4468" fmla="*/ 267630 h 1405054"/>
              <a:gd name="connsiteX2-4469" fmla="*/ 591015 w 2252546"/>
              <a:gd name="connsiteY2-4470" fmla="*/ 367991 h 1405054"/>
              <a:gd name="connsiteX3-4471" fmla="*/ 446049 w 2252546"/>
              <a:gd name="connsiteY3-4472" fmla="*/ 367991 h 1405054"/>
              <a:gd name="connsiteX4-4473" fmla="*/ 289932 w 2252546"/>
              <a:gd name="connsiteY4-4474" fmla="*/ 367991 h 1405054"/>
              <a:gd name="connsiteX5-4475" fmla="*/ 234176 w 2252546"/>
              <a:gd name="connsiteY5-4476" fmla="*/ 434898 h 1405054"/>
              <a:gd name="connsiteX6-4477" fmla="*/ 234176 w 2252546"/>
              <a:gd name="connsiteY6-4478" fmla="*/ 512956 h 1405054"/>
              <a:gd name="connsiteX7-4479" fmla="*/ 256478 w 2252546"/>
              <a:gd name="connsiteY7-4480" fmla="*/ 624469 h 1405054"/>
              <a:gd name="connsiteX8-4481" fmla="*/ 178419 w 2252546"/>
              <a:gd name="connsiteY8-4482" fmla="*/ 702527 h 1405054"/>
              <a:gd name="connsiteX9-4483" fmla="*/ 189571 w 2252546"/>
              <a:gd name="connsiteY9-4484" fmla="*/ 769435 h 1405054"/>
              <a:gd name="connsiteX10-4485" fmla="*/ 78058 w 2252546"/>
              <a:gd name="connsiteY10-4486" fmla="*/ 802888 h 1405054"/>
              <a:gd name="connsiteX11-4487" fmla="*/ 0 w 2252546"/>
              <a:gd name="connsiteY11-4488" fmla="*/ 880947 h 1405054"/>
              <a:gd name="connsiteX12-4489" fmla="*/ 100361 w 2252546"/>
              <a:gd name="connsiteY12-4490" fmla="*/ 1025913 h 1405054"/>
              <a:gd name="connsiteX13-4491" fmla="*/ 89210 w 2252546"/>
              <a:gd name="connsiteY13-4492" fmla="*/ 1126274 h 1405054"/>
              <a:gd name="connsiteX14-4493" fmla="*/ 144966 w 2252546"/>
              <a:gd name="connsiteY14-4494" fmla="*/ 1148576 h 1405054"/>
              <a:gd name="connsiteX15-4495" fmla="*/ 156117 w 2252546"/>
              <a:gd name="connsiteY15-4496" fmla="*/ 1059366 h 1405054"/>
              <a:gd name="connsiteX16-4497" fmla="*/ 267629 w 2252546"/>
              <a:gd name="connsiteY16-4498" fmla="*/ 1081669 h 1405054"/>
              <a:gd name="connsiteX17-4499" fmla="*/ 401444 w 2252546"/>
              <a:gd name="connsiteY17-4500" fmla="*/ 1048215 h 1405054"/>
              <a:gd name="connsiteX18-4501" fmla="*/ 479502 w 2252546"/>
              <a:gd name="connsiteY18-4502" fmla="*/ 1226635 h 1405054"/>
              <a:gd name="connsiteX19-4503" fmla="*/ 479502 w 2252546"/>
              <a:gd name="connsiteY19-4504" fmla="*/ 1360449 h 1405054"/>
              <a:gd name="connsiteX20-4505" fmla="*/ 669073 w 2252546"/>
              <a:gd name="connsiteY20-4506" fmla="*/ 1382752 h 1405054"/>
              <a:gd name="connsiteX21-4507" fmla="*/ 713678 w 2252546"/>
              <a:gd name="connsiteY21-4508" fmla="*/ 1405054 h 1405054"/>
              <a:gd name="connsiteX22-4509" fmla="*/ 970156 w 2252546"/>
              <a:gd name="connsiteY22-4510" fmla="*/ 1148576 h 1405054"/>
              <a:gd name="connsiteX23-4511" fmla="*/ 1315844 w 2252546"/>
              <a:gd name="connsiteY23-4512" fmla="*/ 1037064 h 1405054"/>
              <a:gd name="connsiteX24-4513" fmla="*/ 1405054 w 2252546"/>
              <a:gd name="connsiteY24-4514" fmla="*/ 903249 h 1405054"/>
              <a:gd name="connsiteX25-4515" fmla="*/ 1326995 w 2252546"/>
              <a:gd name="connsiteY25-4516" fmla="*/ 847493 h 1405054"/>
              <a:gd name="connsiteX26-4517" fmla="*/ 1371600 w 2252546"/>
              <a:gd name="connsiteY26-4518" fmla="*/ 747132 h 1405054"/>
              <a:gd name="connsiteX27-4519" fmla="*/ 1650380 w 2252546"/>
              <a:gd name="connsiteY27-4520" fmla="*/ 646771 h 1405054"/>
              <a:gd name="connsiteX28-4521" fmla="*/ 1650380 w 2252546"/>
              <a:gd name="connsiteY28-4522" fmla="*/ 591015 h 1405054"/>
              <a:gd name="connsiteX29-4523" fmla="*/ 1806497 w 2252546"/>
              <a:gd name="connsiteY29-4524" fmla="*/ 557561 h 1405054"/>
              <a:gd name="connsiteX30-4525" fmla="*/ 1839951 w 2252546"/>
              <a:gd name="connsiteY30-4526" fmla="*/ 579864 h 1405054"/>
              <a:gd name="connsiteX31-4527" fmla="*/ 1929161 w 2252546"/>
              <a:gd name="connsiteY31-4528" fmla="*/ 546410 h 1405054"/>
              <a:gd name="connsiteX32-4529" fmla="*/ 2241395 w 2252546"/>
              <a:gd name="connsiteY32-4530" fmla="*/ 591015 h 1405054"/>
              <a:gd name="connsiteX33-4531" fmla="*/ 2174488 w 2252546"/>
              <a:gd name="connsiteY33-4532" fmla="*/ 479503 h 1405054"/>
              <a:gd name="connsiteX34-4533" fmla="*/ 2252546 w 2252546"/>
              <a:gd name="connsiteY34-4534" fmla="*/ 434898 h 1405054"/>
              <a:gd name="connsiteX35-4535" fmla="*/ 2062976 w 2252546"/>
              <a:gd name="connsiteY35-4536" fmla="*/ 312235 h 1405054"/>
              <a:gd name="connsiteX36-4537" fmla="*/ 2062976 w 2252546"/>
              <a:gd name="connsiteY36-4538" fmla="*/ 312235 h 1405054"/>
              <a:gd name="connsiteX37-4539" fmla="*/ 2085278 w 2252546"/>
              <a:gd name="connsiteY37-4540" fmla="*/ 289932 h 1405054"/>
              <a:gd name="connsiteX38-4541" fmla="*/ 2040673 w 2252546"/>
              <a:gd name="connsiteY38-4542" fmla="*/ 189571 h 1405054"/>
              <a:gd name="connsiteX39-4543" fmla="*/ 2029522 w 2252546"/>
              <a:gd name="connsiteY39-4544" fmla="*/ 78059 h 1405054"/>
              <a:gd name="connsiteX40-4545" fmla="*/ 1862254 w 2252546"/>
              <a:gd name="connsiteY40-4546" fmla="*/ 100361 h 1405054"/>
              <a:gd name="connsiteX41-4547" fmla="*/ 1661532 w 2252546"/>
              <a:gd name="connsiteY41-4548" fmla="*/ 78059 h 1405054"/>
              <a:gd name="connsiteX42-4549" fmla="*/ 1572322 w 2252546"/>
              <a:gd name="connsiteY42-4550" fmla="*/ 156117 h 1405054"/>
              <a:gd name="connsiteX43-4551" fmla="*/ 1449658 w 2252546"/>
              <a:gd name="connsiteY43-4552" fmla="*/ 156117 h 1405054"/>
              <a:gd name="connsiteX44-4553" fmla="*/ 1550019 w 2252546"/>
              <a:gd name="connsiteY44-4554" fmla="*/ 44605 h 1405054"/>
              <a:gd name="connsiteX45-4555" fmla="*/ 1438507 w 2252546"/>
              <a:gd name="connsiteY45-4556" fmla="*/ 0 h 1405054"/>
              <a:gd name="connsiteX46-4557" fmla="*/ 1433671 w 2252546"/>
              <a:gd name="connsiteY46-4558" fmla="*/ 437229 h 1405054"/>
              <a:gd name="connsiteX47-4559" fmla="*/ 1326995 w 2252546"/>
              <a:gd name="connsiteY47-4560" fmla="*/ 122664 h 1405054"/>
              <a:gd name="connsiteX48-4561" fmla="*/ 1324339 w 2252546"/>
              <a:gd name="connsiteY48-4562" fmla="*/ 500199 h 1405054"/>
              <a:gd name="connsiteX49-4563" fmla="*/ 1311312 w 2252546"/>
              <a:gd name="connsiteY49-4564" fmla="*/ 487630 h 1405054"/>
              <a:gd name="connsiteX50-4565" fmla="*/ 1240170 w 2252546"/>
              <a:gd name="connsiteY50-4566" fmla="*/ 468487 h 1405054"/>
              <a:gd name="connsiteX51-4567" fmla="*/ 1181596 w 2252546"/>
              <a:gd name="connsiteY51-4568" fmla="*/ 409716 h 1405054"/>
              <a:gd name="connsiteX52-4569" fmla="*/ 890352 w 2252546"/>
              <a:gd name="connsiteY52-4570" fmla="*/ 409716 h 1405054"/>
              <a:gd name="connsiteX53-4571" fmla="*/ 858705 w 2252546"/>
              <a:gd name="connsiteY53-4572" fmla="*/ 489028 h 1405054"/>
              <a:gd name="connsiteX54-4573" fmla="*/ 784495 w 2252546"/>
              <a:gd name="connsiteY54-4574" fmla="*/ 545538 h 1405054"/>
              <a:gd name="connsiteX55-4575" fmla="*/ 781088 w 2252546"/>
              <a:gd name="connsiteY55-4576" fmla="*/ 537164 h 1405054"/>
              <a:gd name="connsiteX56-4577" fmla="*/ 723189 w 2252546"/>
              <a:gd name="connsiteY56-4578" fmla="*/ 481754 h 1405054"/>
              <a:gd name="connsiteX0-4579" fmla="*/ 412595 w 2252546"/>
              <a:gd name="connsiteY0-4580" fmla="*/ 144966 h 1405054"/>
              <a:gd name="connsiteX1-4581" fmla="*/ 490654 w 2252546"/>
              <a:gd name="connsiteY1-4582" fmla="*/ 267630 h 1405054"/>
              <a:gd name="connsiteX2-4583" fmla="*/ 591015 w 2252546"/>
              <a:gd name="connsiteY2-4584" fmla="*/ 367991 h 1405054"/>
              <a:gd name="connsiteX3-4585" fmla="*/ 446049 w 2252546"/>
              <a:gd name="connsiteY3-4586" fmla="*/ 367991 h 1405054"/>
              <a:gd name="connsiteX4-4587" fmla="*/ 289932 w 2252546"/>
              <a:gd name="connsiteY4-4588" fmla="*/ 367991 h 1405054"/>
              <a:gd name="connsiteX5-4589" fmla="*/ 234176 w 2252546"/>
              <a:gd name="connsiteY5-4590" fmla="*/ 434898 h 1405054"/>
              <a:gd name="connsiteX6-4591" fmla="*/ 234176 w 2252546"/>
              <a:gd name="connsiteY6-4592" fmla="*/ 512956 h 1405054"/>
              <a:gd name="connsiteX7-4593" fmla="*/ 256478 w 2252546"/>
              <a:gd name="connsiteY7-4594" fmla="*/ 624469 h 1405054"/>
              <a:gd name="connsiteX8-4595" fmla="*/ 178419 w 2252546"/>
              <a:gd name="connsiteY8-4596" fmla="*/ 702527 h 1405054"/>
              <a:gd name="connsiteX9-4597" fmla="*/ 189571 w 2252546"/>
              <a:gd name="connsiteY9-4598" fmla="*/ 769435 h 1405054"/>
              <a:gd name="connsiteX10-4599" fmla="*/ 78058 w 2252546"/>
              <a:gd name="connsiteY10-4600" fmla="*/ 802888 h 1405054"/>
              <a:gd name="connsiteX11-4601" fmla="*/ 0 w 2252546"/>
              <a:gd name="connsiteY11-4602" fmla="*/ 880947 h 1405054"/>
              <a:gd name="connsiteX12-4603" fmla="*/ 100361 w 2252546"/>
              <a:gd name="connsiteY12-4604" fmla="*/ 1025913 h 1405054"/>
              <a:gd name="connsiteX13-4605" fmla="*/ 89210 w 2252546"/>
              <a:gd name="connsiteY13-4606" fmla="*/ 1126274 h 1405054"/>
              <a:gd name="connsiteX14-4607" fmla="*/ 144966 w 2252546"/>
              <a:gd name="connsiteY14-4608" fmla="*/ 1148576 h 1405054"/>
              <a:gd name="connsiteX15-4609" fmla="*/ 156117 w 2252546"/>
              <a:gd name="connsiteY15-4610" fmla="*/ 1059366 h 1405054"/>
              <a:gd name="connsiteX16-4611" fmla="*/ 267629 w 2252546"/>
              <a:gd name="connsiteY16-4612" fmla="*/ 1081669 h 1405054"/>
              <a:gd name="connsiteX17-4613" fmla="*/ 401444 w 2252546"/>
              <a:gd name="connsiteY17-4614" fmla="*/ 1048215 h 1405054"/>
              <a:gd name="connsiteX18-4615" fmla="*/ 479502 w 2252546"/>
              <a:gd name="connsiteY18-4616" fmla="*/ 1226635 h 1405054"/>
              <a:gd name="connsiteX19-4617" fmla="*/ 479502 w 2252546"/>
              <a:gd name="connsiteY19-4618" fmla="*/ 1360449 h 1405054"/>
              <a:gd name="connsiteX20-4619" fmla="*/ 669073 w 2252546"/>
              <a:gd name="connsiteY20-4620" fmla="*/ 1382752 h 1405054"/>
              <a:gd name="connsiteX21-4621" fmla="*/ 713678 w 2252546"/>
              <a:gd name="connsiteY21-4622" fmla="*/ 1405054 h 1405054"/>
              <a:gd name="connsiteX22-4623" fmla="*/ 970156 w 2252546"/>
              <a:gd name="connsiteY22-4624" fmla="*/ 1148576 h 1405054"/>
              <a:gd name="connsiteX23-4625" fmla="*/ 1315844 w 2252546"/>
              <a:gd name="connsiteY23-4626" fmla="*/ 1037064 h 1405054"/>
              <a:gd name="connsiteX24-4627" fmla="*/ 1405054 w 2252546"/>
              <a:gd name="connsiteY24-4628" fmla="*/ 903249 h 1405054"/>
              <a:gd name="connsiteX25-4629" fmla="*/ 1326995 w 2252546"/>
              <a:gd name="connsiteY25-4630" fmla="*/ 847493 h 1405054"/>
              <a:gd name="connsiteX26-4631" fmla="*/ 1371600 w 2252546"/>
              <a:gd name="connsiteY26-4632" fmla="*/ 747132 h 1405054"/>
              <a:gd name="connsiteX27-4633" fmla="*/ 1650380 w 2252546"/>
              <a:gd name="connsiteY27-4634" fmla="*/ 646771 h 1405054"/>
              <a:gd name="connsiteX28-4635" fmla="*/ 1650380 w 2252546"/>
              <a:gd name="connsiteY28-4636" fmla="*/ 591015 h 1405054"/>
              <a:gd name="connsiteX29-4637" fmla="*/ 1806497 w 2252546"/>
              <a:gd name="connsiteY29-4638" fmla="*/ 557561 h 1405054"/>
              <a:gd name="connsiteX30-4639" fmla="*/ 1839951 w 2252546"/>
              <a:gd name="connsiteY30-4640" fmla="*/ 579864 h 1405054"/>
              <a:gd name="connsiteX31-4641" fmla="*/ 1929161 w 2252546"/>
              <a:gd name="connsiteY31-4642" fmla="*/ 546410 h 1405054"/>
              <a:gd name="connsiteX32-4643" fmla="*/ 2241395 w 2252546"/>
              <a:gd name="connsiteY32-4644" fmla="*/ 591015 h 1405054"/>
              <a:gd name="connsiteX33-4645" fmla="*/ 2174488 w 2252546"/>
              <a:gd name="connsiteY33-4646" fmla="*/ 479503 h 1405054"/>
              <a:gd name="connsiteX34-4647" fmla="*/ 2252546 w 2252546"/>
              <a:gd name="connsiteY34-4648" fmla="*/ 434898 h 1405054"/>
              <a:gd name="connsiteX35-4649" fmla="*/ 2062976 w 2252546"/>
              <a:gd name="connsiteY35-4650" fmla="*/ 312235 h 1405054"/>
              <a:gd name="connsiteX36-4651" fmla="*/ 2062976 w 2252546"/>
              <a:gd name="connsiteY36-4652" fmla="*/ 312235 h 1405054"/>
              <a:gd name="connsiteX37-4653" fmla="*/ 2085278 w 2252546"/>
              <a:gd name="connsiteY37-4654" fmla="*/ 289932 h 1405054"/>
              <a:gd name="connsiteX38-4655" fmla="*/ 2040673 w 2252546"/>
              <a:gd name="connsiteY38-4656" fmla="*/ 189571 h 1405054"/>
              <a:gd name="connsiteX39-4657" fmla="*/ 2029522 w 2252546"/>
              <a:gd name="connsiteY39-4658" fmla="*/ 78059 h 1405054"/>
              <a:gd name="connsiteX40-4659" fmla="*/ 1862254 w 2252546"/>
              <a:gd name="connsiteY40-4660" fmla="*/ 100361 h 1405054"/>
              <a:gd name="connsiteX41-4661" fmla="*/ 1661532 w 2252546"/>
              <a:gd name="connsiteY41-4662" fmla="*/ 78059 h 1405054"/>
              <a:gd name="connsiteX42-4663" fmla="*/ 1572322 w 2252546"/>
              <a:gd name="connsiteY42-4664" fmla="*/ 156117 h 1405054"/>
              <a:gd name="connsiteX43-4665" fmla="*/ 1449658 w 2252546"/>
              <a:gd name="connsiteY43-4666" fmla="*/ 156117 h 1405054"/>
              <a:gd name="connsiteX44-4667" fmla="*/ 1550019 w 2252546"/>
              <a:gd name="connsiteY44-4668" fmla="*/ 44605 h 1405054"/>
              <a:gd name="connsiteX45-4669" fmla="*/ 1438507 w 2252546"/>
              <a:gd name="connsiteY45-4670" fmla="*/ 0 h 1405054"/>
              <a:gd name="connsiteX46-4671" fmla="*/ 1433671 w 2252546"/>
              <a:gd name="connsiteY46-4672" fmla="*/ 437229 h 1405054"/>
              <a:gd name="connsiteX47-4673" fmla="*/ 1326995 w 2252546"/>
              <a:gd name="connsiteY47-4674" fmla="*/ 122664 h 1405054"/>
              <a:gd name="connsiteX48-4675" fmla="*/ 1324400 w 2252546"/>
              <a:gd name="connsiteY48-4676" fmla="*/ 375263 h 1405054"/>
              <a:gd name="connsiteX49-4677" fmla="*/ 1324339 w 2252546"/>
              <a:gd name="connsiteY49-4678" fmla="*/ 500199 h 1405054"/>
              <a:gd name="connsiteX50-4679" fmla="*/ 1311312 w 2252546"/>
              <a:gd name="connsiteY50-4680" fmla="*/ 487630 h 1405054"/>
              <a:gd name="connsiteX51-4681" fmla="*/ 1240170 w 2252546"/>
              <a:gd name="connsiteY51-4682" fmla="*/ 468487 h 1405054"/>
              <a:gd name="connsiteX52-4683" fmla="*/ 1181596 w 2252546"/>
              <a:gd name="connsiteY52-4684" fmla="*/ 409716 h 1405054"/>
              <a:gd name="connsiteX53-4685" fmla="*/ 890352 w 2252546"/>
              <a:gd name="connsiteY53-4686" fmla="*/ 409716 h 1405054"/>
              <a:gd name="connsiteX54-4687" fmla="*/ 858705 w 2252546"/>
              <a:gd name="connsiteY54-4688" fmla="*/ 489028 h 1405054"/>
              <a:gd name="connsiteX55-4689" fmla="*/ 784495 w 2252546"/>
              <a:gd name="connsiteY55-4690" fmla="*/ 545538 h 1405054"/>
              <a:gd name="connsiteX56-4691" fmla="*/ 781088 w 2252546"/>
              <a:gd name="connsiteY56-4692" fmla="*/ 537164 h 1405054"/>
              <a:gd name="connsiteX57-4693" fmla="*/ 723189 w 2252546"/>
              <a:gd name="connsiteY57-4694" fmla="*/ 481754 h 1405054"/>
              <a:gd name="connsiteX0-4695" fmla="*/ 412595 w 2252546"/>
              <a:gd name="connsiteY0-4696" fmla="*/ 144966 h 1405054"/>
              <a:gd name="connsiteX1-4697" fmla="*/ 490654 w 2252546"/>
              <a:gd name="connsiteY1-4698" fmla="*/ 267630 h 1405054"/>
              <a:gd name="connsiteX2-4699" fmla="*/ 591015 w 2252546"/>
              <a:gd name="connsiteY2-4700" fmla="*/ 367991 h 1405054"/>
              <a:gd name="connsiteX3-4701" fmla="*/ 446049 w 2252546"/>
              <a:gd name="connsiteY3-4702" fmla="*/ 367991 h 1405054"/>
              <a:gd name="connsiteX4-4703" fmla="*/ 289932 w 2252546"/>
              <a:gd name="connsiteY4-4704" fmla="*/ 367991 h 1405054"/>
              <a:gd name="connsiteX5-4705" fmla="*/ 234176 w 2252546"/>
              <a:gd name="connsiteY5-4706" fmla="*/ 434898 h 1405054"/>
              <a:gd name="connsiteX6-4707" fmla="*/ 234176 w 2252546"/>
              <a:gd name="connsiteY6-4708" fmla="*/ 512956 h 1405054"/>
              <a:gd name="connsiteX7-4709" fmla="*/ 256478 w 2252546"/>
              <a:gd name="connsiteY7-4710" fmla="*/ 624469 h 1405054"/>
              <a:gd name="connsiteX8-4711" fmla="*/ 178419 w 2252546"/>
              <a:gd name="connsiteY8-4712" fmla="*/ 702527 h 1405054"/>
              <a:gd name="connsiteX9-4713" fmla="*/ 189571 w 2252546"/>
              <a:gd name="connsiteY9-4714" fmla="*/ 769435 h 1405054"/>
              <a:gd name="connsiteX10-4715" fmla="*/ 78058 w 2252546"/>
              <a:gd name="connsiteY10-4716" fmla="*/ 802888 h 1405054"/>
              <a:gd name="connsiteX11-4717" fmla="*/ 0 w 2252546"/>
              <a:gd name="connsiteY11-4718" fmla="*/ 880947 h 1405054"/>
              <a:gd name="connsiteX12-4719" fmla="*/ 100361 w 2252546"/>
              <a:gd name="connsiteY12-4720" fmla="*/ 1025913 h 1405054"/>
              <a:gd name="connsiteX13-4721" fmla="*/ 89210 w 2252546"/>
              <a:gd name="connsiteY13-4722" fmla="*/ 1126274 h 1405054"/>
              <a:gd name="connsiteX14-4723" fmla="*/ 144966 w 2252546"/>
              <a:gd name="connsiteY14-4724" fmla="*/ 1148576 h 1405054"/>
              <a:gd name="connsiteX15-4725" fmla="*/ 156117 w 2252546"/>
              <a:gd name="connsiteY15-4726" fmla="*/ 1059366 h 1405054"/>
              <a:gd name="connsiteX16-4727" fmla="*/ 267629 w 2252546"/>
              <a:gd name="connsiteY16-4728" fmla="*/ 1081669 h 1405054"/>
              <a:gd name="connsiteX17-4729" fmla="*/ 401444 w 2252546"/>
              <a:gd name="connsiteY17-4730" fmla="*/ 1048215 h 1405054"/>
              <a:gd name="connsiteX18-4731" fmla="*/ 479502 w 2252546"/>
              <a:gd name="connsiteY18-4732" fmla="*/ 1226635 h 1405054"/>
              <a:gd name="connsiteX19-4733" fmla="*/ 479502 w 2252546"/>
              <a:gd name="connsiteY19-4734" fmla="*/ 1360449 h 1405054"/>
              <a:gd name="connsiteX20-4735" fmla="*/ 669073 w 2252546"/>
              <a:gd name="connsiteY20-4736" fmla="*/ 1382752 h 1405054"/>
              <a:gd name="connsiteX21-4737" fmla="*/ 713678 w 2252546"/>
              <a:gd name="connsiteY21-4738" fmla="*/ 1405054 h 1405054"/>
              <a:gd name="connsiteX22-4739" fmla="*/ 970156 w 2252546"/>
              <a:gd name="connsiteY22-4740" fmla="*/ 1148576 h 1405054"/>
              <a:gd name="connsiteX23-4741" fmla="*/ 1315844 w 2252546"/>
              <a:gd name="connsiteY23-4742" fmla="*/ 1037064 h 1405054"/>
              <a:gd name="connsiteX24-4743" fmla="*/ 1405054 w 2252546"/>
              <a:gd name="connsiteY24-4744" fmla="*/ 903249 h 1405054"/>
              <a:gd name="connsiteX25-4745" fmla="*/ 1326995 w 2252546"/>
              <a:gd name="connsiteY25-4746" fmla="*/ 847493 h 1405054"/>
              <a:gd name="connsiteX26-4747" fmla="*/ 1371600 w 2252546"/>
              <a:gd name="connsiteY26-4748" fmla="*/ 747132 h 1405054"/>
              <a:gd name="connsiteX27-4749" fmla="*/ 1650380 w 2252546"/>
              <a:gd name="connsiteY27-4750" fmla="*/ 646771 h 1405054"/>
              <a:gd name="connsiteX28-4751" fmla="*/ 1650380 w 2252546"/>
              <a:gd name="connsiteY28-4752" fmla="*/ 591015 h 1405054"/>
              <a:gd name="connsiteX29-4753" fmla="*/ 1806497 w 2252546"/>
              <a:gd name="connsiteY29-4754" fmla="*/ 557561 h 1405054"/>
              <a:gd name="connsiteX30-4755" fmla="*/ 1839951 w 2252546"/>
              <a:gd name="connsiteY30-4756" fmla="*/ 579864 h 1405054"/>
              <a:gd name="connsiteX31-4757" fmla="*/ 1929161 w 2252546"/>
              <a:gd name="connsiteY31-4758" fmla="*/ 546410 h 1405054"/>
              <a:gd name="connsiteX32-4759" fmla="*/ 2241395 w 2252546"/>
              <a:gd name="connsiteY32-4760" fmla="*/ 591015 h 1405054"/>
              <a:gd name="connsiteX33-4761" fmla="*/ 2174488 w 2252546"/>
              <a:gd name="connsiteY33-4762" fmla="*/ 479503 h 1405054"/>
              <a:gd name="connsiteX34-4763" fmla="*/ 2252546 w 2252546"/>
              <a:gd name="connsiteY34-4764" fmla="*/ 434898 h 1405054"/>
              <a:gd name="connsiteX35-4765" fmla="*/ 2062976 w 2252546"/>
              <a:gd name="connsiteY35-4766" fmla="*/ 312235 h 1405054"/>
              <a:gd name="connsiteX36-4767" fmla="*/ 2062976 w 2252546"/>
              <a:gd name="connsiteY36-4768" fmla="*/ 312235 h 1405054"/>
              <a:gd name="connsiteX37-4769" fmla="*/ 2085278 w 2252546"/>
              <a:gd name="connsiteY37-4770" fmla="*/ 289932 h 1405054"/>
              <a:gd name="connsiteX38-4771" fmla="*/ 2040673 w 2252546"/>
              <a:gd name="connsiteY38-4772" fmla="*/ 189571 h 1405054"/>
              <a:gd name="connsiteX39-4773" fmla="*/ 2029522 w 2252546"/>
              <a:gd name="connsiteY39-4774" fmla="*/ 78059 h 1405054"/>
              <a:gd name="connsiteX40-4775" fmla="*/ 1862254 w 2252546"/>
              <a:gd name="connsiteY40-4776" fmla="*/ 100361 h 1405054"/>
              <a:gd name="connsiteX41-4777" fmla="*/ 1661532 w 2252546"/>
              <a:gd name="connsiteY41-4778" fmla="*/ 78059 h 1405054"/>
              <a:gd name="connsiteX42-4779" fmla="*/ 1572322 w 2252546"/>
              <a:gd name="connsiteY42-4780" fmla="*/ 156117 h 1405054"/>
              <a:gd name="connsiteX43-4781" fmla="*/ 1449658 w 2252546"/>
              <a:gd name="connsiteY43-4782" fmla="*/ 156117 h 1405054"/>
              <a:gd name="connsiteX44-4783" fmla="*/ 1550019 w 2252546"/>
              <a:gd name="connsiteY44-4784" fmla="*/ 44605 h 1405054"/>
              <a:gd name="connsiteX45-4785" fmla="*/ 1438507 w 2252546"/>
              <a:gd name="connsiteY45-4786" fmla="*/ 0 h 1405054"/>
              <a:gd name="connsiteX46-4787" fmla="*/ 1433671 w 2252546"/>
              <a:gd name="connsiteY46-4788" fmla="*/ 437229 h 1405054"/>
              <a:gd name="connsiteX47-4789" fmla="*/ 1324400 w 2252546"/>
              <a:gd name="connsiteY47-4790" fmla="*/ 375263 h 1405054"/>
              <a:gd name="connsiteX48-4791" fmla="*/ 1324339 w 2252546"/>
              <a:gd name="connsiteY48-4792" fmla="*/ 500199 h 1405054"/>
              <a:gd name="connsiteX49-4793" fmla="*/ 1311312 w 2252546"/>
              <a:gd name="connsiteY49-4794" fmla="*/ 487630 h 1405054"/>
              <a:gd name="connsiteX50-4795" fmla="*/ 1240170 w 2252546"/>
              <a:gd name="connsiteY50-4796" fmla="*/ 468487 h 1405054"/>
              <a:gd name="connsiteX51-4797" fmla="*/ 1181596 w 2252546"/>
              <a:gd name="connsiteY51-4798" fmla="*/ 409716 h 1405054"/>
              <a:gd name="connsiteX52-4799" fmla="*/ 890352 w 2252546"/>
              <a:gd name="connsiteY52-4800" fmla="*/ 409716 h 1405054"/>
              <a:gd name="connsiteX53-4801" fmla="*/ 858705 w 2252546"/>
              <a:gd name="connsiteY53-4802" fmla="*/ 489028 h 1405054"/>
              <a:gd name="connsiteX54-4803" fmla="*/ 784495 w 2252546"/>
              <a:gd name="connsiteY54-4804" fmla="*/ 545538 h 1405054"/>
              <a:gd name="connsiteX55-4805" fmla="*/ 781088 w 2252546"/>
              <a:gd name="connsiteY55-4806" fmla="*/ 537164 h 1405054"/>
              <a:gd name="connsiteX56-4807" fmla="*/ 723189 w 2252546"/>
              <a:gd name="connsiteY56-4808" fmla="*/ 481754 h 1405054"/>
              <a:gd name="connsiteX0-4809" fmla="*/ 412595 w 2252546"/>
              <a:gd name="connsiteY0-4810" fmla="*/ 144966 h 1405054"/>
              <a:gd name="connsiteX1-4811" fmla="*/ 490654 w 2252546"/>
              <a:gd name="connsiteY1-4812" fmla="*/ 267630 h 1405054"/>
              <a:gd name="connsiteX2-4813" fmla="*/ 591015 w 2252546"/>
              <a:gd name="connsiteY2-4814" fmla="*/ 367991 h 1405054"/>
              <a:gd name="connsiteX3-4815" fmla="*/ 446049 w 2252546"/>
              <a:gd name="connsiteY3-4816" fmla="*/ 367991 h 1405054"/>
              <a:gd name="connsiteX4-4817" fmla="*/ 289932 w 2252546"/>
              <a:gd name="connsiteY4-4818" fmla="*/ 367991 h 1405054"/>
              <a:gd name="connsiteX5-4819" fmla="*/ 234176 w 2252546"/>
              <a:gd name="connsiteY5-4820" fmla="*/ 434898 h 1405054"/>
              <a:gd name="connsiteX6-4821" fmla="*/ 234176 w 2252546"/>
              <a:gd name="connsiteY6-4822" fmla="*/ 512956 h 1405054"/>
              <a:gd name="connsiteX7-4823" fmla="*/ 256478 w 2252546"/>
              <a:gd name="connsiteY7-4824" fmla="*/ 624469 h 1405054"/>
              <a:gd name="connsiteX8-4825" fmla="*/ 178419 w 2252546"/>
              <a:gd name="connsiteY8-4826" fmla="*/ 702527 h 1405054"/>
              <a:gd name="connsiteX9-4827" fmla="*/ 189571 w 2252546"/>
              <a:gd name="connsiteY9-4828" fmla="*/ 769435 h 1405054"/>
              <a:gd name="connsiteX10-4829" fmla="*/ 78058 w 2252546"/>
              <a:gd name="connsiteY10-4830" fmla="*/ 802888 h 1405054"/>
              <a:gd name="connsiteX11-4831" fmla="*/ 0 w 2252546"/>
              <a:gd name="connsiteY11-4832" fmla="*/ 880947 h 1405054"/>
              <a:gd name="connsiteX12-4833" fmla="*/ 100361 w 2252546"/>
              <a:gd name="connsiteY12-4834" fmla="*/ 1025913 h 1405054"/>
              <a:gd name="connsiteX13-4835" fmla="*/ 89210 w 2252546"/>
              <a:gd name="connsiteY13-4836" fmla="*/ 1126274 h 1405054"/>
              <a:gd name="connsiteX14-4837" fmla="*/ 144966 w 2252546"/>
              <a:gd name="connsiteY14-4838" fmla="*/ 1148576 h 1405054"/>
              <a:gd name="connsiteX15-4839" fmla="*/ 156117 w 2252546"/>
              <a:gd name="connsiteY15-4840" fmla="*/ 1059366 h 1405054"/>
              <a:gd name="connsiteX16-4841" fmla="*/ 267629 w 2252546"/>
              <a:gd name="connsiteY16-4842" fmla="*/ 1081669 h 1405054"/>
              <a:gd name="connsiteX17-4843" fmla="*/ 401444 w 2252546"/>
              <a:gd name="connsiteY17-4844" fmla="*/ 1048215 h 1405054"/>
              <a:gd name="connsiteX18-4845" fmla="*/ 479502 w 2252546"/>
              <a:gd name="connsiteY18-4846" fmla="*/ 1226635 h 1405054"/>
              <a:gd name="connsiteX19-4847" fmla="*/ 479502 w 2252546"/>
              <a:gd name="connsiteY19-4848" fmla="*/ 1360449 h 1405054"/>
              <a:gd name="connsiteX20-4849" fmla="*/ 669073 w 2252546"/>
              <a:gd name="connsiteY20-4850" fmla="*/ 1382752 h 1405054"/>
              <a:gd name="connsiteX21-4851" fmla="*/ 713678 w 2252546"/>
              <a:gd name="connsiteY21-4852" fmla="*/ 1405054 h 1405054"/>
              <a:gd name="connsiteX22-4853" fmla="*/ 970156 w 2252546"/>
              <a:gd name="connsiteY22-4854" fmla="*/ 1148576 h 1405054"/>
              <a:gd name="connsiteX23-4855" fmla="*/ 1315844 w 2252546"/>
              <a:gd name="connsiteY23-4856" fmla="*/ 1037064 h 1405054"/>
              <a:gd name="connsiteX24-4857" fmla="*/ 1405054 w 2252546"/>
              <a:gd name="connsiteY24-4858" fmla="*/ 903249 h 1405054"/>
              <a:gd name="connsiteX25-4859" fmla="*/ 1326995 w 2252546"/>
              <a:gd name="connsiteY25-4860" fmla="*/ 847493 h 1405054"/>
              <a:gd name="connsiteX26-4861" fmla="*/ 1371600 w 2252546"/>
              <a:gd name="connsiteY26-4862" fmla="*/ 747132 h 1405054"/>
              <a:gd name="connsiteX27-4863" fmla="*/ 1650380 w 2252546"/>
              <a:gd name="connsiteY27-4864" fmla="*/ 646771 h 1405054"/>
              <a:gd name="connsiteX28-4865" fmla="*/ 1650380 w 2252546"/>
              <a:gd name="connsiteY28-4866" fmla="*/ 591015 h 1405054"/>
              <a:gd name="connsiteX29-4867" fmla="*/ 1806497 w 2252546"/>
              <a:gd name="connsiteY29-4868" fmla="*/ 557561 h 1405054"/>
              <a:gd name="connsiteX30-4869" fmla="*/ 1839951 w 2252546"/>
              <a:gd name="connsiteY30-4870" fmla="*/ 579864 h 1405054"/>
              <a:gd name="connsiteX31-4871" fmla="*/ 1929161 w 2252546"/>
              <a:gd name="connsiteY31-4872" fmla="*/ 546410 h 1405054"/>
              <a:gd name="connsiteX32-4873" fmla="*/ 2241395 w 2252546"/>
              <a:gd name="connsiteY32-4874" fmla="*/ 591015 h 1405054"/>
              <a:gd name="connsiteX33-4875" fmla="*/ 2174488 w 2252546"/>
              <a:gd name="connsiteY33-4876" fmla="*/ 479503 h 1405054"/>
              <a:gd name="connsiteX34-4877" fmla="*/ 2252546 w 2252546"/>
              <a:gd name="connsiteY34-4878" fmla="*/ 434898 h 1405054"/>
              <a:gd name="connsiteX35-4879" fmla="*/ 2062976 w 2252546"/>
              <a:gd name="connsiteY35-4880" fmla="*/ 312235 h 1405054"/>
              <a:gd name="connsiteX36-4881" fmla="*/ 2062976 w 2252546"/>
              <a:gd name="connsiteY36-4882" fmla="*/ 312235 h 1405054"/>
              <a:gd name="connsiteX37-4883" fmla="*/ 2085278 w 2252546"/>
              <a:gd name="connsiteY37-4884" fmla="*/ 289932 h 1405054"/>
              <a:gd name="connsiteX38-4885" fmla="*/ 2040673 w 2252546"/>
              <a:gd name="connsiteY38-4886" fmla="*/ 189571 h 1405054"/>
              <a:gd name="connsiteX39-4887" fmla="*/ 2029522 w 2252546"/>
              <a:gd name="connsiteY39-4888" fmla="*/ 78059 h 1405054"/>
              <a:gd name="connsiteX40-4889" fmla="*/ 1862254 w 2252546"/>
              <a:gd name="connsiteY40-4890" fmla="*/ 100361 h 1405054"/>
              <a:gd name="connsiteX41-4891" fmla="*/ 1661532 w 2252546"/>
              <a:gd name="connsiteY41-4892" fmla="*/ 78059 h 1405054"/>
              <a:gd name="connsiteX42-4893" fmla="*/ 1572322 w 2252546"/>
              <a:gd name="connsiteY42-4894" fmla="*/ 156117 h 1405054"/>
              <a:gd name="connsiteX43-4895" fmla="*/ 1449658 w 2252546"/>
              <a:gd name="connsiteY43-4896" fmla="*/ 156117 h 1405054"/>
              <a:gd name="connsiteX44-4897" fmla="*/ 1550019 w 2252546"/>
              <a:gd name="connsiteY44-4898" fmla="*/ 44605 h 1405054"/>
              <a:gd name="connsiteX45-4899" fmla="*/ 1438507 w 2252546"/>
              <a:gd name="connsiteY45-4900" fmla="*/ 0 h 1405054"/>
              <a:gd name="connsiteX46-4901" fmla="*/ 1433671 w 2252546"/>
              <a:gd name="connsiteY46-4902" fmla="*/ 437229 h 1405054"/>
              <a:gd name="connsiteX47-4903" fmla="*/ 1324400 w 2252546"/>
              <a:gd name="connsiteY47-4904" fmla="*/ 375263 h 1405054"/>
              <a:gd name="connsiteX48-4905" fmla="*/ 1324339 w 2252546"/>
              <a:gd name="connsiteY48-4906" fmla="*/ 500199 h 1405054"/>
              <a:gd name="connsiteX49-4907" fmla="*/ 1311312 w 2252546"/>
              <a:gd name="connsiteY49-4908" fmla="*/ 487630 h 1405054"/>
              <a:gd name="connsiteX50-4909" fmla="*/ 1240170 w 2252546"/>
              <a:gd name="connsiteY50-4910" fmla="*/ 468487 h 1405054"/>
              <a:gd name="connsiteX51-4911" fmla="*/ 1181596 w 2252546"/>
              <a:gd name="connsiteY51-4912" fmla="*/ 409716 h 1405054"/>
              <a:gd name="connsiteX52-4913" fmla="*/ 890352 w 2252546"/>
              <a:gd name="connsiteY52-4914" fmla="*/ 409716 h 1405054"/>
              <a:gd name="connsiteX53-4915" fmla="*/ 858705 w 2252546"/>
              <a:gd name="connsiteY53-4916" fmla="*/ 489028 h 1405054"/>
              <a:gd name="connsiteX54-4917" fmla="*/ 784495 w 2252546"/>
              <a:gd name="connsiteY54-4918" fmla="*/ 545538 h 1405054"/>
              <a:gd name="connsiteX55-4919" fmla="*/ 781088 w 2252546"/>
              <a:gd name="connsiteY55-4920" fmla="*/ 537164 h 1405054"/>
              <a:gd name="connsiteX56-4921" fmla="*/ 723189 w 2252546"/>
              <a:gd name="connsiteY56-4922" fmla="*/ 481754 h 1405054"/>
              <a:gd name="connsiteX0-4923" fmla="*/ 412595 w 2252546"/>
              <a:gd name="connsiteY0-4924" fmla="*/ 100361 h 1360449"/>
              <a:gd name="connsiteX1-4925" fmla="*/ 490654 w 2252546"/>
              <a:gd name="connsiteY1-4926" fmla="*/ 223025 h 1360449"/>
              <a:gd name="connsiteX2-4927" fmla="*/ 591015 w 2252546"/>
              <a:gd name="connsiteY2-4928" fmla="*/ 323386 h 1360449"/>
              <a:gd name="connsiteX3-4929" fmla="*/ 446049 w 2252546"/>
              <a:gd name="connsiteY3-4930" fmla="*/ 323386 h 1360449"/>
              <a:gd name="connsiteX4-4931" fmla="*/ 289932 w 2252546"/>
              <a:gd name="connsiteY4-4932" fmla="*/ 323386 h 1360449"/>
              <a:gd name="connsiteX5-4933" fmla="*/ 234176 w 2252546"/>
              <a:gd name="connsiteY5-4934" fmla="*/ 390293 h 1360449"/>
              <a:gd name="connsiteX6-4935" fmla="*/ 234176 w 2252546"/>
              <a:gd name="connsiteY6-4936" fmla="*/ 468351 h 1360449"/>
              <a:gd name="connsiteX7-4937" fmla="*/ 256478 w 2252546"/>
              <a:gd name="connsiteY7-4938" fmla="*/ 579864 h 1360449"/>
              <a:gd name="connsiteX8-4939" fmla="*/ 178419 w 2252546"/>
              <a:gd name="connsiteY8-4940" fmla="*/ 657922 h 1360449"/>
              <a:gd name="connsiteX9-4941" fmla="*/ 189571 w 2252546"/>
              <a:gd name="connsiteY9-4942" fmla="*/ 724830 h 1360449"/>
              <a:gd name="connsiteX10-4943" fmla="*/ 78058 w 2252546"/>
              <a:gd name="connsiteY10-4944" fmla="*/ 758283 h 1360449"/>
              <a:gd name="connsiteX11-4945" fmla="*/ 0 w 2252546"/>
              <a:gd name="connsiteY11-4946" fmla="*/ 836342 h 1360449"/>
              <a:gd name="connsiteX12-4947" fmla="*/ 100361 w 2252546"/>
              <a:gd name="connsiteY12-4948" fmla="*/ 981308 h 1360449"/>
              <a:gd name="connsiteX13-4949" fmla="*/ 89210 w 2252546"/>
              <a:gd name="connsiteY13-4950" fmla="*/ 1081669 h 1360449"/>
              <a:gd name="connsiteX14-4951" fmla="*/ 144966 w 2252546"/>
              <a:gd name="connsiteY14-4952" fmla="*/ 1103971 h 1360449"/>
              <a:gd name="connsiteX15-4953" fmla="*/ 156117 w 2252546"/>
              <a:gd name="connsiteY15-4954" fmla="*/ 1014761 h 1360449"/>
              <a:gd name="connsiteX16-4955" fmla="*/ 267629 w 2252546"/>
              <a:gd name="connsiteY16-4956" fmla="*/ 1037064 h 1360449"/>
              <a:gd name="connsiteX17-4957" fmla="*/ 401444 w 2252546"/>
              <a:gd name="connsiteY17-4958" fmla="*/ 1003610 h 1360449"/>
              <a:gd name="connsiteX18-4959" fmla="*/ 479502 w 2252546"/>
              <a:gd name="connsiteY18-4960" fmla="*/ 1182030 h 1360449"/>
              <a:gd name="connsiteX19-4961" fmla="*/ 479502 w 2252546"/>
              <a:gd name="connsiteY19-4962" fmla="*/ 1315844 h 1360449"/>
              <a:gd name="connsiteX20-4963" fmla="*/ 669073 w 2252546"/>
              <a:gd name="connsiteY20-4964" fmla="*/ 1338147 h 1360449"/>
              <a:gd name="connsiteX21-4965" fmla="*/ 713678 w 2252546"/>
              <a:gd name="connsiteY21-4966" fmla="*/ 1360449 h 1360449"/>
              <a:gd name="connsiteX22-4967" fmla="*/ 970156 w 2252546"/>
              <a:gd name="connsiteY22-4968" fmla="*/ 1103971 h 1360449"/>
              <a:gd name="connsiteX23-4969" fmla="*/ 1315844 w 2252546"/>
              <a:gd name="connsiteY23-4970" fmla="*/ 992459 h 1360449"/>
              <a:gd name="connsiteX24-4971" fmla="*/ 1405054 w 2252546"/>
              <a:gd name="connsiteY24-4972" fmla="*/ 858644 h 1360449"/>
              <a:gd name="connsiteX25-4973" fmla="*/ 1326995 w 2252546"/>
              <a:gd name="connsiteY25-4974" fmla="*/ 802888 h 1360449"/>
              <a:gd name="connsiteX26-4975" fmla="*/ 1371600 w 2252546"/>
              <a:gd name="connsiteY26-4976" fmla="*/ 702527 h 1360449"/>
              <a:gd name="connsiteX27-4977" fmla="*/ 1650380 w 2252546"/>
              <a:gd name="connsiteY27-4978" fmla="*/ 602166 h 1360449"/>
              <a:gd name="connsiteX28-4979" fmla="*/ 1650380 w 2252546"/>
              <a:gd name="connsiteY28-4980" fmla="*/ 546410 h 1360449"/>
              <a:gd name="connsiteX29-4981" fmla="*/ 1806497 w 2252546"/>
              <a:gd name="connsiteY29-4982" fmla="*/ 512956 h 1360449"/>
              <a:gd name="connsiteX30-4983" fmla="*/ 1839951 w 2252546"/>
              <a:gd name="connsiteY30-4984" fmla="*/ 535259 h 1360449"/>
              <a:gd name="connsiteX31-4985" fmla="*/ 1929161 w 2252546"/>
              <a:gd name="connsiteY31-4986" fmla="*/ 501805 h 1360449"/>
              <a:gd name="connsiteX32-4987" fmla="*/ 2241395 w 2252546"/>
              <a:gd name="connsiteY32-4988" fmla="*/ 546410 h 1360449"/>
              <a:gd name="connsiteX33-4989" fmla="*/ 2174488 w 2252546"/>
              <a:gd name="connsiteY33-4990" fmla="*/ 434898 h 1360449"/>
              <a:gd name="connsiteX34-4991" fmla="*/ 2252546 w 2252546"/>
              <a:gd name="connsiteY34-4992" fmla="*/ 390293 h 1360449"/>
              <a:gd name="connsiteX35-4993" fmla="*/ 2062976 w 2252546"/>
              <a:gd name="connsiteY35-4994" fmla="*/ 267630 h 1360449"/>
              <a:gd name="connsiteX36-4995" fmla="*/ 2062976 w 2252546"/>
              <a:gd name="connsiteY36-4996" fmla="*/ 267630 h 1360449"/>
              <a:gd name="connsiteX37-4997" fmla="*/ 2085278 w 2252546"/>
              <a:gd name="connsiteY37-4998" fmla="*/ 245327 h 1360449"/>
              <a:gd name="connsiteX38-4999" fmla="*/ 2040673 w 2252546"/>
              <a:gd name="connsiteY38-5000" fmla="*/ 144966 h 1360449"/>
              <a:gd name="connsiteX39-5001" fmla="*/ 2029522 w 2252546"/>
              <a:gd name="connsiteY39-5002" fmla="*/ 33454 h 1360449"/>
              <a:gd name="connsiteX40-5003" fmla="*/ 1862254 w 2252546"/>
              <a:gd name="connsiteY40-5004" fmla="*/ 55756 h 1360449"/>
              <a:gd name="connsiteX41-5005" fmla="*/ 1661532 w 2252546"/>
              <a:gd name="connsiteY41-5006" fmla="*/ 33454 h 1360449"/>
              <a:gd name="connsiteX42-5007" fmla="*/ 1572322 w 2252546"/>
              <a:gd name="connsiteY42-5008" fmla="*/ 111512 h 1360449"/>
              <a:gd name="connsiteX43-5009" fmla="*/ 1449658 w 2252546"/>
              <a:gd name="connsiteY43-5010" fmla="*/ 111512 h 1360449"/>
              <a:gd name="connsiteX44-5011" fmla="*/ 1550019 w 2252546"/>
              <a:gd name="connsiteY44-5012" fmla="*/ 0 h 1360449"/>
              <a:gd name="connsiteX45-5013" fmla="*/ 1506189 w 2252546"/>
              <a:gd name="connsiteY45-5014" fmla="*/ 330243 h 1360449"/>
              <a:gd name="connsiteX46-5015" fmla="*/ 1433671 w 2252546"/>
              <a:gd name="connsiteY46-5016" fmla="*/ 392624 h 1360449"/>
              <a:gd name="connsiteX47-5017" fmla="*/ 1324400 w 2252546"/>
              <a:gd name="connsiteY47-5018" fmla="*/ 330658 h 1360449"/>
              <a:gd name="connsiteX48-5019" fmla="*/ 1324339 w 2252546"/>
              <a:gd name="connsiteY48-5020" fmla="*/ 455594 h 1360449"/>
              <a:gd name="connsiteX49-5021" fmla="*/ 1311312 w 2252546"/>
              <a:gd name="connsiteY49-5022" fmla="*/ 443025 h 1360449"/>
              <a:gd name="connsiteX50-5023" fmla="*/ 1240170 w 2252546"/>
              <a:gd name="connsiteY50-5024" fmla="*/ 423882 h 1360449"/>
              <a:gd name="connsiteX51-5025" fmla="*/ 1181596 w 2252546"/>
              <a:gd name="connsiteY51-5026" fmla="*/ 365111 h 1360449"/>
              <a:gd name="connsiteX52-5027" fmla="*/ 890352 w 2252546"/>
              <a:gd name="connsiteY52-5028" fmla="*/ 365111 h 1360449"/>
              <a:gd name="connsiteX53-5029" fmla="*/ 858705 w 2252546"/>
              <a:gd name="connsiteY53-5030" fmla="*/ 444423 h 1360449"/>
              <a:gd name="connsiteX54-5031" fmla="*/ 784495 w 2252546"/>
              <a:gd name="connsiteY54-5032" fmla="*/ 500933 h 1360449"/>
              <a:gd name="connsiteX55-5033" fmla="*/ 781088 w 2252546"/>
              <a:gd name="connsiteY55-5034" fmla="*/ 492559 h 1360449"/>
              <a:gd name="connsiteX56-5035" fmla="*/ 723189 w 2252546"/>
              <a:gd name="connsiteY56-5036" fmla="*/ 437149 h 1360449"/>
              <a:gd name="connsiteX0-5037" fmla="*/ 412595 w 2252546"/>
              <a:gd name="connsiteY0-5038" fmla="*/ 100361 h 1360449"/>
              <a:gd name="connsiteX1-5039" fmla="*/ 490654 w 2252546"/>
              <a:gd name="connsiteY1-5040" fmla="*/ 223025 h 1360449"/>
              <a:gd name="connsiteX2-5041" fmla="*/ 591015 w 2252546"/>
              <a:gd name="connsiteY2-5042" fmla="*/ 323386 h 1360449"/>
              <a:gd name="connsiteX3-5043" fmla="*/ 446049 w 2252546"/>
              <a:gd name="connsiteY3-5044" fmla="*/ 323386 h 1360449"/>
              <a:gd name="connsiteX4-5045" fmla="*/ 289932 w 2252546"/>
              <a:gd name="connsiteY4-5046" fmla="*/ 323386 h 1360449"/>
              <a:gd name="connsiteX5-5047" fmla="*/ 234176 w 2252546"/>
              <a:gd name="connsiteY5-5048" fmla="*/ 390293 h 1360449"/>
              <a:gd name="connsiteX6-5049" fmla="*/ 234176 w 2252546"/>
              <a:gd name="connsiteY6-5050" fmla="*/ 468351 h 1360449"/>
              <a:gd name="connsiteX7-5051" fmla="*/ 256478 w 2252546"/>
              <a:gd name="connsiteY7-5052" fmla="*/ 579864 h 1360449"/>
              <a:gd name="connsiteX8-5053" fmla="*/ 178419 w 2252546"/>
              <a:gd name="connsiteY8-5054" fmla="*/ 657922 h 1360449"/>
              <a:gd name="connsiteX9-5055" fmla="*/ 189571 w 2252546"/>
              <a:gd name="connsiteY9-5056" fmla="*/ 724830 h 1360449"/>
              <a:gd name="connsiteX10-5057" fmla="*/ 78058 w 2252546"/>
              <a:gd name="connsiteY10-5058" fmla="*/ 758283 h 1360449"/>
              <a:gd name="connsiteX11-5059" fmla="*/ 0 w 2252546"/>
              <a:gd name="connsiteY11-5060" fmla="*/ 836342 h 1360449"/>
              <a:gd name="connsiteX12-5061" fmla="*/ 100361 w 2252546"/>
              <a:gd name="connsiteY12-5062" fmla="*/ 981308 h 1360449"/>
              <a:gd name="connsiteX13-5063" fmla="*/ 89210 w 2252546"/>
              <a:gd name="connsiteY13-5064" fmla="*/ 1081669 h 1360449"/>
              <a:gd name="connsiteX14-5065" fmla="*/ 144966 w 2252546"/>
              <a:gd name="connsiteY14-5066" fmla="*/ 1103971 h 1360449"/>
              <a:gd name="connsiteX15-5067" fmla="*/ 156117 w 2252546"/>
              <a:gd name="connsiteY15-5068" fmla="*/ 1014761 h 1360449"/>
              <a:gd name="connsiteX16-5069" fmla="*/ 267629 w 2252546"/>
              <a:gd name="connsiteY16-5070" fmla="*/ 1037064 h 1360449"/>
              <a:gd name="connsiteX17-5071" fmla="*/ 401444 w 2252546"/>
              <a:gd name="connsiteY17-5072" fmla="*/ 1003610 h 1360449"/>
              <a:gd name="connsiteX18-5073" fmla="*/ 479502 w 2252546"/>
              <a:gd name="connsiteY18-5074" fmla="*/ 1182030 h 1360449"/>
              <a:gd name="connsiteX19-5075" fmla="*/ 479502 w 2252546"/>
              <a:gd name="connsiteY19-5076" fmla="*/ 1315844 h 1360449"/>
              <a:gd name="connsiteX20-5077" fmla="*/ 669073 w 2252546"/>
              <a:gd name="connsiteY20-5078" fmla="*/ 1338147 h 1360449"/>
              <a:gd name="connsiteX21-5079" fmla="*/ 713678 w 2252546"/>
              <a:gd name="connsiteY21-5080" fmla="*/ 1360449 h 1360449"/>
              <a:gd name="connsiteX22-5081" fmla="*/ 970156 w 2252546"/>
              <a:gd name="connsiteY22-5082" fmla="*/ 1103971 h 1360449"/>
              <a:gd name="connsiteX23-5083" fmla="*/ 1315844 w 2252546"/>
              <a:gd name="connsiteY23-5084" fmla="*/ 992459 h 1360449"/>
              <a:gd name="connsiteX24-5085" fmla="*/ 1405054 w 2252546"/>
              <a:gd name="connsiteY24-5086" fmla="*/ 858644 h 1360449"/>
              <a:gd name="connsiteX25-5087" fmla="*/ 1326995 w 2252546"/>
              <a:gd name="connsiteY25-5088" fmla="*/ 802888 h 1360449"/>
              <a:gd name="connsiteX26-5089" fmla="*/ 1371600 w 2252546"/>
              <a:gd name="connsiteY26-5090" fmla="*/ 702527 h 1360449"/>
              <a:gd name="connsiteX27-5091" fmla="*/ 1650380 w 2252546"/>
              <a:gd name="connsiteY27-5092" fmla="*/ 602166 h 1360449"/>
              <a:gd name="connsiteX28-5093" fmla="*/ 1650380 w 2252546"/>
              <a:gd name="connsiteY28-5094" fmla="*/ 546410 h 1360449"/>
              <a:gd name="connsiteX29-5095" fmla="*/ 1806497 w 2252546"/>
              <a:gd name="connsiteY29-5096" fmla="*/ 512956 h 1360449"/>
              <a:gd name="connsiteX30-5097" fmla="*/ 1839951 w 2252546"/>
              <a:gd name="connsiteY30-5098" fmla="*/ 535259 h 1360449"/>
              <a:gd name="connsiteX31-5099" fmla="*/ 1929161 w 2252546"/>
              <a:gd name="connsiteY31-5100" fmla="*/ 501805 h 1360449"/>
              <a:gd name="connsiteX32-5101" fmla="*/ 2241395 w 2252546"/>
              <a:gd name="connsiteY32-5102" fmla="*/ 546410 h 1360449"/>
              <a:gd name="connsiteX33-5103" fmla="*/ 2174488 w 2252546"/>
              <a:gd name="connsiteY33-5104" fmla="*/ 434898 h 1360449"/>
              <a:gd name="connsiteX34-5105" fmla="*/ 2252546 w 2252546"/>
              <a:gd name="connsiteY34-5106" fmla="*/ 390293 h 1360449"/>
              <a:gd name="connsiteX35-5107" fmla="*/ 2062976 w 2252546"/>
              <a:gd name="connsiteY35-5108" fmla="*/ 267630 h 1360449"/>
              <a:gd name="connsiteX36-5109" fmla="*/ 2062976 w 2252546"/>
              <a:gd name="connsiteY36-5110" fmla="*/ 267630 h 1360449"/>
              <a:gd name="connsiteX37-5111" fmla="*/ 2085278 w 2252546"/>
              <a:gd name="connsiteY37-5112" fmla="*/ 245327 h 1360449"/>
              <a:gd name="connsiteX38-5113" fmla="*/ 2040673 w 2252546"/>
              <a:gd name="connsiteY38-5114" fmla="*/ 144966 h 1360449"/>
              <a:gd name="connsiteX39-5115" fmla="*/ 2029522 w 2252546"/>
              <a:gd name="connsiteY39-5116" fmla="*/ 33454 h 1360449"/>
              <a:gd name="connsiteX40-5117" fmla="*/ 1862254 w 2252546"/>
              <a:gd name="connsiteY40-5118" fmla="*/ 55756 h 1360449"/>
              <a:gd name="connsiteX41-5119" fmla="*/ 1661532 w 2252546"/>
              <a:gd name="connsiteY41-5120" fmla="*/ 33454 h 1360449"/>
              <a:gd name="connsiteX42-5121" fmla="*/ 1572322 w 2252546"/>
              <a:gd name="connsiteY42-5122" fmla="*/ 111512 h 1360449"/>
              <a:gd name="connsiteX43-5123" fmla="*/ 1449658 w 2252546"/>
              <a:gd name="connsiteY43-5124" fmla="*/ 111512 h 1360449"/>
              <a:gd name="connsiteX44-5125" fmla="*/ 1550019 w 2252546"/>
              <a:gd name="connsiteY44-5126" fmla="*/ 0 h 1360449"/>
              <a:gd name="connsiteX45-5127" fmla="*/ 1506189 w 2252546"/>
              <a:gd name="connsiteY45-5128" fmla="*/ 330243 h 1360449"/>
              <a:gd name="connsiteX46-5129" fmla="*/ 1433671 w 2252546"/>
              <a:gd name="connsiteY46-5130" fmla="*/ 267646 h 1360449"/>
              <a:gd name="connsiteX47-5131" fmla="*/ 1324400 w 2252546"/>
              <a:gd name="connsiteY47-5132" fmla="*/ 330658 h 1360449"/>
              <a:gd name="connsiteX48-5133" fmla="*/ 1324339 w 2252546"/>
              <a:gd name="connsiteY48-5134" fmla="*/ 455594 h 1360449"/>
              <a:gd name="connsiteX49-5135" fmla="*/ 1311312 w 2252546"/>
              <a:gd name="connsiteY49-5136" fmla="*/ 443025 h 1360449"/>
              <a:gd name="connsiteX50-5137" fmla="*/ 1240170 w 2252546"/>
              <a:gd name="connsiteY50-5138" fmla="*/ 423882 h 1360449"/>
              <a:gd name="connsiteX51-5139" fmla="*/ 1181596 w 2252546"/>
              <a:gd name="connsiteY51-5140" fmla="*/ 365111 h 1360449"/>
              <a:gd name="connsiteX52-5141" fmla="*/ 890352 w 2252546"/>
              <a:gd name="connsiteY52-5142" fmla="*/ 365111 h 1360449"/>
              <a:gd name="connsiteX53-5143" fmla="*/ 858705 w 2252546"/>
              <a:gd name="connsiteY53-5144" fmla="*/ 444423 h 1360449"/>
              <a:gd name="connsiteX54-5145" fmla="*/ 784495 w 2252546"/>
              <a:gd name="connsiteY54-5146" fmla="*/ 500933 h 1360449"/>
              <a:gd name="connsiteX55-5147" fmla="*/ 781088 w 2252546"/>
              <a:gd name="connsiteY55-5148" fmla="*/ 492559 h 1360449"/>
              <a:gd name="connsiteX56-5149" fmla="*/ 723189 w 2252546"/>
              <a:gd name="connsiteY56-5150" fmla="*/ 437149 h 1360449"/>
              <a:gd name="connsiteX0-5151" fmla="*/ 412595 w 2252546"/>
              <a:gd name="connsiteY0-5152" fmla="*/ 100361 h 1360449"/>
              <a:gd name="connsiteX1-5153" fmla="*/ 490654 w 2252546"/>
              <a:gd name="connsiteY1-5154" fmla="*/ 223025 h 1360449"/>
              <a:gd name="connsiteX2-5155" fmla="*/ 591015 w 2252546"/>
              <a:gd name="connsiteY2-5156" fmla="*/ 323386 h 1360449"/>
              <a:gd name="connsiteX3-5157" fmla="*/ 446049 w 2252546"/>
              <a:gd name="connsiteY3-5158" fmla="*/ 323386 h 1360449"/>
              <a:gd name="connsiteX4-5159" fmla="*/ 289932 w 2252546"/>
              <a:gd name="connsiteY4-5160" fmla="*/ 323386 h 1360449"/>
              <a:gd name="connsiteX5-5161" fmla="*/ 234176 w 2252546"/>
              <a:gd name="connsiteY5-5162" fmla="*/ 390293 h 1360449"/>
              <a:gd name="connsiteX6-5163" fmla="*/ 234176 w 2252546"/>
              <a:gd name="connsiteY6-5164" fmla="*/ 468351 h 1360449"/>
              <a:gd name="connsiteX7-5165" fmla="*/ 256478 w 2252546"/>
              <a:gd name="connsiteY7-5166" fmla="*/ 579864 h 1360449"/>
              <a:gd name="connsiteX8-5167" fmla="*/ 178419 w 2252546"/>
              <a:gd name="connsiteY8-5168" fmla="*/ 657922 h 1360449"/>
              <a:gd name="connsiteX9-5169" fmla="*/ 189571 w 2252546"/>
              <a:gd name="connsiteY9-5170" fmla="*/ 724830 h 1360449"/>
              <a:gd name="connsiteX10-5171" fmla="*/ 78058 w 2252546"/>
              <a:gd name="connsiteY10-5172" fmla="*/ 758283 h 1360449"/>
              <a:gd name="connsiteX11-5173" fmla="*/ 0 w 2252546"/>
              <a:gd name="connsiteY11-5174" fmla="*/ 836342 h 1360449"/>
              <a:gd name="connsiteX12-5175" fmla="*/ 100361 w 2252546"/>
              <a:gd name="connsiteY12-5176" fmla="*/ 981308 h 1360449"/>
              <a:gd name="connsiteX13-5177" fmla="*/ 89210 w 2252546"/>
              <a:gd name="connsiteY13-5178" fmla="*/ 1081669 h 1360449"/>
              <a:gd name="connsiteX14-5179" fmla="*/ 144966 w 2252546"/>
              <a:gd name="connsiteY14-5180" fmla="*/ 1103971 h 1360449"/>
              <a:gd name="connsiteX15-5181" fmla="*/ 156117 w 2252546"/>
              <a:gd name="connsiteY15-5182" fmla="*/ 1014761 h 1360449"/>
              <a:gd name="connsiteX16-5183" fmla="*/ 267629 w 2252546"/>
              <a:gd name="connsiteY16-5184" fmla="*/ 1037064 h 1360449"/>
              <a:gd name="connsiteX17-5185" fmla="*/ 401444 w 2252546"/>
              <a:gd name="connsiteY17-5186" fmla="*/ 1003610 h 1360449"/>
              <a:gd name="connsiteX18-5187" fmla="*/ 479502 w 2252546"/>
              <a:gd name="connsiteY18-5188" fmla="*/ 1182030 h 1360449"/>
              <a:gd name="connsiteX19-5189" fmla="*/ 479502 w 2252546"/>
              <a:gd name="connsiteY19-5190" fmla="*/ 1315844 h 1360449"/>
              <a:gd name="connsiteX20-5191" fmla="*/ 669073 w 2252546"/>
              <a:gd name="connsiteY20-5192" fmla="*/ 1338147 h 1360449"/>
              <a:gd name="connsiteX21-5193" fmla="*/ 713678 w 2252546"/>
              <a:gd name="connsiteY21-5194" fmla="*/ 1360449 h 1360449"/>
              <a:gd name="connsiteX22-5195" fmla="*/ 970156 w 2252546"/>
              <a:gd name="connsiteY22-5196" fmla="*/ 1103971 h 1360449"/>
              <a:gd name="connsiteX23-5197" fmla="*/ 1315844 w 2252546"/>
              <a:gd name="connsiteY23-5198" fmla="*/ 992459 h 1360449"/>
              <a:gd name="connsiteX24-5199" fmla="*/ 1405054 w 2252546"/>
              <a:gd name="connsiteY24-5200" fmla="*/ 858644 h 1360449"/>
              <a:gd name="connsiteX25-5201" fmla="*/ 1326995 w 2252546"/>
              <a:gd name="connsiteY25-5202" fmla="*/ 802888 h 1360449"/>
              <a:gd name="connsiteX26-5203" fmla="*/ 1371600 w 2252546"/>
              <a:gd name="connsiteY26-5204" fmla="*/ 702527 h 1360449"/>
              <a:gd name="connsiteX27-5205" fmla="*/ 1650380 w 2252546"/>
              <a:gd name="connsiteY27-5206" fmla="*/ 602166 h 1360449"/>
              <a:gd name="connsiteX28-5207" fmla="*/ 1650380 w 2252546"/>
              <a:gd name="connsiteY28-5208" fmla="*/ 546410 h 1360449"/>
              <a:gd name="connsiteX29-5209" fmla="*/ 1806497 w 2252546"/>
              <a:gd name="connsiteY29-5210" fmla="*/ 512956 h 1360449"/>
              <a:gd name="connsiteX30-5211" fmla="*/ 1839951 w 2252546"/>
              <a:gd name="connsiteY30-5212" fmla="*/ 535259 h 1360449"/>
              <a:gd name="connsiteX31-5213" fmla="*/ 1929161 w 2252546"/>
              <a:gd name="connsiteY31-5214" fmla="*/ 501805 h 1360449"/>
              <a:gd name="connsiteX32-5215" fmla="*/ 2241395 w 2252546"/>
              <a:gd name="connsiteY32-5216" fmla="*/ 546410 h 1360449"/>
              <a:gd name="connsiteX33-5217" fmla="*/ 2174488 w 2252546"/>
              <a:gd name="connsiteY33-5218" fmla="*/ 434898 h 1360449"/>
              <a:gd name="connsiteX34-5219" fmla="*/ 2252546 w 2252546"/>
              <a:gd name="connsiteY34-5220" fmla="*/ 390293 h 1360449"/>
              <a:gd name="connsiteX35-5221" fmla="*/ 2062976 w 2252546"/>
              <a:gd name="connsiteY35-5222" fmla="*/ 267630 h 1360449"/>
              <a:gd name="connsiteX36-5223" fmla="*/ 2062976 w 2252546"/>
              <a:gd name="connsiteY36-5224" fmla="*/ 267630 h 1360449"/>
              <a:gd name="connsiteX37-5225" fmla="*/ 2085278 w 2252546"/>
              <a:gd name="connsiteY37-5226" fmla="*/ 245327 h 1360449"/>
              <a:gd name="connsiteX38-5227" fmla="*/ 2040673 w 2252546"/>
              <a:gd name="connsiteY38-5228" fmla="*/ 144966 h 1360449"/>
              <a:gd name="connsiteX39-5229" fmla="*/ 2029522 w 2252546"/>
              <a:gd name="connsiteY39-5230" fmla="*/ 33454 h 1360449"/>
              <a:gd name="connsiteX40-5231" fmla="*/ 1862254 w 2252546"/>
              <a:gd name="connsiteY40-5232" fmla="*/ 55756 h 1360449"/>
              <a:gd name="connsiteX41-5233" fmla="*/ 1661532 w 2252546"/>
              <a:gd name="connsiteY41-5234" fmla="*/ 33454 h 1360449"/>
              <a:gd name="connsiteX42-5235" fmla="*/ 1572322 w 2252546"/>
              <a:gd name="connsiteY42-5236" fmla="*/ 111512 h 1360449"/>
              <a:gd name="connsiteX43-5237" fmla="*/ 1449658 w 2252546"/>
              <a:gd name="connsiteY43-5238" fmla="*/ 111512 h 1360449"/>
              <a:gd name="connsiteX44-5239" fmla="*/ 1550019 w 2252546"/>
              <a:gd name="connsiteY44-5240" fmla="*/ 0 h 1360449"/>
              <a:gd name="connsiteX45-5241" fmla="*/ 1506189 w 2252546"/>
              <a:gd name="connsiteY45-5242" fmla="*/ 330244 h 1360449"/>
              <a:gd name="connsiteX46-5243" fmla="*/ 1433671 w 2252546"/>
              <a:gd name="connsiteY46-5244" fmla="*/ 267646 h 1360449"/>
              <a:gd name="connsiteX47-5245" fmla="*/ 1324400 w 2252546"/>
              <a:gd name="connsiteY47-5246" fmla="*/ 330658 h 1360449"/>
              <a:gd name="connsiteX48-5247" fmla="*/ 1324339 w 2252546"/>
              <a:gd name="connsiteY48-5248" fmla="*/ 455594 h 1360449"/>
              <a:gd name="connsiteX49-5249" fmla="*/ 1311312 w 2252546"/>
              <a:gd name="connsiteY49-5250" fmla="*/ 443025 h 1360449"/>
              <a:gd name="connsiteX50-5251" fmla="*/ 1240170 w 2252546"/>
              <a:gd name="connsiteY50-5252" fmla="*/ 423882 h 1360449"/>
              <a:gd name="connsiteX51-5253" fmla="*/ 1181596 w 2252546"/>
              <a:gd name="connsiteY51-5254" fmla="*/ 365111 h 1360449"/>
              <a:gd name="connsiteX52-5255" fmla="*/ 890352 w 2252546"/>
              <a:gd name="connsiteY52-5256" fmla="*/ 365111 h 1360449"/>
              <a:gd name="connsiteX53-5257" fmla="*/ 858705 w 2252546"/>
              <a:gd name="connsiteY53-5258" fmla="*/ 444423 h 1360449"/>
              <a:gd name="connsiteX54-5259" fmla="*/ 784495 w 2252546"/>
              <a:gd name="connsiteY54-5260" fmla="*/ 500933 h 1360449"/>
              <a:gd name="connsiteX55-5261" fmla="*/ 781088 w 2252546"/>
              <a:gd name="connsiteY55-5262" fmla="*/ 492559 h 1360449"/>
              <a:gd name="connsiteX56-5263" fmla="*/ 723189 w 2252546"/>
              <a:gd name="connsiteY56-5264" fmla="*/ 437149 h 1360449"/>
              <a:gd name="connsiteX0-5265" fmla="*/ 412595 w 2252546"/>
              <a:gd name="connsiteY0-5266" fmla="*/ 100361 h 1360449"/>
              <a:gd name="connsiteX1-5267" fmla="*/ 490654 w 2252546"/>
              <a:gd name="connsiteY1-5268" fmla="*/ 223025 h 1360449"/>
              <a:gd name="connsiteX2-5269" fmla="*/ 591015 w 2252546"/>
              <a:gd name="connsiteY2-5270" fmla="*/ 323386 h 1360449"/>
              <a:gd name="connsiteX3-5271" fmla="*/ 446049 w 2252546"/>
              <a:gd name="connsiteY3-5272" fmla="*/ 323386 h 1360449"/>
              <a:gd name="connsiteX4-5273" fmla="*/ 289932 w 2252546"/>
              <a:gd name="connsiteY4-5274" fmla="*/ 323386 h 1360449"/>
              <a:gd name="connsiteX5-5275" fmla="*/ 234176 w 2252546"/>
              <a:gd name="connsiteY5-5276" fmla="*/ 390293 h 1360449"/>
              <a:gd name="connsiteX6-5277" fmla="*/ 234176 w 2252546"/>
              <a:gd name="connsiteY6-5278" fmla="*/ 468351 h 1360449"/>
              <a:gd name="connsiteX7-5279" fmla="*/ 256478 w 2252546"/>
              <a:gd name="connsiteY7-5280" fmla="*/ 579864 h 1360449"/>
              <a:gd name="connsiteX8-5281" fmla="*/ 178419 w 2252546"/>
              <a:gd name="connsiteY8-5282" fmla="*/ 657922 h 1360449"/>
              <a:gd name="connsiteX9-5283" fmla="*/ 189571 w 2252546"/>
              <a:gd name="connsiteY9-5284" fmla="*/ 724830 h 1360449"/>
              <a:gd name="connsiteX10-5285" fmla="*/ 78058 w 2252546"/>
              <a:gd name="connsiteY10-5286" fmla="*/ 758283 h 1360449"/>
              <a:gd name="connsiteX11-5287" fmla="*/ 0 w 2252546"/>
              <a:gd name="connsiteY11-5288" fmla="*/ 836342 h 1360449"/>
              <a:gd name="connsiteX12-5289" fmla="*/ 100361 w 2252546"/>
              <a:gd name="connsiteY12-5290" fmla="*/ 981308 h 1360449"/>
              <a:gd name="connsiteX13-5291" fmla="*/ 89210 w 2252546"/>
              <a:gd name="connsiteY13-5292" fmla="*/ 1081669 h 1360449"/>
              <a:gd name="connsiteX14-5293" fmla="*/ 144966 w 2252546"/>
              <a:gd name="connsiteY14-5294" fmla="*/ 1103971 h 1360449"/>
              <a:gd name="connsiteX15-5295" fmla="*/ 156117 w 2252546"/>
              <a:gd name="connsiteY15-5296" fmla="*/ 1014761 h 1360449"/>
              <a:gd name="connsiteX16-5297" fmla="*/ 267629 w 2252546"/>
              <a:gd name="connsiteY16-5298" fmla="*/ 1037064 h 1360449"/>
              <a:gd name="connsiteX17-5299" fmla="*/ 401444 w 2252546"/>
              <a:gd name="connsiteY17-5300" fmla="*/ 1003610 h 1360449"/>
              <a:gd name="connsiteX18-5301" fmla="*/ 479502 w 2252546"/>
              <a:gd name="connsiteY18-5302" fmla="*/ 1182030 h 1360449"/>
              <a:gd name="connsiteX19-5303" fmla="*/ 479502 w 2252546"/>
              <a:gd name="connsiteY19-5304" fmla="*/ 1315844 h 1360449"/>
              <a:gd name="connsiteX20-5305" fmla="*/ 669073 w 2252546"/>
              <a:gd name="connsiteY20-5306" fmla="*/ 1338147 h 1360449"/>
              <a:gd name="connsiteX21-5307" fmla="*/ 713678 w 2252546"/>
              <a:gd name="connsiteY21-5308" fmla="*/ 1360449 h 1360449"/>
              <a:gd name="connsiteX22-5309" fmla="*/ 970156 w 2252546"/>
              <a:gd name="connsiteY22-5310" fmla="*/ 1103971 h 1360449"/>
              <a:gd name="connsiteX23-5311" fmla="*/ 1315844 w 2252546"/>
              <a:gd name="connsiteY23-5312" fmla="*/ 992459 h 1360449"/>
              <a:gd name="connsiteX24-5313" fmla="*/ 1405054 w 2252546"/>
              <a:gd name="connsiteY24-5314" fmla="*/ 858644 h 1360449"/>
              <a:gd name="connsiteX25-5315" fmla="*/ 1326995 w 2252546"/>
              <a:gd name="connsiteY25-5316" fmla="*/ 802888 h 1360449"/>
              <a:gd name="connsiteX26-5317" fmla="*/ 1371600 w 2252546"/>
              <a:gd name="connsiteY26-5318" fmla="*/ 702527 h 1360449"/>
              <a:gd name="connsiteX27-5319" fmla="*/ 1650380 w 2252546"/>
              <a:gd name="connsiteY27-5320" fmla="*/ 602166 h 1360449"/>
              <a:gd name="connsiteX28-5321" fmla="*/ 1650380 w 2252546"/>
              <a:gd name="connsiteY28-5322" fmla="*/ 546410 h 1360449"/>
              <a:gd name="connsiteX29-5323" fmla="*/ 1806497 w 2252546"/>
              <a:gd name="connsiteY29-5324" fmla="*/ 512956 h 1360449"/>
              <a:gd name="connsiteX30-5325" fmla="*/ 1839951 w 2252546"/>
              <a:gd name="connsiteY30-5326" fmla="*/ 535259 h 1360449"/>
              <a:gd name="connsiteX31-5327" fmla="*/ 1929161 w 2252546"/>
              <a:gd name="connsiteY31-5328" fmla="*/ 501805 h 1360449"/>
              <a:gd name="connsiteX32-5329" fmla="*/ 2241395 w 2252546"/>
              <a:gd name="connsiteY32-5330" fmla="*/ 546410 h 1360449"/>
              <a:gd name="connsiteX33-5331" fmla="*/ 2174488 w 2252546"/>
              <a:gd name="connsiteY33-5332" fmla="*/ 434898 h 1360449"/>
              <a:gd name="connsiteX34-5333" fmla="*/ 2252546 w 2252546"/>
              <a:gd name="connsiteY34-5334" fmla="*/ 390293 h 1360449"/>
              <a:gd name="connsiteX35-5335" fmla="*/ 2062976 w 2252546"/>
              <a:gd name="connsiteY35-5336" fmla="*/ 267630 h 1360449"/>
              <a:gd name="connsiteX36-5337" fmla="*/ 2062976 w 2252546"/>
              <a:gd name="connsiteY36-5338" fmla="*/ 267630 h 1360449"/>
              <a:gd name="connsiteX37-5339" fmla="*/ 2085278 w 2252546"/>
              <a:gd name="connsiteY37-5340" fmla="*/ 245327 h 1360449"/>
              <a:gd name="connsiteX38-5341" fmla="*/ 2040673 w 2252546"/>
              <a:gd name="connsiteY38-5342" fmla="*/ 144966 h 1360449"/>
              <a:gd name="connsiteX39-5343" fmla="*/ 2029522 w 2252546"/>
              <a:gd name="connsiteY39-5344" fmla="*/ 33454 h 1360449"/>
              <a:gd name="connsiteX40-5345" fmla="*/ 1862254 w 2252546"/>
              <a:gd name="connsiteY40-5346" fmla="*/ 55756 h 1360449"/>
              <a:gd name="connsiteX41-5347" fmla="*/ 1661532 w 2252546"/>
              <a:gd name="connsiteY41-5348" fmla="*/ 33454 h 1360449"/>
              <a:gd name="connsiteX42-5349" fmla="*/ 1572322 w 2252546"/>
              <a:gd name="connsiteY42-5350" fmla="*/ 111512 h 1360449"/>
              <a:gd name="connsiteX43-5351" fmla="*/ 1449658 w 2252546"/>
              <a:gd name="connsiteY43-5352" fmla="*/ 111512 h 1360449"/>
              <a:gd name="connsiteX44-5353" fmla="*/ 1550019 w 2252546"/>
              <a:gd name="connsiteY44-5354" fmla="*/ 0 h 1360449"/>
              <a:gd name="connsiteX45-5355" fmla="*/ 1506189 w 2252546"/>
              <a:gd name="connsiteY45-5356" fmla="*/ 330244 h 1360449"/>
              <a:gd name="connsiteX46-5357" fmla="*/ 1433671 w 2252546"/>
              <a:gd name="connsiteY46-5358" fmla="*/ 267646 h 1360449"/>
              <a:gd name="connsiteX47-5359" fmla="*/ 1324400 w 2252546"/>
              <a:gd name="connsiteY47-5360" fmla="*/ 330658 h 1360449"/>
              <a:gd name="connsiteX48-5361" fmla="*/ 1324339 w 2252546"/>
              <a:gd name="connsiteY48-5362" fmla="*/ 455594 h 1360449"/>
              <a:gd name="connsiteX49-5363" fmla="*/ 1311312 w 2252546"/>
              <a:gd name="connsiteY49-5364" fmla="*/ 443025 h 1360449"/>
              <a:gd name="connsiteX50-5365" fmla="*/ 1240170 w 2252546"/>
              <a:gd name="connsiteY50-5366" fmla="*/ 423882 h 1360449"/>
              <a:gd name="connsiteX51-5367" fmla="*/ 1181596 w 2252546"/>
              <a:gd name="connsiteY51-5368" fmla="*/ 365111 h 1360449"/>
              <a:gd name="connsiteX52-5369" fmla="*/ 890352 w 2252546"/>
              <a:gd name="connsiteY52-5370" fmla="*/ 365111 h 1360449"/>
              <a:gd name="connsiteX53-5371" fmla="*/ 858705 w 2252546"/>
              <a:gd name="connsiteY53-5372" fmla="*/ 444423 h 1360449"/>
              <a:gd name="connsiteX54-5373" fmla="*/ 784495 w 2252546"/>
              <a:gd name="connsiteY54-5374" fmla="*/ 500933 h 1360449"/>
              <a:gd name="connsiteX55-5375" fmla="*/ 781088 w 2252546"/>
              <a:gd name="connsiteY55-5376" fmla="*/ 492559 h 1360449"/>
              <a:gd name="connsiteX56-5377" fmla="*/ 723189 w 2252546"/>
              <a:gd name="connsiteY56-5378" fmla="*/ 437149 h 1360449"/>
              <a:gd name="connsiteX0-5379" fmla="*/ 412595 w 2252546"/>
              <a:gd name="connsiteY0-5380" fmla="*/ 100361 h 1360449"/>
              <a:gd name="connsiteX1-5381" fmla="*/ 490654 w 2252546"/>
              <a:gd name="connsiteY1-5382" fmla="*/ 223025 h 1360449"/>
              <a:gd name="connsiteX2-5383" fmla="*/ 591015 w 2252546"/>
              <a:gd name="connsiteY2-5384" fmla="*/ 323386 h 1360449"/>
              <a:gd name="connsiteX3-5385" fmla="*/ 446049 w 2252546"/>
              <a:gd name="connsiteY3-5386" fmla="*/ 323386 h 1360449"/>
              <a:gd name="connsiteX4-5387" fmla="*/ 567211 w 2252546"/>
              <a:gd name="connsiteY4-5388" fmla="*/ 750845 h 1360449"/>
              <a:gd name="connsiteX5-5389" fmla="*/ 289932 w 2252546"/>
              <a:gd name="connsiteY5-5390" fmla="*/ 323386 h 1360449"/>
              <a:gd name="connsiteX6-5391" fmla="*/ 234176 w 2252546"/>
              <a:gd name="connsiteY6-5392" fmla="*/ 390293 h 1360449"/>
              <a:gd name="connsiteX7-5393" fmla="*/ 234176 w 2252546"/>
              <a:gd name="connsiteY7-5394" fmla="*/ 468351 h 1360449"/>
              <a:gd name="connsiteX8-5395" fmla="*/ 256478 w 2252546"/>
              <a:gd name="connsiteY8-5396" fmla="*/ 579864 h 1360449"/>
              <a:gd name="connsiteX9-5397" fmla="*/ 178419 w 2252546"/>
              <a:gd name="connsiteY9-5398" fmla="*/ 657922 h 1360449"/>
              <a:gd name="connsiteX10-5399" fmla="*/ 189571 w 2252546"/>
              <a:gd name="connsiteY10-5400" fmla="*/ 724830 h 1360449"/>
              <a:gd name="connsiteX11-5401" fmla="*/ 78058 w 2252546"/>
              <a:gd name="connsiteY11-5402" fmla="*/ 758283 h 1360449"/>
              <a:gd name="connsiteX12-5403" fmla="*/ 0 w 2252546"/>
              <a:gd name="connsiteY12-5404" fmla="*/ 836342 h 1360449"/>
              <a:gd name="connsiteX13-5405" fmla="*/ 100361 w 2252546"/>
              <a:gd name="connsiteY13-5406" fmla="*/ 981308 h 1360449"/>
              <a:gd name="connsiteX14-5407" fmla="*/ 89210 w 2252546"/>
              <a:gd name="connsiteY14-5408" fmla="*/ 1081669 h 1360449"/>
              <a:gd name="connsiteX15-5409" fmla="*/ 144966 w 2252546"/>
              <a:gd name="connsiteY15-5410" fmla="*/ 1103971 h 1360449"/>
              <a:gd name="connsiteX16-5411" fmla="*/ 156117 w 2252546"/>
              <a:gd name="connsiteY16-5412" fmla="*/ 1014761 h 1360449"/>
              <a:gd name="connsiteX17-5413" fmla="*/ 267629 w 2252546"/>
              <a:gd name="connsiteY17-5414" fmla="*/ 1037064 h 1360449"/>
              <a:gd name="connsiteX18-5415" fmla="*/ 401444 w 2252546"/>
              <a:gd name="connsiteY18-5416" fmla="*/ 1003610 h 1360449"/>
              <a:gd name="connsiteX19-5417" fmla="*/ 479502 w 2252546"/>
              <a:gd name="connsiteY19-5418" fmla="*/ 1182030 h 1360449"/>
              <a:gd name="connsiteX20-5419" fmla="*/ 479502 w 2252546"/>
              <a:gd name="connsiteY20-5420" fmla="*/ 1315844 h 1360449"/>
              <a:gd name="connsiteX21-5421" fmla="*/ 669073 w 2252546"/>
              <a:gd name="connsiteY21-5422" fmla="*/ 1338147 h 1360449"/>
              <a:gd name="connsiteX22-5423" fmla="*/ 713678 w 2252546"/>
              <a:gd name="connsiteY22-5424" fmla="*/ 1360449 h 1360449"/>
              <a:gd name="connsiteX23-5425" fmla="*/ 970156 w 2252546"/>
              <a:gd name="connsiteY23-5426" fmla="*/ 1103971 h 1360449"/>
              <a:gd name="connsiteX24-5427" fmla="*/ 1315844 w 2252546"/>
              <a:gd name="connsiteY24-5428" fmla="*/ 992459 h 1360449"/>
              <a:gd name="connsiteX25-5429" fmla="*/ 1405054 w 2252546"/>
              <a:gd name="connsiteY25-5430" fmla="*/ 858644 h 1360449"/>
              <a:gd name="connsiteX26-5431" fmla="*/ 1326995 w 2252546"/>
              <a:gd name="connsiteY26-5432" fmla="*/ 802888 h 1360449"/>
              <a:gd name="connsiteX27-5433" fmla="*/ 1371600 w 2252546"/>
              <a:gd name="connsiteY27-5434" fmla="*/ 702527 h 1360449"/>
              <a:gd name="connsiteX28-5435" fmla="*/ 1650380 w 2252546"/>
              <a:gd name="connsiteY28-5436" fmla="*/ 602166 h 1360449"/>
              <a:gd name="connsiteX29-5437" fmla="*/ 1650380 w 2252546"/>
              <a:gd name="connsiteY29-5438" fmla="*/ 546410 h 1360449"/>
              <a:gd name="connsiteX30-5439" fmla="*/ 1806497 w 2252546"/>
              <a:gd name="connsiteY30-5440" fmla="*/ 512956 h 1360449"/>
              <a:gd name="connsiteX31-5441" fmla="*/ 1839951 w 2252546"/>
              <a:gd name="connsiteY31-5442" fmla="*/ 535259 h 1360449"/>
              <a:gd name="connsiteX32-5443" fmla="*/ 1929161 w 2252546"/>
              <a:gd name="connsiteY32-5444" fmla="*/ 501805 h 1360449"/>
              <a:gd name="connsiteX33-5445" fmla="*/ 2241395 w 2252546"/>
              <a:gd name="connsiteY33-5446" fmla="*/ 546410 h 1360449"/>
              <a:gd name="connsiteX34-5447" fmla="*/ 2174488 w 2252546"/>
              <a:gd name="connsiteY34-5448" fmla="*/ 434898 h 1360449"/>
              <a:gd name="connsiteX35-5449" fmla="*/ 2252546 w 2252546"/>
              <a:gd name="connsiteY35-5450" fmla="*/ 390293 h 1360449"/>
              <a:gd name="connsiteX36-5451" fmla="*/ 2062976 w 2252546"/>
              <a:gd name="connsiteY36-5452" fmla="*/ 267630 h 1360449"/>
              <a:gd name="connsiteX37-5453" fmla="*/ 2062976 w 2252546"/>
              <a:gd name="connsiteY37-5454" fmla="*/ 267630 h 1360449"/>
              <a:gd name="connsiteX38-5455" fmla="*/ 2085278 w 2252546"/>
              <a:gd name="connsiteY38-5456" fmla="*/ 245327 h 1360449"/>
              <a:gd name="connsiteX39-5457" fmla="*/ 2040673 w 2252546"/>
              <a:gd name="connsiteY39-5458" fmla="*/ 144966 h 1360449"/>
              <a:gd name="connsiteX40-5459" fmla="*/ 2029522 w 2252546"/>
              <a:gd name="connsiteY40-5460" fmla="*/ 33454 h 1360449"/>
              <a:gd name="connsiteX41-5461" fmla="*/ 1862254 w 2252546"/>
              <a:gd name="connsiteY41-5462" fmla="*/ 55756 h 1360449"/>
              <a:gd name="connsiteX42-5463" fmla="*/ 1661532 w 2252546"/>
              <a:gd name="connsiteY42-5464" fmla="*/ 33454 h 1360449"/>
              <a:gd name="connsiteX43-5465" fmla="*/ 1572322 w 2252546"/>
              <a:gd name="connsiteY43-5466" fmla="*/ 111512 h 1360449"/>
              <a:gd name="connsiteX44-5467" fmla="*/ 1449658 w 2252546"/>
              <a:gd name="connsiteY44-5468" fmla="*/ 111512 h 1360449"/>
              <a:gd name="connsiteX45-5469" fmla="*/ 1550019 w 2252546"/>
              <a:gd name="connsiteY45-5470" fmla="*/ 0 h 1360449"/>
              <a:gd name="connsiteX46-5471" fmla="*/ 1506189 w 2252546"/>
              <a:gd name="connsiteY46-5472" fmla="*/ 330244 h 1360449"/>
              <a:gd name="connsiteX47-5473" fmla="*/ 1433671 w 2252546"/>
              <a:gd name="connsiteY47-5474" fmla="*/ 267646 h 1360449"/>
              <a:gd name="connsiteX48-5475" fmla="*/ 1324400 w 2252546"/>
              <a:gd name="connsiteY48-5476" fmla="*/ 330658 h 1360449"/>
              <a:gd name="connsiteX49-5477" fmla="*/ 1324339 w 2252546"/>
              <a:gd name="connsiteY49-5478" fmla="*/ 455594 h 1360449"/>
              <a:gd name="connsiteX50-5479" fmla="*/ 1311312 w 2252546"/>
              <a:gd name="connsiteY50-5480" fmla="*/ 443025 h 1360449"/>
              <a:gd name="connsiteX51-5481" fmla="*/ 1240170 w 2252546"/>
              <a:gd name="connsiteY51-5482" fmla="*/ 423882 h 1360449"/>
              <a:gd name="connsiteX52-5483" fmla="*/ 1181596 w 2252546"/>
              <a:gd name="connsiteY52-5484" fmla="*/ 365111 h 1360449"/>
              <a:gd name="connsiteX53-5485" fmla="*/ 890352 w 2252546"/>
              <a:gd name="connsiteY53-5486" fmla="*/ 365111 h 1360449"/>
              <a:gd name="connsiteX54-5487" fmla="*/ 858705 w 2252546"/>
              <a:gd name="connsiteY54-5488" fmla="*/ 444423 h 1360449"/>
              <a:gd name="connsiteX55-5489" fmla="*/ 784495 w 2252546"/>
              <a:gd name="connsiteY55-5490" fmla="*/ 500933 h 1360449"/>
              <a:gd name="connsiteX56-5491" fmla="*/ 781088 w 2252546"/>
              <a:gd name="connsiteY56-5492" fmla="*/ 492559 h 1360449"/>
              <a:gd name="connsiteX57-5493" fmla="*/ 723189 w 2252546"/>
              <a:gd name="connsiteY57-5494" fmla="*/ 437149 h 1360449"/>
              <a:gd name="connsiteX0-5495" fmla="*/ 412595 w 2252546"/>
              <a:gd name="connsiteY0-5496" fmla="*/ 100361 h 1360449"/>
              <a:gd name="connsiteX1-5497" fmla="*/ 490654 w 2252546"/>
              <a:gd name="connsiteY1-5498" fmla="*/ 223025 h 1360449"/>
              <a:gd name="connsiteX2-5499" fmla="*/ 591015 w 2252546"/>
              <a:gd name="connsiteY2-5500" fmla="*/ 323386 h 1360449"/>
              <a:gd name="connsiteX3-5501" fmla="*/ 446049 w 2252546"/>
              <a:gd name="connsiteY3-5502" fmla="*/ 323386 h 1360449"/>
              <a:gd name="connsiteX4-5503" fmla="*/ 580147 w 2252546"/>
              <a:gd name="connsiteY4-5504" fmla="*/ 456359 h 1360449"/>
              <a:gd name="connsiteX5-5505" fmla="*/ 567211 w 2252546"/>
              <a:gd name="connsiteY5-5506" fmla="*/ 750845 h 1360449"/>
              <a:gd name="connsiteX6-5507" fmla="*/ 289932 w 2252546"/>
              <a:gd name="connsiteY6-5508" fmla="*/ 323386 h 1360449"/>
              <a:gd name="connsiteX7-5509" fmla="*/ 234176 w 2252546"/>
              <a:gd name="connsiteY7-5510" fmla="*/ 390293 h 1360449"/>
              <a:gd name="connsiteX8-5511" fmla="*/ 234176 w 2252546"/>
              <a:gd name="connsiteY8-5512" fmla="*/ 468351 h 1360449"/>
              <a:gd name="connsiteX9-5513" fmla="*/ 256478 w 2252546"/>
              <a:gd name="connsiteY9-5514" fmla="*/ 579864 h 1360449"/>
              <a:gd name="connsiteX10-5515" fmla="*/ 178419 w 2252546"/>
              <a:gd name="connsiteY10-5516" fmla="*/ 657922 h 1360449"/>
              <a:gd name="connsiteX11-5517" fmla="*/ 189571 w 2252546"/>
              <a:gd name="connsiteY11-5518" fmla="*/ 724830 h 1360449"/>
              <a:gd name="connsiteX12-5519" fmla="*/ 78058 w 2252546"/>
              <a:gd name="connsiteY12-5520" fmla="*/ 758283 h 1360449"/>
              <a:gd name="connsiteX13-5521" fmla="*/ 0 w 2252546"/>
              <a:gd name="connsiteY13-5522" fmla="*/ 836342 h 1360449"/>
              <a:gd name="connsiteX14-5523" fmla="*/ 100361 w 2252546"/>
              <a:gd name="connsiteY14-5524" fmla="*/ 981308 h 1360449"/>
              <a:gd name="connsiteX15-5525" fmla="*/ 89210 w 2252546"/>
              <a:gd name="connsiteY15-5526" fmla="*/ 1081669 h 1360449"/>
              <a:gd name="connsiteX16-5527" fmla="*/ 144966 w 2252546"/>
              <a:gd name="connsiteY16-5528" fmla="*/ 1103971 h 1360449"/>
              <a:gd name="connsiteX17-5529" fmla="*/ 156117 w 2252546"/>
              <a:gd name="connsiteY17-5530" fmla="*/ 1014761 h 1360449"/>
              <a:gd name="connsiteX18-5531" fmla="*/ 267629 w 2252546"/>
              <a:gd name="connsiteY18-5532" fmla="*/ 1037064 h 1360449"/>
              <a:gd name="connsiteX19-5533" fmla="*/ 401444 w 2252546"/>
              <a:gd name="connsiteY19-5534" fmla="*/ 1003610 h 1360449"/>
              <a:gd name="connsiteX20-5535" fmla="*/ 479502 w 2252546"/>
              <a:gd name="connsiteY20-5536" fmla="*/ 1182030 h 1360449"/>
              <a:gd name="connsiteX21-5537" fmla="*/ 479502 w 2252546"/>
              <a:gd name="connsiteY21-5538" fmla="*/ 1315844 h 1360449"/>
              <a:gd name="connsiteX22-5539" fmla="*/ 669073 w 2252546"/>
              <a:gd name="connsiteY22-5540" fmla="*/ 1338147 h 1360449"/>
              <a:gd name="connsiteX23-5541" fmla="*/ 713678 w 2252546"/>
              <a:gd name="connsiteY23-5542" fmla="*/ 1360449 h 1360449"/>
              <a:gd name="connsiteX24-5543" fmla="*/ 970156 w 2252546"/>
              <a:gd name="connsiteY24-5544" fmla="*/ 1103971 h 1360449"/>
              <a:gd name="connsiteX25-5545" fmla="*/ 1315844 w 2252546"/>
              <a:gd name="connsiteY25-5546" fmla="*/ 992459 h 1360449"/>
              <a:gd name="connsiteX26-5547" fmla="*/ 1405054 w 2252546"/>
              <a:gd name="connsiteY26-5548" fmla="*/ 858644 h 1360449"/>
              <a:gd name="connsiteX27-5549" fmla="*/ 1326995 w 2252546"/>
              <a:gd name="connsiteY27-5550" fmla="*/ 802888 h 1360449"/>
              <a:gd name="connsiteX28-5551" fmla="*/ 1371600 w 2252546"/>
              <a:gd name="connsiteY28-5552" fmla="*/ 702527 h 1360449"/>
              <a:gd name="connsiteX29-5553" fmla="*/ 1650380 w 2252546"/>
              <a:gd name="connsiteY29-5554" fmla="*/ 602166 h 1360449"/>
              <a:gd name="connsiteX30-5555" fmla="*/ 1650380 w 2252546"/>
              <a:gd name="connsiteY30-5556" fmla="*/ 546410 h 1360449"/>
              <a:gd name="connsiteX31-5557" fmla="*/ 1806497 w 2252546"/>
              <a:gd name="connsiteY31-5558" fmla="*/ 512956 h 1360449"/>
              <a:gd name="connsiteX32-5559" fmla="*/ 1839951 w 2252546"/>
              <a:gd name="connsiteY32-5560" fmla="*/ 535259 h 1360449"/>
              <a:gd name="connsiteX33-5561" fmla="*/ 1929161 w 2252546"/>
              <a:gd name="connsiteY33-5562" fmla="*/ 501805 h 1360449"/>
              <a:gd name="connsiteX34-5563" fmla="*/ 2241395 w 2252546"/>
              <a:gd name="connsiteY34-5564" fmla="*/ 546410 h 1360449"/>
              <a:gd name="connsiteX35-5565" fmla="*/ 2174488 w 2252546"/>
              <a:gd name="connsiteY35-5566" fmla="*/ 434898 h 1360449"/>
              <a:gd name="connsiteX36-5567" fmla="*/ 2252546 w 2252546"/>
              <a:gd name="connsiteY36-5568" fmla="*/ 390293 h 1360449"/>
              <a:gd name="connsiteX37-5569" fmla="*/ 2062976 w 2252546"/>
              <a:gd name="connsiteY37-5570" fmla="*/ 267630 h 1360449"/>
              <a:gd name="connsiteX38-5571" fmla="*/ 2062976 w 2252546"/>
              <a:gd name="connsiteY38-5572" fmla="*/ 267630 h 1360449"/>
              <a:gd name="connsiteX39-5573" fmla="*/ 2085278 w 2252546"/>
              <a:gd name="connsiteY39-5574" fmla="*/ 245327 h 1360449"/>
              <a:gd name="connsiteX40-5575" fmla="*/ 2040673 w 2252546"/>
              <a:gd name="connsiteY40-5576" fmla="*/ 144966 h 1360449"/>
              <a:gd name="connsiteX41-5577" fmla="*/ 2029522 w 2252546"/>
              <a:gd name="connsiteY41-5578" fmla="*/ 33454 h 1360449"/>
              <a:gd name="connsiteX42-5579" fmla="*/ 1862254 w 2252546"/>
              <a:gd name="connsiteY42-5580" fmla="*/ 55756 h 1360449"/>
              <a:gd name="connsiteX43-5581" fmla="*/ 1661532 w 2252546"/>
              <a:gd name="connsiteY43-5582" fmla="*/ 33454 h 1360449"/>
              <a:gd name="connsiteX44-5583" fmla="*/ 1572322 w 2252546"/>
              <a:gd name="connsiteY44-5584" fmla="*/ 111512 h 1360449"/>
              <a:gd name="connsiteX45-5585" fmla="*/ 1449658 w 2252546"/>
              <a:gd name="connsiteY45-5586" fmla="*/ 111512 h 1360449"/>
              <a:gd name="connsiteX46-5587" fmla="*/ 1550019 w 2252546"/>
              <a:gd name="connsiteY46-5588" fmla="*/ 0 h 1360449"/>
              <a:gd name="connsiteX47-5589" fmla="*/ 1506189 w 2252546"/>
              <a:gd name="connsiteY47-5590" fmla="*/ 330244 h 1360449"/>
              <a:gd name="connsiteX48-5591" fmla="*/ 1433671 w 2252546"/>
              <a:gd name="connsiteY48-5592" fmla="*/ 267646 h 1360449"/>
              <a:gd name="connsiteX49-5593" fmla="*/ 1324400 w 2252546"/>
              <a:gd name="connsiteY49-5594" fmla="*/ 330658 h 1360449"/>
              <a:gd name="connsiteX50-5595" fmla="*/ 1324339 w 2252546"/>
              <a:gd name="connsiteY50-5596" fmla="*/ 455594 h 1360449"/>
              <a:gd name="connsiteX51-5597" fmla="*/ 1311312 w 2252546"/>
              <a:gd name="connsiteY51-5598" fmla="*/ 443025 h 1360449"/>
              <a:gd name="connsiteX52-5599" fmla="*/ 1240170 w 2252546"/>
              <a:gd name="connsiteY52-5600" fmla="*/ 423882 h 1360449"/>
              <a:gd name="connsiteX53-5601" fmla="*/ 1181596 w 2252546"/>
              <a:gd name="connsiteY53-5602" fmla="*/ 365111 h 1360449"/>
              <a:gd name="connsiteX54-5603" fmla="*/ 890352 w 2252546"/>
              <a:gd name="connsiteY54-5604" fmla="*/ 365111 h 1360449"/>
              <a:gd name="connsiteX55-5605" fmla="*/ 858705 w 2252546"/>
              <a:gd name="connsiteY55-5606" fmla="*/ 444423 h 1360449"/>
              <a:gd name="connsiteX56-5607" fmla="*/ 784495 w 2252546"/>
              <a:gd name="connsiteY56-5608" fmla="*/ 500933 h 1360449"/>
              <a:gd name="connsiteX57-5609" fmla="*/ 781088 w 2252546"/>
              <a:gd name="connsiteY57-5610" fmla="*/ 492559 h 1360449"/>
              <a:gd name="connsiteX58-5611" fmla="*/ 723189 w 2252546"/>
              <a:gd name="connsiteY58-5612" fmla="*/ 437149 h 1360449"/>
              <a:gd name="connsiteX0-5613" fmla="*/ 412595 w 2252546"/>
              <a:gd name="connsiteY0-5614" fmla="*/ 100361 h 1360449"/>
              <a:gd name="connsiteX1-5615" fmla="*/ 490654 w 2252546"/>
              <a:gd name="connsiteY1-5616" fmla="*/ 223025 h 1360449"/>
              <a:gd name="connsiteX2-5617" fmla="*/ 591015 w 2252546"/>
              <a:gd name="connsiteY2-5618" fmla="*/ 323386 h 1360449"/>
              <a:gd name="connsiteX3-5619" fmla="*/ 446049 w 2252546"/>
              <a:gd name="connsiteY3-5620" fmla="*/ 323386 h 1360449"/>
              <a:gd name="connsiteX4-5621" fmla="*/ 580147 w 2252546"/>
              <a:gd name="connsiteY4-5622" fmla="*/ 456359 h 1360449"/>
              <a:gd name="connsiteX5-5623" fmla="*/ 567211 w 2252546"/>
              <a:gd name="connsiteY5-5624" fmla="*/ 750845 h 1360449"/>
              <a:gd name="connsiteX6-5625" fmla="*/ 289932 w 2252546"/>
              <a:gd name="connsiteY6-5626" fmla="*/ 323386 h 1360449"/>
              <a:gd name="connsiteX7-5627" fmla="*/ 424915 w 2252546"/>
              <a:gd name="connsiteY7-5628" fmla="*/ 450390 h 1360449"/>
              <a:gd name="connsiteX8-5629" fmla="*/ 234176 w 2252546"/>
              <a:gd name="connsiteY8-5630" fmla="*/ 390293 h 1360449"/>
              <a:gd name="connsiteX9-5631" fmla="*/ 234176 w 2252546"/>
              <a:gd name="connsiteY9-5632" fmla="*/ 468351 h 1360449"/>
              <a:gd name="connsiteX10-5633" fmla="*/ 256478 w 2252546"/>
              <a:gd name="connsiteY10-5634" fmla="*/ 579864 h 1360449"/>
              <a:gd name="connsiteX11-5635" fmla="*/ 178419 w 2252546"/>
              <a:gd name="connsiteY11-5636" fmla="*/ 657922 h 1360449"/>
              <a:gd name="connsiteX12-5637" fmla="*/ 189571 w 2252546"/>
              <a:gd name="connsiteY12-5638" fmla="*/ 724830 h 1360449"/>
              <a:gd name="connsiteX13-5639" fmla="*/ 78058 w 2252546"/>
              <a:gd name="connsiteY13-5640" fmla="*/ 758283 h 1360449"/>
              <a:gd name="connsiteX14-5641" fmla="*/ 0 w 2252546"/>
              <a:gd name="connsiteY14-5642" fmla="*/ 836342 h 1360449"/>
              <a:gd name="connsiteX15-5643" fmla="*/ 100361 w 2252546"/>
              <a:gd name="connsiteY15-5644" fmla="*/ 981308 h 1360449"/>
              <a:gd name="connsiteX16-5645" fmla="*/ 89210 w 2252546"/>
              <a:gd name="connsiteY16-5646" fmla="*/ 1081669 h 1360449"/>
              <a:gd name="connsiteX17-5647" fmla="*/ 144966 w 2252546"/>
              <a:gd name="connsiteY17-5648" fmla="*/ 1103971 h 1360449"/>
              <a:gd name="connsiteX18-5649" fmla="*/ 156117 w 2252546"/>
              <a:gd name="connsiteY18-5650" fmla="*/ 1014761 h 1360449"/>
              <a:gd name="connsiteX19-5651" fmla="*/ 267629 w 2252546"/>
              <a:gd name="connsiteY19-5652" fmla="*/ 1037064 h 1360449"/>
              <a:gd name="connsiteX20-5653" fmla="*/ 401444 w 2252546"/>
              <a:gd name="connsiteY20-5654" fmla="*/ 1003610 h 1360449"/>
              <a:gd name="connsiteX21-5655" fmla="*/ 479502 w 2252546"/>
              <a:gd name="connsiteY21-5656" fmla="*/ 1182030 h 1360449"/>
              <a:gd name="connsiteX22-5657" fmla="*/ 479502 w 2252546"/>
              <a:gd name="connsiteY22-5658" fmla="*/ 1315844 h 1360449"/>
              <a:gd name="connsiteX23-5659" fmla="*/ 669073 w 2252546"/>
              <a:gd name="connsiteY23-5660" fmla="*/ 1338147 h 1360449"/>
              <a:gd name="connsiteX24-5661" fmla="*/ 713678 w 2252546"/>
              <a:gd name="connsiteY24-5662" fmla="*/ 1360449 h 1360449"/>
              <a:gd name="connsiteX25-5663" fmla="*/ 970156 w 2252546"/>
              <a:gd name="connsiteY25-5664" fmla="*/ 1103971 h 1360449"/>
              <a:gd name="connsiteX26-5665" fmla="*/ 1315844 w 2252546"/>
              <a:gd name="connsiteY26-5666" fmla="*/ 992459 h 1360449"/>
              <a:gd name="connsiteX27-5667" fmla="*/ 1405054 w 2252546"/>
              <a:gd name="connsiteY27-5668" fmla="*/ 858644 h 1360449"/>
              <a:gd name="connsiteX28-5669" fmla="*/ 1326995 w 2252546"/>
              <a:gd name="connsiteY28-5670" fmla="*/ 802888 h 1360449"/>
              <a:gd name="connsiteX29-5671" fmla="*/ 1371600 w 2252546"/>
              <a:gd name="connsiteY29-5672" fmla="*/ 702527 h 1360449"/>
              <a:gd name="connsiteX30-5673" fmla="*/ 1650380 w 2252546"/>
              <a:gd name="connsiteY30-5674" fmla="*/ 602166 h 1360449"/>
              <a:gd name="connsiteX31-5675" fmla="*/ 1650380 w 2252546"/>
              <a:gd name="connsiteY31-5676" fmla="*/ 546410 h 1360449"/>
              <a:gd name="connsiteX32-5677" fmla="*/ 1806497 w 2252546"/>
              <a:gd name="connsiteY32-5678" fmla="*/ 512956 h 1360449"/>
              <a:gd name="connsiteX33-5679" fmla="*/ 1839951 w 2252546"/>
              <a:gd name="connsiteY33-5680" fmla="*/ 535259 h 1360449"/>
              <a:gd name="connsiteX34-5681" fmla="*/ 1929161 w 2252546"/>
              <a:gd name="connsiteY34-5682" fmla="*/ 501805 h 1360449"/>
              <a:gd name="connsiteX35-5683" fmla="*/ 2241395 w 2252546"/>
              <a:gd name="connsiteY35-5684" fmla="*/ 546410 h 1360449"/>
              <a:gd name="connsiteX36-5685" fmla="*/ 2174488 w 2252546"/>
              <a:gd name="connsiteY36-5686" fmla="*/ 434898 h 1360449"/>
              <a:gd name="connsiteX37-5687" fmla="*/ 2252546 w 2252546"/>
              <a:gd name="connsiteY37-5688" fmla="*/ 390293 h 1360449"/>
              <a:gd name="connsiteX38-5689" fmla="*/ 2062976 w 2252546"/>
              <a:gd name="connsiteY38-5690" fmla="*/ 267630 h 1360449"/>
              <a:gd name="connsiteX39-5691" fmla="*/ 2062976 w 2252546"/>
              <a:gd name="connsiteY39-5692" fmla="*/ 267630 h 1360449"/>
              <a:gd name="connsiteX40-5693" fmla="*/ 2085278 w 2252546"/>
              <a:gd name="connsiteY40-5694" fmla="*/ 245327 h 1360449"/>
              <a:gd name="connsiteX41-5695" fmla="*/ 2040673 w 2252546"/>
              <a:gd name="connsiteY41-5696" fmla="*/ 144966 h 1360449"/>
              <a:gd name="connsiteX42-5697" fmla="*/ 2029522 w 2252546"/>
              <a:gd name="connsiteY42-5698" fmla="*/ 33454 h 1360449"/>
              <a:gd name="connsiteX43-5699" fmla="*/ 1862254 w 2252546"/>
              <a:gd name="connsiteY43-5700" fmla="*/ 55756 h 1360449"/>
              <a:gd name="connsiteX44-5701" fmla="*/ 1661532 w 2252546"/>
              <a:gd name="connsiteY44-5702" fmla="*/ 33454 h 1360449"/>
              <a:gd name="connsiteX45-5703" fmla="*/ 1572322 w 2252546"/>
              <a:gd name="connsiteY45-5704" fmla="*/ 111512 h 1360449"/>
              <a:gd name="connsiteX46-5705" fmla="*/ 1449658 w 2252546"/>
              <a:gd name="connsiteY46-5706" fmla="*/ 111512 h 1360449"/>
              <a:gd name="connsiteX47-5707" fmla="*/ 1550019 w 2252546"/>
              <a:gd name="connsiteY47-5708" fmla="*/ 0 h 1360449"/>
              <a:gd name="connsiteX48-5709" fmla="*/ 1506189 w 2252546"/>
              <a:gd name="connsiteY48-5710" fmla="*/ 330244 h 1360449"/>
              <a:gd name="connsiteX49-5711" fmla="*/ 1433671 w 2252546"/>
              <a:gd name="connsiteY49-5712" fmla="*/ 267646 h 1360449"/>
              <a:gd name="connsiteX50-5713" fmla="*/ 1324400 w 2252546"/>
              <a:gd name="connsiteY50-5714" fmla="*/ 330658 h 1360449"/>
              <a:gd name="connsiteX51-5715" fmla="*/ 1324339 w 2252546"/>
              <a:gd name="connsiteY51-5716" fmla="*/ 455594 h 1360449"/>
              <a:gd name="connsiteX52-5717" fmla="*/ 1311312 w 2252546"/>
              <a:gd name="connsiteY52-5718" fmla="*/ 443025 h 1360449"/>
              <a:gd name="connsiteX53-5719" fmla="*/ 1240170 w 2252546"/>
              <a:gd name="connsiteY53-5720" fmla="*/ 423882 h 1360449"/>
              <a:gd name="connsiteX54-5721" fmla="*/ 1181596 w 2252546"/>
              <a:gd name="connsiteY54-5722" fmla="*/ 365111 h 1360449"/>
              <a:gd name="connsiteX55-5723" fmla="*/ 890352 w 2252546"/>
              <a:gd name="connsiteY55-5724" fmla="*/ 365111 h 1360449"/>
              <a:gd name="connsiteX56-5725" fmla="*/ 858705 w 2252546"/>
              <a:gd name="connsiteY56-5726" fmla="*/ 444423 h 1360449"/>
              <a:gd name="connsiteX57-5727" fmla="*/ 784495 w 2252546"/>
              <a:gd name="connsiteY57-5728" fmla="*/ 500933 h 1360449"/>
              <a:gd name="connsiteX58-5729" fmla="*/ 781088 w 2252546"/>
              <a:gd name="connsiteY58-5730" fmla="*/ 492559 h 1360449"/>
              <a:gd name="connsiteX59-5731" fmla="*/ 723189 w 2252546"/>
              <a:gd name="connsiteY59-5732" fmla="*/ 437149 h 1360449"/>
              <a:gd name="connsiteX0-5733" fmla="*/ 412595 w 2252546"/>
              <a:gd name="connsiteY0-5734" fmla="*/ 100361 h 1360449"/>
              <a:gd name="connsiteX1-5735" fmla="*/ 490654 w 2252546"/>
              <a:gd name="connsiteY1-5736" fmla="*/ 223025 h 1360449"/>
              <a:gd name="connsiteX2-5737" fmla="*/ 591015 w 2252546"/>
              <a:gd name="connsiteY2-5738" fmla="*/ 323386 h 1360449"/>
              <a:gd name="connsiteX3-5739" fmla="*/ 446049 w 2252546"/>
              <a:gd name="connsiteY3-5740" fmla="*/ 323386 h 1360449"/>
              <a:gd name="connsiteX4-5741" fmla="*/ 580147 w 2252546"/>
              <a:gd name="connsiteY4-5742" fmla="*/ 456359 h 1360449"/>
              <a:gd name="connsiteX5-5743" fmla="*/ 567211 w 2252546"/>
              <a:gd name="connsiteY5-5744" fmla="*/ 750845 h 1360449"/>
              <a:gd name="connsiteX6-5745" fmla="*/ 424915 w 2252546"/>
              <a:gd name="connsiteY6-5746" fmla="*/ 450390 h 1360449"/>
              <a:gd name="connsiteX7-5747" fmla="*/ 234176 w 2252546"/>
              <a:gd name="connsiteY7-5748" fmla="*/ 390293 h 1360449"/>
              <a:gd name="connsiteX8-5749" fmla="*/ 234176 w 2252546"/>
              <a:gd name="connsiteY8-5750" fmla="*/ 468351 h 1360449"/>
              <a:gd name="connsiteX9-5751" fmla="*/ 256478 w 2252546"/>
              <a:gd name="connsiteY9-5752" fmla="*/ 579864 h 1360449"/>
              <a:gd name="connsiteX10-5753" fmla="*/ 178419 w 2252546"/>
              <a:gd name="connsiteY10-5754" fmla="*/ 657922 h 1360449"/>
              <a:gd name="connsiteX11-5755" fmla="*/ 189571 w 2252546"/>
              <a:gd name="connsiteY11-5756" fmla="*/ 724830 h 1360449"/>
              <a:gd name="connsiteX12-5757" fmla="*/ 78058 w 2252546"/>
              <a:gd name="connsiteY12-5758" fmla="*/ 758283 h 1360449"/>
              <a:gd name="connsiteX13-5759" fmla="*/ 0 w 2252546"/>
              <a:gd name="connsiteY13-5760" fmla="*/ 836342 h 1360449"/>
              <a:gd name="connsiteX14-5761" fmla="*/ 100361 w 2252546"/>
              <a:gd name="connsiteY14-5762" fmla="*/ 981308 h 1360449"/>
              <a:gd name="connsiteX15-5763" fmla="*/ 89210 w 2252546"/>
              <a:gd name="connsiteY15-5764" fmla="*/ 1081669 h 1360449"/>
              <a:gd name="connsiteX16-5765" fmla="*/ 144966 w 2252546"/>
              <a:gd name="connsiteY16-5766" fmla="*/ 1103971 h 1360449"/>
              <a:gd name="connsiteX17-5767" fmla="*/ 156117 w 2252546"/>
              <a:gd name="connsiteY17-5768" fmla="*/ 1014761 h 1360449"/>
              <a:gd name="connsiteX18-5769" fmla="*/ 267629 w 2252546"/>
              <a:gd name="connsiteY18-5770" fmla="*/ 1037064 h 1360449"/>
              <a:gd name="connsiteX19-5771" fmla="*/ 401444 w 2252546"/>
              <a:gd name="connsiteY19-5772" fmla="*/ 1003610 h 1360449"/>
              <a:gd name="connsiteX20-5773" fmla="*/ 479502 w 2252546"/>
              <a:gd name="connsiteY20-5774" fmla="*/ 1182030 h 1360449"/>
              <a:gd name="connsiteX21-5775" fmla="*/ 479502 w 2252546"/>
              <a:gd name="connsiteY21-5776" fmla="*/ 1315844 h 1360449"/>
              <a:gd name="connsiteX22-5777" fmla="*/ 669073 w 2252546"/>
              <a:gd name="connsiteY22-5778" fmla="*/ 1338147 h 1360449"/>
              <a:gd name="connsiteX23-5779" fmla="*/ 713678 w 2252546"/>
              <a:gd name="connsiteY23-5780" fmla="*/ 1360449 h 1360449"/>
              <a:gd name="connsiteX24-5781" fmla="*/ 970156 w 2252546"/>
              <a:gd name="connsiteY24-5782" fmla="*/ 1103971 h 1360449"/>
              <a:gd name="connsiteX25-5783" fmla="*/ 1315844 w 2252546"/>
              <a:gd name="connsiteY25-5784" fmla="*/ 992459 h 1360449"/>
              <a:gd name="connsiteX26-5785" fmla="*/ 1405054 w 2252546"/>
              <a:gd name="connsiteY26-5786" fmla="*/ 858644 h 1360449"/>
              <a:gd name="connsiteX27-5787" fmla="*/ 1326995 w 2252546"/>
              <a:gd name="connsiteY27-5788" fmla="*/ 802888 h 1360449"/>
              <a:gd name="connsiteX28-5789" fmla="*/ 1371600 w 2252546"/>
              <a:gd name="connsiteY28-5790" fmla="*/ 702527 h 1360449"/>
              <a:gd name="connsiteX29-5791" fmla="*/ 1650380 w 2252546"/>
              <a:gd name="connsiteY29-5792" fmla="*/ 602166 h 1360449"/>
              <a:gd name="connsiteX30-5793" fmla="*/ 1650380 w 2252546"/>
              <a:gd name="connsiteY30-5794" fmla="*/ 546410 h 1360449"/>
              <a:gd name="connsiteX31-5795" fmla="*/ 1806497 w 2252546"/>
              <a:gd name="connsiteY31-5796" fmla="*/ 512956 h 1360449"/>
              <a:gd name="connsiteX32-5797" fmla="*/ 1839951 w 2252546"/>
              <a:gd name="connsiteY32-5798" fmla="*/ 535259 h 1360449"/>
              <a:gd name="connsiteX33-5799" fmla="*/ 1929161 w 2252546"/>
              <a:gd name="connsiteY33-5800" fmla="*/ 501805 h 1360449"/>
              <a:gd name="connsiteX34-5801" fmla="*/ 2241395 w 2252546"/>
              <a:gd name="connsiteY34-5802" fmla="*/ 546410 h 1360449"/>
              <a:gd name="connsiteX35-5803" fmla="*/ 2174488 w 2252546"/>
              <a:gd name="connsiteY35-5804" fmla="*/ 434898 h 1360449"/>
              <a:gd name="connsiteX36-5805" fmla="*/ 2252546 w 2252546"/>
              <a:gd name="connsiteY36-5806" fmla="*/ 390293 h 1360449"/>
              <a:gd name="connsiteX37-5807" fmla="*/ 2062976 w 2252546"/>
              <a:gd name="connsiteY37-5808" fmla="*/ 267630 h 1360449"/>
              <a:gd name="connsiteX38-5809" fmla="*/ 2062976 w 2252546"/>
              <a:gd name="connsiteY38-5810" fmla="*/ 267630 h 1360449"/>
              <a:gd name="connsiteX39-5811" fmla="*/ 2085278 w 2252546"/>
              <a:gd name="connsiteY39-5812" fmla="*/ 245327 h 1360449"/>
              <a:gd name="connsiteX40-5813" fmla="*/ 2040673 w 2252546"/>
              <a:gd name="connsiteY40-5814" fmla="*/ 144966 h 1360449"/>
              <a:gd name="connsiteX41-5815" fmla="*/ 2029522 w 2252546"/>
              <a:gd name="connsiteY41-5816" fmla="*/ 33454 h 1360449"/>
              <a:gd name="connsiteX42-5817" fmla="*/ 1862254 w 2252546"/>
              <a:gd name="connsiteY42-5818" fmla="*/ 55756 h 1360449"/>
              <a:gd name="connsiteX43-5819" fmla="*/ 1661532 w 2252546"/>
              <a:gd name="connsiteY43-5820" fmla="*/ 33454 h 1360449"/>
              <a:gd name="connsiteX44-5821" fmla="*/ 1572322 w 2252546"/>
              <a:gd name="connsiteY44-5822" fmla="*/ 111512 h 1360449"/>
              <a:gd name="connsiteX45-5823" fmla="*/ 1449658 w 2252546"/>
              <a:gd name="connsiteY45-5824" fmla="*/ 111512 h 1360449"/>
              <a:gd name="connsiteX46-5825" fmla="*/ 1550019 w 2252546"/>
              <a:gd name="connsiteY46-5826" fmla="*/ 0 h 1360449"/>
              <a:gd name="connsiteX47-5827" fmla="*/ 1506189 w 2252546"/>
              <a:gd name="connsiteY47-5828" fmla="*/ 330244 h 1360449"/>
              <a:gd name="connsiteX48-5829" fmla="*/ 1433671 w 2252546"/>
              <a:gd name="connsiteY48-5830" fmla="*/ 267646 h 1360449"/>
              <a:gd name="connsiteX49-5831" fmla="*/ 1324400 w 2252546"/>
              <a:gd name="connsiteY49-5832" fmla="*/ 330658 h 1360449"/>
              <a:gd name="connsiteX50-5833" fmla="*/ 1324339 w 2252546"/>
              <a:gd name="connsiteY50-5834" fmla="*/ 455594 h 1360449"/>
              <a:gd name="connsiteX51-5835" fmla="*/ 1311312 w 2252546"/>
              <a:gd name="connsiteY51-5836" fmla="*/ 443025 h 1360449"/>
              <a:gd name="connsiteX52-5837" fmla="*/ 1240170 w 2252546"/>
              <a:gd name="connsiteY52-5838" fmla="*/ 423882 h 1360449"/>
              <a:gd name="connsiteX53-5839" fmla="*/ 1181596 w 2252546"/>
              <a:gd name="connsiteY53-5840" fmla="*/ 365111 h 1360449"/>
              <a:gd name="connsiteX54-5841" fmla="*/ 890352 w 2252546"/>
              <a:gd name="connsiteY54-5842" fmla="*/ 365111 h 1360449"/>
              <a:gd name="connsiteX55-5843" fmla="*/ 858705 w 2252546"/>
              <a:gd name="connsiteY55-5844" fmla="*/ 444423 h 1360449"/>
              <a:gd name="connsiteX56-5845" fmla="*/ 784495 w 2252546"/>
              <a:gd name="connsiteY56-5846" fmla="*/ 500933 h 1360449"/>
              <a:gd name="connsiteX57-5847" fmla="*/ 781088 w 2252546"/>
              <a:gd name="connsiteY57-5848" fmla="*/ 492559 h 1360449"/>
              <a:gd name="connsiteX58-5849" fmla="*/ 723189 w 2252546"/>
              <a:gd name="connsiteY58-5850" fmla="*/ 437149 h 1360449"/>
              <a:gd name="connsiteX0-5851" fmla="*/ 412595 w 2252546"/>
              <a:gd name="connsiteY0-5852" fmla="*/ 100361 h 1360449"/>
              <a:gd name="connsiteX1-5853" fmla="*/ 490654 w 2252546"/>
              <a:gd name="connsiteY1-5854" fmla="*/ 223025 h 1360449"/>
              <a:gd name="connsiteX2-5855" fmla="*/ 591015 w 2252546"/>
              <a:gd name="connsiteY2-5856" fmla="*/ 323386 h 1360449"/>
              <a:gd name="connsiteX3-5857" fmla="*/ 446049 w 2252546"/>
              <a:gd name="connsiteY3-5858" fmla="*/ 323386 h 1360449"/>
              <a:gd name="connsiteX4-5859" fmla="*/ 580147 w 2252546"/>
              <a:gd name="connsiteY4-5860" fmla="*/ 456359 h 1360449"/>
              <a:gd name="connsiteX5-5861" fmla="*/ 567212 w 2252546"/>
              <a:gd name="connsiteY5-5862" fmla="*/ 375955 h 1360449"/>
              <a:gd name="connsiteX6-5863" fmla="*/ 424915 w 2252546"/>
              <a:gd name="connsiteY6-5864" fmla="*/ 450390 h 1360449"/>
              <a:gd name="connsiteX7-5865" fmla="*/ 234176 w 2252546"/>
              <a:gd name="connsiteY7-5866" fmla="*/ 390293 h 1360449"/>
              <a:gd name="connsiteX8-5867" fmla="*/ 234176 w 2252546"/>
              <a:gd name="connsiteY8-5868" fmla="*/ 468351 h 1360449"/>
              <a:gd name="connsiteX9-5869" fmla="*/ 256478 w 2252546"/>
              <a:gd name="connsiteY9-5870" fmla="*/ 579864 h 1360449"/>
              <a:gd name="connsiteX10-5871" fmla="*/ 178419 w 2252546"/>
              <a:gd name="connsiteY10-5872" fmla="*/ 657922 h 1360449"/>
              <a:gd name="connsiteX11-5873" fmla="*/ 189571 w 2252546"/>
              <a:gd name="connsiteY11-5874" fmla="*/ 724830 h 1360449"/>
              <a:gd name="connsiteX12-5875" fmla="*/ 78058 w 2252546"/>
              <a:gd name="connsiteY12-5876" fmla="*/ 758283 h 1360449"/>
              <a:gd name="connsiteX13-5877" fmla="*/ 0 w 2252546"/>
              <a:gd name="connsiteY13-5878" fmla="*/ 836342 h 1360449"/>
              <a:gd name="connsiteX14-5879" fmla="*/ 100361 w 2252546"/>
              <a:gd name="connsiteY14-5880" fmla="*/ 981308 h 1360449"/>
              <a:gd name="connsiteX15-5881" fmla="*/ 89210 w 2252546"/>
              <a:gd name="connsiteY15-5882" fmla="*/ 1081669 h 1360449"/>
              <a:gd name="connsiteX16-5883" fmla="*/ 144966 w 2252546"/>
              <a:gd name="connsiteY16-5884" fmla="*/ 1103971 h 1360449"/>
              <a:gd name="connsiteX17-5885" fmla="*/ 156117 w 2252546"/>
              <a:gd name="connsiteY17-5886" fmla="*/ 1014761 h 1360449"/>
              <a:gd name="connsiteX18-5887" fmla="*/ 267629 w 2252546"/>
              <a:gd name="connsiteY18-5888" fmla="*/ 1037064 h 1360449"/>
              <a:gd name="connsiteX19-5889" fmla="*/ 401444 w 2252546"/>
              <a:gd name="connsiteY19-5890" fmla="*/ 1003610 h 1360449"/>
              <a:gd name="connsiteX20-5891" fmla="*/ 479502 w 2252546"/>
              <a:gd name="connsiteY20-5892" fmla="*/ 1182030 h 1360449"/>
              <a:gd name="connsiteX21-5893" fmla="*/ 479502 w 2252546"/>
              <a:gd name="connsiteY21-5894" fmla="*/ 1315844 h 1360449"/>
              <a:gd name="connsiteX22-5895" fmla="*/ 669073 w 2252546"/>
              <a:gd name="connsiteY22-5896" fmla="*/ 1338147 h 1360449"/>
              <a:gd name="connsiteX23-5897" fmla="*/ 713678 w 2252546"/>
              <a:gd name="connsiteY23-5898" fmla="*/ 1360449 h 1360449"/>
              <a:gd name="connsiteX24-5899" fmla="*/ 970156 w 2252546"/>
              <a:gd name="connsiteY24-5900" fmla="*/ 1103971 h 1360449"/>
              <a:gd name="connsiteX25-5901" fmla="*/ 1315844 w 2252546"/>
              <a:gd name="connsiteY25-5902" fmla="*/ 992459 h 1360449"/>
              <a:gd name="connsiteX26-5903" fmla="*/ 1405054 w 2252546"/>
              <a:gd name="connsiteY26-5904" fmla="*/ 858644 h 1360449"/>
              <a:gd name="connsiteX27-5905" fmla="*/ 1326995 w 2252546"/>
              <a:gd name="connsiteY27-5906" fmla="*/ 802888 h 1360449"/>
              <a:gd name="connsiteX28-5907" fmla="*/ 1371600 w 2252546"/>
              <a:gd name="connsiteY28-5908" fmla="*/ 702527 h 1360449"/>
              <a:gd name="connsiteX29-5909" fmla="*/ 1650380 w 2252546"/>
              <a:gd name="connsiteY29-5910" fmla="*/ 602166 h 1360449"/>
              <a:gd name="connsiteX30-5911" fmla="*/ 1650380 w 2252546"/>
              <a:gd name="connsiteY30-5912" fmla="*/ 546410 h 1360449"/>
              <a:gd name="connsiteX31-5913" fmla="*/ 1806497 w 2252546"/>
              <a:gd name="connsiteY31-5914" fmla="*/ 512956 h 1360449"/>
              <a:gd name="connsiteX32-5915" fmla="*/ 1839951 w 2252546"/>
              <a:gd name="connsiteY32-5916" fmla="*/ 535259 h 1360449"/>
              <a:gd name="connsiteX33-5917" fmla="*/ 1929161 w 2252546"/>
              <a:gd name="connsiteY33-5918" fmla="*/ 501805 h 1360449"/>
              <a:gd name="connsiteX34-5919" fmla="*/ 2241395 w 2252546"/>
              <a:gd name="connsiteY34-5920" fmla="*/ 546410 h 1360449"/>
              <a:gd name="connsiteX35-5921" fmla="*/ 2174488 w 2252546"/>
              <a:gd name="connsiteY35-5922" fmla="*/ 434898 h 1360449"/>
              <a:gd name="connsiteX36-5923" fmla="*/ 2252546 w 2252546"/>
              <a:gd name="connsiteY36-5924" fmla="*/ 390293 h 1360449"/>
              <a:gd name="connsiteX37-5925" fmla="*/ 2062976 w 2252546"/>
              <a:gd name="connsiteY37-5926" fmla="*/ 267630 h 1360449"/>
              <a:gd name="connsiteX38-5927" fmla="*/ 2062976 w 2252546"/>
              <a:gd name="connsiteY38-5928" fmla="*/ 267630 h 1360449"/>
              <a:gd name="connsiteX39-5929" fmla="*/ 2085278 w 2252546"/>
              <a:gd name="connsiteY39-5930" fmla="*/ 245327 h 1360449"/>
              <a:gd name="connsiteX40-5931" fmla="*/ 2040673 w 2252546"/>
              <a:gd name="connsiteY40-5932" fmla="*/ 144966 h 1360449"/>
              <a:gd name="connsiteX41-5933" fmla="*/ 2029522 w 2252546"/>
              <a:gd name="connsiteY41-5934" fmla="*/ 33454 h 1360449"/>
              <a:gd name="connsiteX42-5935" fmla="*/ 1862254 w 2252546"/>
              <a:gd name="connsiteY42-5936" fmla="*/ 55756 h 1360449"/>
              <a:gd name="connsiteX43-5937" fmla="*/ 1661532 w 2252546"/>
              <a:gd name="connsiteY43-5938" fmla="*/ 33454 h 1360449"/>
              <a:gd name="connsiteX44-5939" fmla="*/ 1572322 w 2252546"/>
              <a:gd name="connsiteY44-5940" fmla="*/ 111512 h 1360449"/>
              <a:gd name="connsiteX45-5941" fmla="*/ 1449658 w 2252546"/>
              <a:gd name="connsiteY45-5942" fmla="*/ 111512 h 1360449"/>
              <a:gd name="connsiteX46-5943" fmla="*/ 1550019 w 2252546"/>
              <a:gd name="connsiteY46-5944" fmla="*/ 0 h 1360449"/>
              <a:gd name="connsiteX47-5945" fmla="*/ 1506189 w 2252546"/>
              <a:gd name="connsiteY47-5946" fmla="*/ 330244 h 1360449"/>
              <a:gd name="connsiteX48-5947" fmla="*/ 1433671 w 2252546"/>
              <a:gd name="connsiteY48-5948" fmla="*/ 267646 h 1360449"/>
              <a:gd name="connsiteX49-5949" fmla="*/ 1324400 w 2252546"/>
              <a:gd name="connsiteY49-5950" fmla="*/ 330658 h 1360449"/>
              <a:gd name="connsiteX50-5951" fmla="*/ 1324339 w 2252546"/>
              <a:gd name="connsiteY50-5952" fmla="*/ 455594 h 1360449"/>
              <a:gd name="connsiteX51-5953" fmla="*/ 1311312 w 2252546"/>
              <a:gd name="connsiteY51-5954" fmla="*/ 443025 h 1360449"/>
              <a:gd name="connsiteX52-5955" fmla="*/ 1240170 w 2252546"/>
              <a:gd name="connsiteY52-5956" fmla="*/ 423882 h 1360449"/>
              <a:gd name="connsiteX53-5957" fmla="*/ 1181596 w 2252546"/>
              <a:gd name="connsiteY53-5958" fmla="*/ 365111 h 1360449"/>
              <a:gd name="connsiteX54-5959" fmla="*/ 890352 w 2252546"/>
              <a:gd name="connsiteY54-5960" fmla="*/ 365111 h 1360449"/>
              <a:gd name="connsiteX55-5961" fmla="*/ 858705 w 2252546"/>
              <a:gd name="connsiteY55-5962" fmla="*/ 444423 h 1360449"/>
              <a:gd name="connsiteX56-5963" fmla="*/ 784495 w 2252546"/>
              <a:gd name="connsiteY56-5964" fmla="*/ 500933 h 1360449"/>
              <a:gd name="connsiteX57-5965" fmla="*/ 781088 w 2252546"/>
              <a:gd name="connsiteY57-5966" fmla="*/ 492559 h 1360449"/>
              <a:gd name="connsiteX58-5967" fmla="*/ 723189 w 2252546"/>
              <a:gd name="connsiteY58-5968" fmla="*/ 437149 h 1360449"/>
              <a:gd name="connsiteX0-5969" fmla="*/ 490654 w 2252546"/>
              <a:gd name="connsiteY0-5970" fmla="*/ 223025 h 1360449"/>
              <a:gd name="connsiteX1-5971" fmla="*/ 591015 w 2252546"/>
              <a:gd name="connsiteY1-5972" fmla="*/ 323386 h 1360449"/>
              <a:gd name="connsiteX2-5973" fmla="*/ 446049 w 2252546"/>
              <a:gd name="connsiteY2-5974" fmla="*/ 323386 h 1360449"/>
              <a:gd name="connsiteX3-5975" fmla="*/ 580147 w 2252546"/>
              <a:gd name="connsiteY3-5976" fmla="*/ 456359 h 1360449"/>
              <a:gd name="connsiteX4-5977" fmla="*/ 567212 w 2252546"/>
              <a:gd name="connsiteY4-5978" fmla="*/ 375955 h 1360449"/>
              <a:gd name="connsiteX5-5979" fmla="*/ 424915 w 2252546"/>
              <a:gd name="connsiteY5-5980" fmla="*/ 450390 h 1360449"/>
              <a:gd name="connsiteX6-5981" fmla="*/ 234176 w 2252546"/>
              <a:gd name="connsiteY6-5982" fmla="*/ 390293 h 1360449"/>
              <a:gd name="connsiteX7-5983" fmla="*/ 234176 w 2252546"/>
              <a:gd name="connsiteY7-5984" fmla="*/ 468351 h 1360449"/>
              <a:gd name="connsiteX8-5985" fmla="*/ 256478 w 2252546"/>
              <a:gd name="connsiteY8-5986" fmla="*/ 579864 h 1360449"/>
              <a:gd name="connsiteX9-5987" fmla="*/ 178419 w 2252546"/>
              <a:gd name="connsiteY9-5988" fmla="*/ 657922 h 1360449"/>
              <a:gd name="connsiteX10-5989" fmla="*/ 189571 w 2252546"/>
              <a:gd name="connsiteY10-5990" fmla="*/ 724830 h 1360449"/>
              <a:gd name="connsiteX11-5991" fmla="*/ 78058 w 2252546"/>
              <a:gd name="connsiteY11-5992" fmla="*/ 758283 h 1360449"/>
              <a:gd name="connsiteX12-5993" fmla="*/ 0 w 2252546"/>
              <a:gd name="connsiteY12-5994" fmla="*/ 836342 h 1360449"/>
              <a:gd name="connsiteX13-5995" fmla="*/ 100361 w 2252546"/>
              <a:gd name="connsiteY13-5996" fmla="*/ 981308 h 1360449"/>
              <a:gd name="connsiteX14-5997" fmla="*/ 89210 w 2252546"/>
              <a:gd name="connsiteY14-5998" fmla="*/ 1081669 h 1360449"/>
              <a:gd name="connsiteX15-5999" fmla="*/ 144966 w 2252546"/>
              <a:gd name="connsiteY15-6000" fmla="*/ 1103971 h 1360449"/>
              <a:gd name="connsiteX16-6001" fmla="*/ 156117 w 2252546"/>
              <a:gd name="connsiteY16-6002" fmla="*/ 1014761 h 1360449"/>
              <a:gd name="connsiteX17-6003" fmla="*/ 267629 w 2252546"/>
              <a:gd name="connsiteY17-6004" fmla="*/ 1037064 h 1360449"/>
              <a:gd name="connsiteX18-6005" fmla="*/ 401444 w 2252546"/>
              <a:gd name="connsiteY18-6006" fmla="*/ 1003610 h 1360449"/>
              <a:gd name="connsiteX19-6007" fmla="*/ 479502 w 2252546"/>
              <a:gd name="connsiteY19-6008" fmla="*/ 1182030 h 1360449"/>
              <a:gd name="connsiteX20-6009" fmla="*/ 479502 w 2252546"/>
              <a:gd name="connsiteY20-6010" fmla="*/ 1315844 h 1360449"/>
              <a:gd name="connsiteX21-6011" fmla="*/ 669073 w 2252546"/>
              <a:gd name="connsiteY21-6012" fmla="*/ 1338147 h 1360449"/>
              <a:gd name="connsiteX22-6013" fmla="*/ 713678 w 2252546"/>
              <a:gd name="connsiteY22-6014" fmla="*/ 1360449 h 1360449"/>
              <a:gd name="connsiteX23-6015" fmla="*/ 970156 w 2252546"/>
              <a:gd name="connsiteY23-6016" fmla="*/ 1103971 h 1360449"/>
              <a:gd name="connsiteX24-6017" fmla="*/ 1315844 w 2252546"/>
              <a:gd name="connsiteY24-6018" fmla="*/ 992459 h 1360449"/>
              <a:gd name="connsiteX25-6019" fmla="*/ 1405054 w 2252546"/>
              <a:gd name="connsiteY25-6020" fmla="*/ 858644 h 1360449"/>
              <a:gd name="connsiteX26-6021" fmla="*/ 1326995 w 2252546"/>
              <a:gd name="connsiteY26-6022" fmla="*/ 802888 h 1360449"/>
              <a:gd name="connsiteX27-6023" fmla="*/ 1371600 w 2252546"/>
              <a:gd name="connsiteY27-6024" fmla="*/ 702527 h 1360449"/>
              <a:gd name="connsiteX28-6025" fmla="*/ 1650380 w 2252546"/>
              <a:gd name="connsiteY28-6026" fmla="*/ 602166 h 1360449"/>
              <a:gd name="connsiteX29-6027" fmla="*/ 1650380 w 2252546"/>
              <a:gd name="connsiteY29-6028" fmla="*/ 546410 h 1360449"/>
              <a:gd name="connsiteX30-6029" fmla="*/ 1806497 w 2252546"/>
              <a:gd name="connsiteY30-6030" fmla="*/ 512956 h 1360449"/>
              <a:gd name="connsiteX31-6031" fmla="*/ 1839951 w 2252546"/>
              <a:gd name="connsiteY31-6032" fmla="*/ 535259 h 1360449"/>
              <a:gd name="connsiteX32-6033" fmla="*/ 1929161 w 2252546"/>
              <a:gd name="connsiteY32-6034" fmla="*/ 501805 h 1360449"/>
              <a:gd name="connsiteX33-6035" fmla="*/ 2241395 w 2252546"/>
              <a:gd name="connsiteY33-6036" fmla="*/ 546410 h 1360449"/>
              <a:gd name="connsiteX34-6037" fmla="*/ 2174488 w 2252546"/>
              <a:gd name="connsiteY34-6038" fmla="*/ 434898 h 1360449"/>
              <a:gd name="connsiteX35-6039" fmla="*/ 2252546 w 2252546"/>
              <a:gd name="connsiteY35-6040" fmla="*/ 390293 h 1360449"/>
              <a:gd name="connsiteX36-6041" fmla="*/ 2062976 w 2252546"/>
              <a:gd name="connsiteY36-6042" fmla="*/ 267630 h 1360449"/>
              <a:gd name="connsiteX37-6043" fmla="*/ 2062976 w 2252546"/>
              <a:gd name="connsiteY37-6044" fmla="*/ 267630 h 1360449"/>
              <a:gd name="connsiteX38-6045" fmla="*/ 2085278 w 2252546"/>
              <a:gd name="connsiteY38-6046" fmla="*/ 245327 h 1360449"/>
              <a:gd name="connsiteX39-6047" fmla="*/ 2040673 w 2252546"/>
              <a:gd name="connsiteY39-6048" fmla="*/ 144966 h 1360449"/>
              <a:gd name="connsiteX40-6049" fmla="*/ 2029522 w 2252546"/>
              <a:gd name="connsiteY40-6050" fmla="*/ 33454 h 1360449"/>
              <a:gd name="connsiteX41-6051" fmla="*/ 1862254 w 2252546"/>
              <a:gd name="connsiteY41-6052" fmla="*/ 55756 h 1360449"/>
              <a:gd name="connsiteX42-6053" fmla="*/ 1661532 w 2252546"/>
              <a:gd name="connsiteY42-6054" fmla="*/ 33454 h 1360449"/>
              <a:gd name="connsiteX43-6055" fmla="*/ 1572322 w 2252546"/>
              <a:gd name="connsiteY43-6056" fmla="*/ 111512 h 1360449"/>
              <a:gd name="connsiteX44-6057" fmla="*/ 1449658 w 2252546"/>
              <a:gd name="connsiteY44-6058" fmla="*/ 111512 h 1360449"/>
              <a:gd name="connsiteX45-6059" fmla="*/ 1550019 w 2252546"/>
              <a:gd name="connsiteY45-6060" fmla="*/ 0 h 1360449"/>
              <a:gd name="connsiteX46-6061" fmla="*/ 1506189 w 2252546"/>
              <a:gd name="connsiteY46-6062" fmla="*/ 330244 h 1360449"/>
              <a:gd name="connsiteX47-6063" fmla="*/ 1433671 w 2252546"/>
              <a:gd name="connsiteY47-6064" fmla="*/ 267646 h 1360449"/>
              <a:gd name="connsiteX48-6065" fmla="*/ 1324400 w 2252546"/>
              <a:gd name="connsiteY48-6066" fmla="*/ 330658 h 1360449"/>
              <a:gd name="connsiteX49-6067" fmla="*/ 1324339 w 2252546"/>
              <a:gd name="connsiteY49-6068" fmla="*/ 455594 h 1360449"/>
              <a:gd name="connsiteX50-6069" fmla="*/ 1311312 w 2252546"/>
              <a:gd name="connsiteY50-6070" fmla="*/ 443025 h 1360449"/>
              <a:gd name="connsiteX51-6071" fmla="*/ 1240170 w 2252546"/>
              <a:gd name="connsiteY51-6072" fmla="*/ 423882 h 1360449"/>
              <a:gd name="connsiteX52-6073" fmla="*/ 1181596 w 2252546"/>
              <a:gd name="connsiteY52-6074" fmla="*/ 365111 h 1360449"/>
              <a:gd name="connsiteX53-6075" fmla="*/ 890352 w 2252546"/>
              <a:gd name="connsiteY53-6076" fmla="*/ 365111 h 1360449"/>
              <a:gd name="connsiteX54-6077" fmla="*/ 858705 w 2252546"/>
              <a:gd name="connsiteY54-6078" fmla="*/ 444423 h 1360449"/>
              <a:gd name="connsiteX55-6079" fmla="*/ 784495 w 2252546"/>
              <a:gd name="connsiteY55-6080" fmla="*/ 500933 h 1360449"/>
              <a:gd name="connsiteX56-6081" fmla="*/ 781088 w 2252546"/>
              <a:gd name="connsiteY56-6082" fmla="*/ 492559 h 1360449"/>
              <a:gd name="connsiteX57-6083" fmla="*/ 723189 w 2252546"/>
              <a:gd name="connsiteY57-6084" fmla="*/ 437149 h 1360449"/>
              <a:gd name="connsiteX0-6085" fmla="*/ 591015 w 2252546"/>
              <a:gd name="connsiteY0-6086" fmla="*/ 323386 h 1360449"/>
              <a:gd name="connsiteX1-6087" fmla="*/ 446049 w 2252546"/>
              <a:gd name="connsiteY1-6088" fmla="*/ 323386 h 1360449"/>
              <a:gd name="connsiteX2-6089" fmla="*/ 580147 w 2252546"/>
              <a:gd name="connsiteY2-6090" fmla="*/ 456359 h 1360449"/>
              <a:gd name="connsiteX3-6091" fmla="*/ 567212 w 2252546"/>
              <a:gd name="connsiteY3-6092" fmla="*/ 375955 h 1360449"/>
              <a:gd name="connsiteX4-6093" fmla="*/ 424915 w 2252546"/>
              <a:gd name="connsiteY4-6094" fmla="*/ 450390 h 1360449"/>
              <a:gd name="connsiteX5-6095" fmla="*/ 234176 w 2252546"/>
              <a:gd name="connsiteY5-6096" fmla="*/ 390293 h 1360449"/>
              <a:gd name="connsiteX6-6097" fmla="*/ 234176 w 2252546"/>
              <a:gd name="connsiteY6-6098" fmla="*/ 468351 h 1360449"/>
              <a:gd name="connsiteX7-6099" fmla="*/ 256478 w 2252546"/>
              <a:gd name="connsiteY7-6100" fmla="*/ 579864 h 1360449"/>
              <a:gd name="connsiteX8-6101" fmla="*/ 178419 w 2252546"/>
              <a:gd name="connsiteY8-6102" fmla="*/ 657922 h 1360449"/>
              <a:gd name="connsiteX9-6103" fmla="*/ 189571 w 2252546"/>
              <a:gd name="connsiteY9-6104" fmla="*/ 724830 h 1360449"/>
              <a:gd name="connsiteX10-6105" fmla="*/ 78058 w 2252546"/>
              <a:gd name="connsiteY10-6106" fmla="*/ 758283 h 1360449"/>
              <a:gd name="connsiteX11-6107" fmla="*/ 0 w 2252546"/>
              <a:gd name="connsiteY11-6108" fmla="*/ 836342 h 1360449"/>
              <a:gd name="connsiteX12-6109" fmla="*/ 100361 w 2252546"/>
              <a:gd name="connsiteY12-6110" fmla="*/ 981308 h 1360449"/>
              <a:gd name="connsiteX13-6111" fmla="*/ 89210 w 2252546"/>
              <a:gd name="connsiteY13-6112" fmla="*/ 1081669 h 1360449"/>
              <a:gd name="connsiteX14-6113" fmla="*/ 144966 w 2252546"/>
              <a:gd name="connsiteY14-6114" fmla="*/ 1103971 h 1360449"/>
              <a:gd name="connsiteX15-6115" fmla="*/ 156117 w 2252546"/>
              <a:gd name="connsiteY15-6116" fmla="*/ 1014761 h 1360449"/>
              <a:gd name="connsiteX16-6117" fmla="*/ 267629 w 2252546"/>
              <a:gd name="connsiteY16-6118" fmla="*/ 1037064 h 1360449"/>
              <a:gd name="connsiteX17-6119" fmla="*/ 401444 w 2252546"/>
              <a:gd name="connsiteY17-6120" fmla="*/ 1003610 h 1360449"/>
              <a:gd name="connsiteX18-6121" fmla="*/ 479502 w 2252546"/>
              <a:gd name="connsiteY18-6122" fmla="*/ 1182030 h 1360449"/>
              <a:gd name="connsiteX19-6123" fmla="*/ 479502 w 2252546"/>
              <a:gd name="connsiteY19-6124" fmla="*/ 1315844 h 1360449"/>
              <a:gd name="connsiteX20-6125" fmla="*/ 669073 w 2252546"/>
              <a:gd name="connsiteY20-6126" fmla="*/ 1338147 h 1360449"/>
              <a:gd name="connsiteX21-6127" fmla="*/ 713678 w 2252546"/>
              <a:gd name="connsiteY21-6128" fmla="*/ 1360449 h 1360449"/>
              <a:gd name="connsiteX22-6129" fmla="*/ 970156 w 2252546"/>
              <a:gd name="connsiteY22-6130" fmla="*/ 1103971 h 1360449"/>
              <a:gd name="connsiteX23-6131" fmla="*/ 1315844 w 2252546"/>
              <a:gd name="connsiteY23-6132" fmla="*/ 992459 h 1360449"/>
              <a:gd name="connsiteX24-6133" fmla="*/ 1405054 w 2252546"/>
              <a:gd name="connsiteY24-6134" fmla="*/ 858644 h 1360449"/>
              <a:gd name="connsiteX25-6135" fmla="*/ 1326995 w 2252546"/>
              <a:gd name="connsiteY25-6136" fmla="*/ 802888 h 1360449"/>
              <a:gd name="connsiteX26-6137" fmla="*/ 1371600 w 2252546"/>
              <a:gd name="connsiteY26-6138" fmla="*/ 702527 h 1360449"/>
              <a:gd name="connsiteX27-6139" fmla="*/ 1650380 w 2252546"/>
              <a:gd name="connsiteY27-6140" fmla="*/ 602166 h 1360449"/>
              <a:gd name="connsiteX28-6141" fmla="*/ 1650380 w 2252546"/>
              <a:gd name="connsiteY28-6142" fmla="*/ 546410 h 1360449"/>
              <a:gd name="connsiteX29-6143" fmla="*/ 1806497 w 2252546"/>
              <a:gd name="connsiteY29-6144" fmla="*/ 512956 h 1360449"/>
              <a:gd name="connsiteX30-6145" fmla="*/ 1839951 w 2252546"/>
              <a:gd name="connsiteY30-6146" fmla="*/ 535259 h 1360449"/>
              <a:gd name="connsiteX31-6147" fmla="*/ 1929161 w 2252546"/>
              <a:gd name="connsiteY31-6148" fmla="*/ 501805 h 1360449"/>
              <a:gd name="connsiteX32-6149" fmla="*/ 2241395 w 2252546"/>
              <a:gd name="connsiteY32-6150" fmla="*/ 546410 h 1360449"/>
              <a:gd name="connsiteX33-6151" fmla="*/ 2174488 w 2252546"/>
              <a:gd name="connsiteY33-6152" fmla="*/ 434898 h 1360449"/>
              <a:gd name="connsiteX34-6153" fmla="*/ 2252546 w 2252546"/>
              <a:gd name="connsiteY34-6154" fmla="*/ 390293 h 1360449"/>
              <a:gd name="connsiteX35-6155" fmla="*/ 2062976 w 2252546"/>
              <a:gd name="connsiteY35-6156" fmla="*/ 267630 h 1360449"/>
              <a:gd name="connsiteX36-6157" fmla="*/ 2062976 w 2252546"/>
              <a:gd name="connsiteY36-6158" fmla="*/ 267630 h 1360449"/>
              <a:gd name="connsiteX37-6159" fmla="*/ 2085278 w 2252546"/>
              <a:gd name="connsiteY37-6160" fmla="*/ 245327 h 1360449"/>
              <a:gd name="connsiteX38-6161" fmla="*/ 2040673 w 2252546"/>
              <a:gd name="connsiteY38-6162" fmla="*/ 144966 h 1360449"/>
              <a:gd name="connsiteX39-6163" fmla="*/ 2029522 w 2252546"/>
              <a:gd name="connsiteY39-6164" fmla="*/ 33454 h 1360449"/>
              <a:gd name="connsiteX40-6165" fmla="*/ 1862254 w 2252546"/>
              <a:gd name="connsiteY40-6166" fmla="*/ 55756 h 1360449"/>
              <a:gd name="connsiteX41-6167" fmla="*/ 1661532 w 2252546"/>
              <a:gd name="connsiteY41-6168" fmla="*/ 33454 h 1360449"/>
              <a:gd name="connsiteX42-6169" fmla="*/ 1572322 w 2252546"/>
              <a:gd name="connsiteY42-6170" fmla="*/ 111512 h 1360449"/>
              <a:gd name="connsiteX43-6171" fmla="*/ 1449658 w 2252546"/>
              <a:gd name="connsiteY43-6172" fmla="*/ 111512 h 1360449"/>
              <a:gd name="connsiteX44-6173" fmla="*/ 1550019 w 2252546"/>
              <a:gd name="connsiteY44-6174" fmla="*/ 0 h 1360449"/>
              <a:gd name="connsiteX45-6175" fmla="*/ 1506189 w 2252546"/>
              <a:gd name="connsiteY45-6176" fmla="*/ 330244 h 1360449"/>
              <a:gd name="connsiteX46-6177" fmla="*/ 1433671 w 2252546"/>
              <a:gd name="connsiteY46-6178" fmla="*/ 267646 h 1360449"/>
              <a:gd name="connsiteX47-6179" fmla="*/ 1324400 w 2252546"/>
              <a:gd name="connsiteY47-6180" fmla="*/ 330658 h 1360449"/>
              <a:gd name="connsiteX48-6181" fmla="*/ 1324339 w 2252546"/>
              <a:gd name="connsiteY48-6182" fmla="*/ 455594 h 1360449"/>
              <a:gd name="connsiteX49-6183" fmla="*/ 1311312 w 2252546"/>
              <a:gd name="connsiteY49-6184" fmla="*/ 443025 h 1360449"/>
              <a:gd name="connsiteX50-6185" fmla="*/ 1240170 w 2252546"/>
              <a:gd name="connsiteY50-6186" fmla="*/ 423882 h 1360449"/>
              <a:gd name="connsiteX51-6187" fmla="*/ 1181596 w 2252546"/>
              <a:gd name="connsiteY51-6188" fmla="*/ 365111 h 1360449"/>
              <a:gd name="connsiteX52-6189" fmla="*/ 890352 w 2252546"/>
              <a:gd name="connsiteY52-6190" fmla="*/ 365111 h 1360449"/>
              <a:gd name="connsiteX53-6191" fmla="*/ 858705 w 2252546"/>
              <a:gd name="connsiteY53-6192" fmla="*/ 444423 h 1360449"/>
              <a:gd name="connsiteX54-6193" fmla="*/ 784495 w 2252546"/>
              <a:gd name="connsiteY54-6194" fmla="*/ 500933 h 1360449"/>
              <a:gd name="connsiteX55-6195" fmla="*/ 781088 w 2252546"/>
              <a:gd name="connsiteY55-6196" fmla="*/ 492559 h 1360449"/>
              <a:gd name="connsiteX56-6197" fmla="*/ 723189 w 2252546"/>
              <a:gd name="connsiteY56-6198" fmla="*/ 437149 h 1360449"/>
              <a:gd name="connsiteX0-6199" fmla="*/ 591015 w 2252546"/>
              <a:gd name="connsiteY0-6200" fmla="*/ 323386 h 1360449"/>
              <a:gd name="connsiteX1-6201" fmla="*/ 446049 w 2252546"/>
              <a:gd name="connsiteY1-6202" fmla="*/ 323386 h 1360449"/>
              <a:gd name="connsiteX2-6203" fmla="*/ 580147 w 2252546"/>
              <a:gd name="connsiteY2-6204" fmla="*/ 456359 h 1360449"/>
              <a:gd name="connsiteX3-6205" fmla="*/ 567212 w 2252546"/>
              <a:gd name="connsiteY3-6206" fmla="*/ 375955 h 1360449"/>
              <a:gd name="connsiteX4-6207" fmla="*/ 424915 w 2252546"/>
              <a:gd name="connsiteY4-6208" fmla="*/ 450390 h 1360449"/>
              <a:gd name="connsiteX5-6209" fmla="*/ 234176 w 2252546"/>
              <a:gd name="connsiteY5-6210" fmla="*/ 390293 h 1360449"/>
              <a:gd name="connsiteX6-6211" fmla="*/ 234176 w 2252546"/>
              <a:gd name="connsiteY6-6212" fmla="*/ 468351 h 1360449"/>
              <a:gd name="connsiteX7-6213" fmla="*/ 256478 w 2252546"/>
              <a:gd name="connsiteY7-6214" fmla="*/ 579864 h 1360449"/>
              <a:gd name="connsiteX8-6215" fmla="*/ 178419 w 2252546"/>
              <a:gd name="connsiteY8-6216" fmla="*/ 657922 h 1360449"/>
              <a:gd name="connsiteX9-6217" fmla="*/ 189571 w 2252546"/>
              <a:gd name="connsiteY9-6218" fmla="*/ 724830 h 1360449"/>
              <a:gd name="connsiteX10-6219" fmla="*/ 78058 w 2252546"/>
              <a:gd name="connsiteY10-6220" fmla="*/ 758283 h 1360449"/>
              <a:gd name="connsiteX11-6221" fmla="*/ 0 w 2252546"/>
              <a:gd name="connsiteY11-6222" fmla="*/ 836342 h 1360449"/>
              <a:gd name="connsiteX12-6223" fmla="*/ 100361 w 2252546"/>
              <a:gd name="connsiteY12-6224" fmla="*/ 981308 h 1360449"/>
              <a:gd name="connsiteX13-6225" fmla="*/ 89210 w 2252546"/>
              <a:gd name="connsiteY13-6226" fmla="*/ 1081669 h 1360449"/>
              <a:gd name="connsiteX14-6227" fmla="*/ 144966 w 2252546"/>
              <a:gd name="connsiteY14-6228" fmla="*/ 1103971 h 1360449"/>
              <a:gd name="connsiteX15-6229" fmla="*/ 156117 w 2252546"/>
              <a:gd name="connsiteY15-6230" fmla="*/ 1014761 h 1360449"/>
              <a:gd name="connsiteX16-6231" fmla="*/ 267629 w 2252546"/>
              <a:gd name="connsiteY16-6232" fmla="*/ 1037064 h 1360449"/>
              <a:gd name="connsiteX17-6233" fmla="*/ 401444 w 2252546"/>
              <a:gd name="connsiteY17-6234" fmla="*/ 1003610 h 1360449"/>
              <a:gd name="connsiteX18-6235" fmla="*/ 479502 w 2252546"/>
              <a:gd name="connsiteY18-6236" fmla="*/ 1182030 h 1360449"/>
              <a:gd name="connsiteX19-6237" fmla="*/ 479502 w 2252546"/>
              <a:gd name="connsiteY19-6238" fmla="*/ 1315844 h 1360449"/>
              <a:gd name="connsiteX20-6239" fmla="*/ 669073 w 2252546"/>
              <a:gd name="connsiteY20-6240" fmla="*/ 1338147 h 1360449"/>
              <a:gd name="connsiteX21-6241" fmla="*/ 713678 w 2252546"/>
              <a:gd name="connsiteY21-6242" fmla="*/ 1360449 h 1360449"/>
              <a:gd name="connsiteX22-6243" fmla="*/ 970156 w 2252546"/>
              <a:gd name="connsiteY22-6244" fmla="*/ 1103971 h 1360449"/>
              <a:gd name="connsiteX23-6245" fmla="*/ 1315844 w 2252546"/>
              <a:gd name="connsiteY23-6246" fmla="*/ 992459 h 1360449"/>
              <a:gd name="connsiteX24-6247" fmla="*/ 1405054 w 2252546"/>
              <a:gd name="connsiteY24-6248" fmla="*/ 858644 h 1360449"/>
              <a:gd name="connsiteX25-6249" fmla="*/ 1326995 w 2252546"/>
              <a:gd name="connsiteY25-6250" fmla="*/ 802888 h 1360449"/>
              <a:gd name="connsiteX26-6251" fmla="*/ 1371600 w 2252546"/>
              <a:gd name="connsiteY26-6252" fmla="*/ 702527 h 1360449"/>
              <a:gd name="connsiteX27-6253" fmla="*/ 1650380 w 2252546"/>
              <a:gd name="connsiteY27-6254" fmla="*/ 602166 h 1360449"/>
              <a:gd name="connsiteX28-6255" fmla="*/ 1650380 w 2252546"/>
              <a:gd name="connsiteY28-6256" fmla="*/ 546410 h 1360449"/>
              <a:gd name="connsiteX29-6257" fmla="*/ 1806497 w 2252546"/>
              <a:gd name="connsiteY29-6258" fmla="*/ 512956 h 1360449"/>
              <a:gd name="connsiteX30-6259" fmla="*/ 1839951 w 2252546"/>
              <a:gd name="connsiteY30-6260" fmla="*/ 535259 h 1360449"/>
              <a:gd name="connsiteX31-6261" fmla="*/ 1929161 w 2252546"/>
              <a:gd name="connsiteY31-6262" fmla="*/ 501805 h 1360449"/>
              <a:gd name="connsiteX32-6263" fmla="*/ 2241395 w 2252546"/>
              <a:gd name="connsiteY32-6264" fmla="*/ 546410 h 1360449"/>
              <a:gd name="connsiteX33-6265" fmla="*/ 2174488 w 2252546"/>
              <a:gd name="connsiteY33-6266" fmla="*/ 434898 h 1360449"/>
              <a:gd name="connsiteX34-6267" fmla="*/ 2252546 w 2252546"/>
              <a:gd name="connsiteY34-6268" fmla="*/ 390293 h 1360449"/>
              <a:gd name="connsiteX35-6269" fmla="*/ 2062976 w 2252546"/>
              <a:gd name="connsiteY35-6270" fmla="*/ 267630 h 1360449"/>
              <a:gd name="connsiteX36-6271" fmla="*/ 2062976 w 2252546"/>
              <a:gd name="connsiteY36-6272" fmla="*/ 267630 h 1360449"/>
              <a:gd name="connsiteX37-6273" fmla="*/ 2085278 w 2252546"/>
              <a:gd name="connsiteY37-6274" fmla="*/ 245327 h 1360449"/>
              <a:gd name="connsiteX38-6275" fmla="*/ 2040673 w 2252546"/>
              <a:gd name="connsiteY38-6276" fmla="*/ 144966 h 1360449"/>
              <a:gd name="connsiteX39-6277" fmla="*/ 2029522 w 2252546"/>
              <a:gd name="connsiteY39-6278" fmla="*/ 33454 h 1360449"/>
              <a:gd name="connsiteX40-6279" fmla="*/ 1862254 w 2252546"/>
              <a:gd name="connsiteY40-6280" fmla="*/ 55756 h 1360449"/>
              <a:gd name="connsiteX41-6281" fmla="*/ 1661532 w 2252546"/>
              <a:gd name="connsiteY41-6282" fmla="*/ 33454 h 1360449"/>
              <a:gd name="connsiteX42-6283" fmla="*/ 1572322 w 2252546"/>
              <a:gd name="connsiteY42-6284" fmla="*/ 111512 h 1360449"/>
              <a:gd name="connsiteX43-6285" fmla="*/ 1449658 w 2252546"/>
              <a:gd name="connsiteY43-6286" fmla="*/ 111512 h 1360449"/>
              <a:gd name="connsiteX44-6287" fmla="*/ 1550019 w 2252546"/>
              <a:gd name="connsiteY44-6288" fmla="*/ 0 h 1360449"/>
              <a:gd name="connsiteX45-6289" fmla="*/ 1506189 w 2252546"/>
              <a:gd name="connsiteY45-6290" fmla="*/ 330244 h 1360449"/>
              <a:gd name="connsiteX46-6291" fmla="*/ 1433671 w 2252546"/>
              <a:gd name="connsiteY46-6292" fmla="*/ 267646 h 1360449"/>
              <a:gd name="connsiteX47-6293" fmla="*/ 1324400 w 2252546"/>
              <a:gd name="connsiteY47-6294" fmla="*/ 330658 h 1360449"/>
              <a:gd name="connsiteX48-6295" fmla="*/ 1324339 w 2252546"/>
              <a:gd name="connsiteY48-6296" fmla="*/ 455594 h 1360449"/>
              <a:gd name="connsiteX49-6297" fmla="*/ 1311312 w 2252546"/>
              <a:gd name="connsiteY49-6298" fmla="*/ 443025 h 1360449"/>
              <a:gd name="connsiteX50-6299" fmla="*/ 1240170 w 2252546"/>
              <a:gd name="connsiteY50-6300" fmla="*/ 423882 h 1360449"/>
              <a:gd name="connsiteX51-6301" fmla="*/ 1181596 w 2252546"/>
              <a:gd name="connsiteY51-6302" fmla="*/ 365111 h 1360449"/>
              <a:gd name="connsiteX52-6303" fmla="*/ 890352 w 2252546"/>
              <a:gd name="connsiteY52-6304" fmla="*/ 365111 h 1360449"/>
              <a:gd name="connsiteX53-6305" fmla="*/ 858705 w 2252546"/>
              <a:gd name="connsiteY53-6306" fmla="*/ 444423 h 1360449"/>
              <a:gd name="connsiteX54-6307" fmla="*/ 784495 w 2252546"/>
              <a:gd name="connsiteY54-6308" fmla="*/ 500933 h 1360449"/>
              <a:gd name="connsiteX55-6309" fmla="*/ 781088 w 2252546"/>
              <a:gd name="connsiteY55-6310" fmla="*/ 492559 h 1360449"/>
              <a:gd name="connsiteX56-6311" fmla="*/ 768152 w 2252546"/>
              <a:gd name="connsiteY56-6312" fmla="*/ 492559 h 1360449"/>
              <a:gd name="connsiteX57-6313" fmla="*/ 723189 w 2252546"/>
              <a:gd name="connsiteY57-6314" fmla="*/ 437149 h 1360449"/>
              <a:gd name="connsiteX0-6315" fmla="*/ 591015 w 2252546"/>
              <a:gd name="connsiteY0-6316" fmla="*/ 323386 h 1360449"/>
              <a:gd name="connsiteX1-6317" fmla="*/ 446049 w 2252546"/>
              <a:gd name="connsiteY1-6318" fmla="*/ 323386 h 1360449"/>
              <a:gd name="connsiteX2-6319" fmla="*/ 580147 w 2252546"/>
              <a:gd name="connsiteY2-6320" fmla="*/ 456359 h 1360449"/>
              <a:gd name="connsiteX3-6321" fmla="*/ 567212 w 2252546"/>
              <a:gd name="connsiteY3-6322" fmla="*/ 375955 h 1360449"/>
              <a:gd name="connsiteX4-6323" fmla="*/ 424915 w 2252546"/>
              <a:gd name="connsiteY4-6324" fmla="*/ 450390 h 1360449"/>
              <a:gd name="connsiteX5-6325" fmla="*/ 234176 w 2252546"/>
              <a:gd name="connsiteY5-6326" fmla="*/ 390293 h 1360449"/>
              <a:gd name="connsiteX6-6327" fmla="*/ 234176 w 2252546"/>
              <a:gd name="connsiteY6-6328" fmla="*/ 468351 h 1360449"/>
              <a:gd name="connsiteX7-6329" fmla="*/ 256478 w 2252546"/>
              <a:gd name="connsiteY7-6330" fmla="*/ 579864 h 1360449"/>
              <a:gd name="connsiteX8-6331" fmla="*/ 178419 w 2252546"/>
              <a:gd name="connsiteY8-6332" fmla="*/ 657922 h 1360449"/>
              <a:gd name="connsiteX9-6333" fmla="*/ 189571 w 2252546"/>
              <a:gd name="connsiteY9-6334" fmla="*/ 724830 h 1360449"/>
              <a:gd name="connsiteX10-6335" fmla="*/ 78058 w 2252546"/>
              <a:gd name="connsiteY10-6336" fmla="*/ 758283 h 1360449"/>
              <a:gd name="connsiteX11-6337" fmla="*/ 0 w 2252546"/>
              <a:gd name="connsiteY11-6338" fmla="*/ 836342 h 1360449"/>
              <a:gd name="connsiteX12-6339" fmla="*/ 100361 w 2252546"/>
              <a:gd name="connsiteY12-6340" fmla="*/ 981308 h 1360449"/>
              <a:gd name="connsiteX13-6341" fmla="*/ 89210 w 2252546"/>
              <a:gd name="connsiteY13-6342" fmla="*/ 1081669 h 1360449"/>
              <a:gd name="connsiteX14-6343" fmla="*/ 144966 w 2252546"/>
              <a:gd name="connsiteY14-6344" fmla="*/ 1103971 h 1360449"/>
              <a:gd name="connsiteX15-6345" fmla="*/ 156117 w 2252546"/>
              <a:gd name="connsiteY15-6346" fmla="*/ 1014761 h 1360449"/>
              <a:gd name="connsiteX16-6347" fmla="*/ 267629 w 2252546"/>
              <a:gd name="connsiteY16-6348" fmla="*/ 1037064 h 1360449"/>
              <a:gd name="connsiteX17-6349" fmla="*/ 401444 w 2252546"/>
              <a:gd name="connsiteY17-6350" fmla="*/ 1003610 h 1360449"/>
              <a:gd name="connsiteX18-6351" fmla="*/ 479502 w 2252546"/>
              <a:gd name="connsiteY18-6352" fmla="*/ 1182030 h 1360449"/>
              <a:gd name="connsiteX19-6353" fmla="*/ 479502 w 2252546"/>
              <a:gd name="connsiteY19-6354" fmla="*/ 1315844 h 1360449"/>
              <a:gd name="connsiteX20-6355" fmla="*/ 669073 w 2252546"/>
              <a:gd name="connsiteY20-6356" fmla="*/ 1338147 h 1360449"/>
              <a:gd name="connsiteX21-6357" fmla="*/ 713678 w 2252546"/>
              <a:gd name="connsiteY21-6358" fmla="*/ 1360449 h 1360449"/>
              <a:gd name="connsiteX22-6359" fmla="*/ 970156 w 2252546"/>
              <a:gd name="connsiteY22-6360" fmla="*/ 1103971 h 1360449"/>
              <a:gd name="connsiteX23-6361" fmla="*/ 1315844 w 2252546"/>
              <a:gd name="connsiteY23-6362" fmla="*/ 992459 h 1360449"/>
              <a:gd name="connsiteX24-6363" fmla="*/ 1405054 w 2252546"/>
              <a:gd name="connsiteY24-6364" fmla="*/ 858644 h 1360449"/>
              <a:gd name="connsiteX25-6365" fmla="*/ 1326995 w 2252546"/>
              <a:gd name="connsiteY25-6366" fmla="*/ 802888 h 1360449"/>
              <a:gd name="connsiteX26-6367" fmla="*/ 1371600 w 2252546"/>
              <a:gd name="connsiteY26-6368" fmla="*/ 702527 h 1360449"/>
              <a:gd name="connsiteX27-6369" fmla="*/ 1650380 w 2252546"/>
              <a:gd name="connsiteY27-6370" fmla="*/ 602166 h 1360449"/>
              <a:gd name="connsiteX28-6371" fmla="*/ 1650380 w 2252546"/>
              <a:gd name="connsiteY28-6372" fmla="*/ 546410 h 1360449"/>
              <a:gd name="connsiteX29-6373" fmla="*/ 1806497 w 2252546"/>
              <a:gd name="connsiteY29-6374" fmla="*/ 512956 h 1360449"/>
              <a:gd name="connsiteX30-6375" fmla="*/ 1839951 w 2252546"/>
              <a:gd name="connsiteY30-6376" fmla="*/ 535259 h 1360449"/>
              <a:gd name="connsiteX31-6377" fmla="*/ 1929161 w 2252546"/>
              <a:gd name="connsiteY31-6378" fmla="*/ 501805 h 1360449"/>
              <a:gd name="connsiteX32-6379" fmla="*/ 2241395 w 2252546"/>
              <a:gd name="connsiteY32-6380" fmla="*/ 546410 h 1360449"/>
              <a:gd name="connsiteX33-6381" fmla="*/ 2174488 w 2252546"/>
              <a:gd name="connsiteY33-6382" fmla="*/ 434898 h 1360449"/>
              <a:gd name="connsiteX34-6383" fmla="*/ 2252546 w 2252546"/>
              <a:gd name="connsiteY34-6384" fmla="*/ 390293 h 1360449"/>
              <a:gd name="connsiteX35-6385" fmla="*/ 2062976 w 2252546"/>
              <a:gd name="connsiteY35-6386" fmla="*/ 267630 h 1360449"/>
              <a:gd name="connsiteX36-6387" fmla="*/ 2062976 w 2252546"/>
              <a:gd name="connsiteY36-6388" fmla="*/ 267630 h 1360449"/>
              <a:gd name="connsiteX37-6389" fmla="*/ 2085278 w 2252546"/>
              <a:gd name="connsiteY37-6390" fmla="*/ 245327 h 1360449"/>
              <a:gd name="connsiteX38-6391" fmla="*/ 2040673 w 2252546"/>
              <a:gd name="connsiteY38-6392" fmla="*/ 144966 h 1360449"/>
              <a:gd name="connsiteX39-6393" fmla="*/ 2029522 w 2252546"/>
              <a:gd name="connsiteY39-6394" fmla="*/ 33454 h 1360449"/>
              <a:gd name="connsiteX40-6395" fmla="*/ 1862254 w 2252546"/>
              <a:gd name="connsiteY40-6396" fmla="*/ 55756 h 1360449"/>
              <a:gd name="connsiteX41-6397" fmla="*/ 1661532 w 2252546"/>
              <a:gd name="connsiteY41-6398" fmla="*/ 33454 h 1360449"/>
              <a:gd name="connsiteX42-6399" fmla="*/ 1572322 w 2252546"/>
              <a:gd name="connsiteY42-6400" fmla="*/ 111512 h 1360449"/>
              <a:gd name="connsiteX43-6401" fmla="*/ 1550019 w 2252546"/>
              <a:gd name="connsiteY43-6402" fmla="*/ 0 h 1360449"/>
              <a:gd name="connsiteX44-6403" fmla="*/ 1506189 w 2252546"/>
              <a:gd name="connsiteY44-6404" fmla="*/ 330244 h 1360449"/>
              <a:gd name="connsiteX45-6405" fmla="*/ 1433671 w 2252546"/>
              <a:gd name="connsiteY45-6406" fmla="*/ 267646 h 1360449"/>
              <a:gd name="connsiteX46-6407" fmla="*/ 1324400 w 2252546"/>
              <a:gd name="connsiteY46-6408" fmla="*/ 330658 h 1360449"/>
              <a:gd name="connsiteX47-6409" fmla="*/ 1324339 w 2252546"/>
              <a:gd name="connsiteY47-6410" fmla="*/ 455594 h 1360449"/>
              <a:gd name="connsiteX48-6411" fmla="*/ 1311312 w 2252546"/>
              <a:gd name="connsiteY48-6412" fmla="*/ 443025 h 1360449"/>
              <a:gd name="connsiteX49-6413" fmla="*/ 1240170 w 2252546"/>
              <a:gd name="connsiteY49-6414" fmla="*/ 423882 h 1360449"/>
              <a:gd name="connsiteX50-6415" fmla="*/ 1181596 w 2252546"/>
              <a:gd name="connsiteY50-6416" fmla="*/ 365111 h 1360449"/>
              <a:gd name="connsiteX51-6417" fmla="*/ 890352 w 2252546"/>
              <a:gd name="connsiteY51-6418" fmla="*/ 365111 h 1360449"/>
              <a:gd name="connsiteX52-6419" fmla="*/ 858705 w 2252546"/>
              <a:gd name="connsiteY52-6420" fmla="*/ 444423 h 1360449"/>
              <a:gd name="connsiteX53-6421" fmla="*/ 784495 w 2252546"/>
              <a:gd name="connsiteY53-6422" fmla="*/ 500933 h 1360449"/>
              <a:gd name="connsiteX54-6423" fmla="*/ 781088 w 2252546"/>
              <a:gd name="connsiteY54-6424" fmla="*/ 492559 h 1360449"/>
              <a:gd name="connsiteX55-6425" fmla="*/ 768152 w 2252546"/>
              <a:gd name="connsiteY55-6426" fmla="*/ 492559 h 1360449"/>
              <a:gd name="connsiteX56-6427" fmla="*/ 723189 w 2252546"/>
              <a:gd name="connsiteY56-6428" fmla="*/ 437149 h 1360449"/>
              <a:gd name="connsiteX0-6429" fmla="*/ 591015 w 2252546"/>
              <a:gd name="connsiteY0-6430" fmla="*/ 289932 h 1326995"/>
              <a:gd name="connsiteX1-6431" fmla="*/ 446049 w 2252546"/>
              <a:gd name="connsiteY1-6432" fmla="*/ 289932 h 1326995"/>
              <a:gd name="connsiteX2-6433" fmla="*/ 580147 w 2252546"/>
              <a:gd name="connsiteY2-6434" fmla="*/ 422905 h 1326995"/>
              <a:gd name="connsiteX3-6435" fmla="*/ 567212 w 2252546"/>
              <a:gd name="connsiteY3-6436" fmla="*/ 342501 h 1326995"/>
              <a:gd name="connsiteX4-6437" fmla="*/ 424915 w 2252546"/>
              <a:gd name="connsiteY4-6438" fmla="*/ 416936 h 1326995"/>
              <a:gd name="connsiteX5-6439" fmla="*/ 234176 w 2252546"/>
              <a:gd name="connsiteY5-6440" fmla="*/ 356839 h 1326995"/>
              <a:gd name="connsiteX6-6441" fmla="*/ 234176 w 2252546"/>
              <a:gd name="connsiteY6-6442" fmla="*/ 434897 h 1326995"/>
              <a:gd name="connsiteX7-6443" fmla="*/ 256478 w 2252546"/>
              <a:gd name="connsiteY7-6444" fmla="*/ 546410 h 1326995"/>
              <a:gd name="connsiteX8-6445" fmla="*/ 178419 w 2252546"/>
              <a:gd name="connsiteY8-6446" fmla="*/ 624468 h 1326995"/>
              <a:gd name="connsiteX9-6447" fmla="*/ 189571 w 2252546"/>
              <a:gd name="connsiteY9-6448" fmla="*/ 691376 h 1326995"/>
              <a:gd name="connsiteX10-6449" fmla="*/ 78058 w 2252546"/>
              <a:gd name="connsiteY10-6450" fmla="*/ 724829 h 1326995"/>
              <a:gd name="connsiteX11-6451" fmla="*/ 0 w 2252546"/>
              <a:gd name="connsiteY11-6452" fmla="*/ 802888 h 1326995"/>
              <a:gd name="connsiteX12-6453" fmla="*/ 100361 w 2252546"/>
              <a:gd name="connsiteY12-6454" fmla="*/ 947854 h 1326995"/>
              <a:gd name="connsiteX13-6455" fmla="*/ 89210 w 2252546"/>
              <a:gd name="connsiteY13-6456" fmla="*/ 1048215 h 1326995"/>
              <a:gd name="connsiteX14-6457" fmla="*/ 144966 w 2252546"/>
              <a:gd name="connsiteY14-6458" fmla="*/ 1070517 h 1326995"/>
              <a:gd name="connsiteX15-6459" fmla="*/ 156117 w 2252546"/>
              <a:gd name="connsiteY15-6460" fmla="*/ 981307 h 1326995"/>
              <a:gd name="connsiteX16-6461" fmla="*/ 267629 w 2252546"/>
              <a:gd name="connsiteY16-6462" fmla="*/ 1003610 h 1326995"/>
              <a:gd name="connsiteX17-6463" fmla="*/ 401444 w 2252546"/>
              <a:gd name="connsiteY17-6464" fmla="*/ 970156 h 1326995"/>
              <a:gd name="connsiteX18-6465" fmla="*/ 479502 w 2252546"/>
              <a:gd name="connsiteY18-6466" fmla="*/ 1148576 h 1326995"/>
              <a:gd name="connsiteX19-6467" fmla="*/ 479502 w 2252546"/>
              <a:gd name="connsiteY19-6468" fmla="*/ 1282390 h 1326995"/>
              <a:gd name="connsiteX20-6469" fmla="*/ 669073 w 2252546"/>
              <a:gd name="connsiteY20-6470" fmla="*/ 1304693 h 1326995"/>
              <a:gd name="connsiteX21-6471" fmla="*/ 713678 w 2252546"/>
              <a:gd name="connsiteY21-6472" fmla="*/ 1326995 h 1326995"/>
              <a:gd name="connsiteX22-6473" fmla="*/ 970156 w 2252546"/>
              <a:gd name="connsiteY22-6474" fmla="*/ 1070517 h 1326995"/>
              <a:gd name="connsiteX23-6475" fmla="*/ 1315844 w 2252546"/>
              <a:gd name="connsiteY23-6476" fmla="*/ 959005 h 1326995"/>
              <a:gd name="connsiteX24-6477" fmla="*/ 1405054 w 2252546"/>
              <a:gd name="connsiteY24-6478" fmla="*/ 825190 h 1326995"/>
              <a:gd name="connsiteX25-6479" fmla="*/ 1326995 w 2252546"/>
              <a:gd name="connsiteY25-6480" fmla="*/ 769434 h 1326995"/>
              <a:gd name="connsiteX26-6481" fmla="*/ 1371600 w 2252546"/>
              <a:gd name="connsiteY26-6482" fmla="*/ 669073 h 1326995"/>
              <a:gd name="connsiteX27-6483" fmla="*/ 1650380 w 2252546"/>
              <a:gd name="connsiteY27-6484" fmla="*/ 568712 h 1326995"/>
              <a:gd name="connsiteX28-6485" fmla="*/ 1650380 w 2252546"/>
              <a:gd name="connsiteY28-6486" fmla="*/ 512956 h 1326995"/>
              <a:gd name="connsiteX29-6487" fmla="*/ 1806497 w 2252546"/>
              <a:gd name="connsiteY29-6488" fmla="*/ 479502 h 1326995"/>
              <a:gd name="connsiteX30-6489" fmla="*/ 1839951 w 2252546"/>
              <a:gd name="connsiteY30-6490" fmla="*/ 501805 h 1326995"/>
              <a:gd name="connsiteX31-6491" fmla="*/ 1929161 w 2252546"/>
              <a:gd name="connsiteY31-6492" fmla="*/ 468351 h 1326995"/>
              <a:gd name="connsiteX32-6493" fmla="*/ 2241395 w 2252546"/>
              <a:gd name="connsiteY32-6494" fmla="*/ 512956 h 1326995"/>
              <a:gd name="connsiteX33-6495" fmla="*/ 2174488 w 2252546"/>
              <a:gd name="connsiteY33-6496" fmla="*/ 401444 h 1326995"/>
              <a:gd name="connsiteX34-6497" fmla="*/ 2252546 w 2252546"/>
              <a:gd name="connsiteY34-6498" fmla="*/ 356839 h 1326995"/>
              <a:gd name="connsiteX35-6499" fmla="*/ 2062976 w 2252546"/>
              <a:gd name="connsiteY35-6500" fmla="*/ 234176 h 1326995"/>
              <a:gd name="connsiteX36-6501" fmla="*/ 2062976 w 2252546"/>
              <a:gd name="connsiteY36-6502" fmla="*/ 234176 h 1326995"/>
              <a:gd name="connsiteX37-6503" fmla="*/ 2085278 w 2252546"/>
              <a:gd name="connsiteY37-6504" fmla="*/ 211873 h 1326995"/>
              <a:gd name="connsiteX38-6505" fmla="*/ 2040673 w 2252546"/>
              <a:gd name="connsiteY38-6506" fmla="*/ 111512 h 1326995"/>
              <a:gd name="connsiteX39-6507" fmla="*/ 2029522 w 2252546"/>
              <a:gd name="connsiteY39-6508" fmla="*/ 0 h 1326995"/>
              <a:gd name="connsiteX40-6509" fmla="*/ 1862254 w 2252546"/>
              <a:gd name="connsiteY40-6510" fmla="*/ 22302 h 1326995"/>
              <a:gd name="connsiteX41-6511" fmla="*/ 1661532 w 2252546"/>
              <a:gd name="connsiteY41-6512" fmla="*/ 0 h 1326995"/>
              <a:gd name="connsiteX42-6513" fmla="*/ 1572322 w 2252546"/>
              <a:gd name="connsiteY42-6514" fmla="*/ 78058 h 1326995"/>
              <a:gd name="connsiteX43-6515" fmla="*/ 1506189 w 2252546"/>
              <a:gd name="connsiteY43-6516" fmla="*/ 296790 h 1326995"/>
              <a:gd name="connsiteX44-6517" fmla="*/ 1433671 w 2252546"/>
              <a:gd name="connsiteY44-6518" fmla="*/ 234192 h 1326995"/>
              <a:gd name="connsiteX45-6519" fmla="*/ 1324400 w 2252546"/>
              <a:gd name="connsiteY45-6520" fmla="*/ 297204 h 1326995"/>
              <a:gd name="connsiteX46-6521" fmla="*/ 1324339 w 2252546"/>
              <a:gd name="connsiteY46-6522" fmla="*/ 422140 h 1326995"/>
              <a:gd name="connsiteX47-6523" fmla="*/ 1311312 w 2252546"/>
              <a:gd name="connsiteY47-6524" fmla="*/ 409571 h 1326995"/>
              <a:gd name="connsiteX48-6525" fmla="*/ 1240170 w 2252546"/>
              <a:gd name="connsiteY48-6526" fmla="*/ 390428 h 1326995"/>
              <a:gd name="connsiteX49-6527" fmla="*/ 1181596 w 2252546"/>
              <a:gd name="connsiteY49-6528" fmla="*/ 331657 h 1326995"/>
              <a:gd name="connsiteX50-6529" fmla="*/ 890352 w 2252546"/>
              <a:gd name="connsiteY50-6530" fmla="*/ 331657 h 1326995"/>
              <a:gd name="connsiteX51-6531" fmla="*/ 858705 w 2252546"/>
              <a:gd name="connsiteY51-6532" fmla="*/ 410969 h 1326995"/>
              <a:gd name="connsiteX52-6533" fmla="*/ 784495 w 2252546"/>
              <a:gd name="connsiteY52-6534" fmla="*/ 467479 h 1326995"/>
              <a:gd name="connsiteX53-6535" fmla="*/ 781088 w 2252546"/>
              <a:gd name="connsiteY53-6536" fmla="*/ 459105 h 1326995"/>
              <a:gd name="connsiteX54-6537" fmla="*/ 768152 w 2252546"/>
              <a:gd name="connsiteY54-6538" fmla="*/ 459105 h 1326995"/>
              <a:gd name="connsiteX55-6539" fmla="*/ 723189 w 2252546"/>
              <a:gd name="connsiteY55-6540" fmla="*/ 403695 h 1326995"/>
              <a:gd name="connsiteX0-6541" fmla="*/ 591015 w 2252546"/>
              <a:gd name="connsiteY0-6542" fmla="*/ 289932 h 1326995"/>
              <a:gd name="connsiteX1-6543" fmla="*/ 446049 w 2252546"/>
              <a:gd name="connsiteY1-6544" fmla="*/ 289932 h 1326995"/>
              <a:gd name="connsiteX2-6545" fmla="*/ 580147 w 2252546"/>
              <a:gd name="connsiteY2-6546" fmla="*/ 422905 h 1326995"/>
              <a:gd name="connsiteX3-6547" fmla="*/ 567212 w 2252546"/>
              <a:gd name="connsiteY3-6548" fmla="*/ 342501 h 1326995"/>
              <a:gd name="connsiteX4-6549" fmla="*/ 424915 w 2252546"/>
              <a:gd name="connsiteY4-6550" fmla="*/ 416936 h 1326995"/>
              <a:gd name="connsiteX5-6551" fmla="*/ 234176 w 2252546"/>
              <a:gd name="connsiteY5-6552" fmla="*/ 356839 h 1326995"/>
              <a:gd name="connsiteX6-6553" fmla="*/ 234176 w 2252546"/>
              <a:gd name="connsiteY6-6554" fmla="*/ 434897 h 1326995"/>
              <a:gd name="connsiteX7-6555" fmla="*/ 256478 w 2252546"/>
              <a:gd name="connsiteY7-6556" fmla="*/ 546410 h 1326995"/>
              <a:gd name="connsiteX8-6557" fmla="*/ 178419 w 2252546"/>
              <a:gd name="connsiteY8-6558" fmla="*/ 624468 h 1326995"/>
              <a:gd name="connsiteX9-6559" fmla="*/ 189571 w 2252546"/>
              <a:gd name="connsiteY9-6560" fmla="*/ 691376 h 1326995"/>
              <a:gd name="connsiteX10-6561" fmla="*/ 78058 w 2252546"/>
              <a:gd name="connsiteY10-6562" fmla="*/ 724829 h 1326995"/>
              <a:gd name="connsiteX11-6563" fmla="*/ 0 w 2252546"/>
              <a:gd name="connsiteY11-6564" fmla="*/ 802888 h 1326995"/>
              <a:gd name="connsiteX12-6565" fmla="*/ 100361 w 2252546"/>
              <a:gd name="connsiteY12-6566" fmla="*/ 947854 h 1326995"/>
              <a:gd name="connsiteX13-6567" fmla="*/ 89210 w 2252546"/>
              <a:gd name="connsiteY13-6568" fmla="*/ 1048215 h 1326995"/>
              <a:gd name="connsiteX14-6569" fmla="*/ 144966 w 2252546"/>
              <a:gd name="connsiteY14-6570" fmla="*/ 1070517 h 1326995"/>
              <a:gd name="connsiteX15-6571" fmla="*/ 156117 w 2252546"/>
              <a:gd name="connsiteY15-6572" fmla="*/ 981307 h 1326995"/>
              <a:gd name="connsiteX16-6573" fmla="*/ 267629 w 2252546"/>
              <a:gd name="connsiteY16-6574" fmla="*/ 1003610 h 1326995"/>
              <a:gd name="connsiteX17-6575" fmla="*/ 401444 w 2252546"/>
              <a:gd name="connsiteY17-6576" fmla="*/ 970156 h 1326995"/>
              <a:gd name="connsiteX18-6577" fmla="*/ 479502 w 2252546"/>
              <a:gd name="connsiteY18-6578" fmla="*/ 1102878 h 1326995"/>
              <a:gd name="connsiteX19-6579" fmla="*/ 479502 w 2252546"/>
              <a:gd name="connsiteY19-6580" fmla="*/ 1282390 h 1326995"/>
              <a:gd name="connsiteX20-6581" fmla="*/ 669073 w 2252546"/>
              <a:gd name="connsiteY20-6582" fmla="*/ 1304693 h 1326995"/>
              <a:gd name="connsiteX21-6583" fmla="*/ 713678 w 2252546"/>
              <a:gd name="connsiteY21-6584" fmla="*/ 1326995 h 1326995"/>
              <a:gd name="connsiteX22-6585" fmla="*/ 970156 w 2252546"/>
              <a:gd name="connsiteY22-6586" fmla="*/ 1070517 h 1326995"/>
              <a:gd name="connsiteX23-6587" fmla="*/ 1315844 w 2252546"/>
              <a:gd name="connsiteY23-6588" fmla="*/ 959005 h 1326995"/>
              <a:gd name="connsiteX24-6589" fmla="*/ 1405054 w 2252546"/>
              <a:gd name="connsiteY24-6590" fmla="*/ 825190 h 1326995"/>
              <a:gd name="connsiteX25-6591" fmla="*/ 1326995 w 2252546"/>
              <a:gd name="connsiteY25-6592" fmla="*/ 769434 h 1326995"/>
              <a:gd name="connsiteX26-6593" fmla="*/ 1371600 w 2252546"/>
              <a:gd name="connsiteY26-6594" fmla="*/ 669073 h 1326995"/>
              <a:gd name="connsiteX27-6595" fmla="*/ 1650380 w 2252546"/>
              <a:gd name="connsiteY27-6596" fmla="*/ 568712 h 1326995"/>
              <a:gd name="connsiteX28-6597" fmla="*/ 1650380 w 2252546"/>
              <a:gd name="connsiteY28-6598" fmla="*/ 512956 h 1326995"/>
              <a:gd name="connsiteX29-6599" fmla="*/ 1806497 w 2252546"/>
              <a:gd name="connsiteY29-6600" fmla="*/ 479502 h 1326995"/>
              <a:gd name="connsiteX30-6601" fmla="*/ 1839951 w 2252546"/>
              <a:gd name="connsiteY30-6602" fmla="*/ 501805 h 1326995"/>
              <a:gd name="connsiteX31-6603" fmla="*/ 1929161 w 2252546"/>
              <a:gd name="connsiteY31-6604" fmla="*/ 468351 h 1326995"/>
              <a:gd name="connsiteX32-6605" fmla="*/ 2241395 w 2252546"/>
              <a:gd name="connsiteY32-6606" fmla="*/ 512956 h 1326995"/>
              <a:gd name="connsiteX33-6607" fmla="*/ 2174488 w 2252546"/>
              <a:gd name="connsiteY33-6608" fmla="*/ 401444 h 1326995"/>
              <a:gd name="connsiteX34-6609" fmla="*/ 2252546 w 2252546"/>
              <a:gd name="connsiteY34-6610" fmla="*/ 356839 h 1326995"/>
              <a:gd name="connsiteX35-6611" fmla="*/ 2062976 w 2252546"/>
              <a:gd name="connsiteY35-6612" fmla="*/ 234176 h 1326995"/>
              <a:gd name="connsiteX36-6613" fmla="*/ 2062976 w 2252546"/>
              <a:gd name="connsiteY36-6614" fmla="*/ 234176 h 1326995"/>
              <a:gd name="connsiteX37-6615" fmla="*/ 2085278 w 2252546"/>
              <a:gd name="connsiteY37-6616" fmla="*/ 211873 h 1326995"/>
              <a:gd name="connsiteX38-6617" fmla="*/ 2040673 w 2252546"/>
              <a:gd name="connsiteY38-6618" fmla="*/ 111512 h 1326995"/>
              <a:gd name="connsiteX39-6619" fmla="*/ 2029522 w 2252546"/>
              <a:gd name="connsiteY39-6620" fmla="*/ 0 h 1326995"/>
              <a:gd name="connsiteX40-6621" fmla="*/ 1862254 w 2252546"/>
              <a:gd name="connsiteY40-6622" fmla="*/ 22302 h 1326995"/>
              <a:gd name="connsiteX41-6623" fmla="*/ 1661532 w 2252546"/>
              <a:gd name="connsiteY41-6624" fmla="*/ 0 h 1326995"/>
              <a:gd name="connsiteX42-6625" fmla="*/ 1572322 w 2252546"/>
              <a:gd name="connsiteY42-6626" fmla="*/ 78058 h 1326995"/>
              <a:gd name="connsiteX43-6627" fmla="*/ 1506189 w 2252546"/>
              <a:gd name="connsiteY43-6628" fmla="*/ 296790 h 1326995"/>
              <a:gd name="connsiteX44-6629" fmla="*/ 1433671 w 2252546"/>
              <a:gd name="connsiteY44-6630" fmla="*/ 234192 h 1326995"/>
              <a:gd name="connsiteX45-6631" fmla="*/ 1324400 w 2252546"/>
              <a:gd name="connsiteY45-6632" fmla="*/ 297204 h 1326995"/>
              <a:gd name="connsiteX46-6633" fmla="*/ 1324339 w 2252546"/>
              <a:gd name="connsiteY46-6634" fmla="*/ 422140 h 1326995"/>
              <a:gd name="connsiteX47-6635" fmla="*/ 1311312 w 2252546"/>
              <a:gd name="connsiteY47-6636" fmla="*/ 409571 h 1326995"/>
              <a:gd name="connsiteX48-6637" fmla="*/ 1240170 w 2252546"/>
              <a:gd name="connsiteY48-6638" fmla="*/ 390428 h 1326995"/>
              <a:gd name="connsiteX49-6639" fmla="*/ 1181596 w 2252546"/>
              <a:gd name="connsiteY49-6640" fmla="*/ 331657 h 1326995"/>
              <a:gd name="connsiteX50-6641" fmla="*/ 890352 w 2252546"/>
              <a:gd name="connsiteY50-6642" fmla="*/ 331657 h 1326995"/>
              <a:gd name="connsiteX51-6643" fmla="*/ 858705 w 2252546"/>
              <a:gd name="connsiteY51-6644" fmla="*/ 410969 h 1326995"/>
              <a:gd name="connsiteX52-6645" fmla="*/ 784495 w 2252546"/>
              <a:gd name="connsiteY52-6646" fmla="*/ 467479 h 1326995"/>
              <a:gd name="connsiteX53-6647" fmla="*/ 781088 w 2252546"/>
              <a:gd name="connsiteY53-6648" fmla="*/ 459105 h 1326995"/>
              <a:gd name="connsiteX54-6649" fmla="*/ 768152 w 2252546"/>
              <a:gd name="connsiteY54-6650" fmla="*/ 459105 h 1326995"/>
              <a:gd name="connsiteX55-6651" fmla="*/ 723189 w 2252546"/>
              <a:gd name="connsiteY55-6652" fmla="*/ 403695 h 1326995"/>
              <a:gd name="connsiteX0-6653" fmla="*/ 591015 w 2252546"/>
              <a:gd name="connsiteY0-6654" fmla="*/ 289932 h 1326995"/>
              <a:gd name="connsiteX1-6655" fmla="*/ 446049 w 2252546"/>
              <a:gd name="connsiteY1-6656" fmla="*/ 289932 h 1326995"/>
              <a:gd name="connsiteX2-6657" fmla="*/ 580147 w 2252546"/>
              <a:gd name="connsiteY2-6658" fmla="*/ 422905 h 1326995"/>
              <a:gd name="connsiteX3-6659" fmla="*/ 567212 w 2252546"/>
              <a:gd name="connsiteY3-6660" fmla="*/ 342501 h 1326995"/>
              <a:gd name="connsiteX4-6661" fmla="*/ 424915 w 2252546"/>
              <a:gd name="connsiteY4-6662" fmla="*/ 416936 h 1326995"/>
              <a:gd name="connsiteX5-6663" fmla="*/ 234176 w 2252546"/>
              <a:gd name="connsiteY5-6664" fmla="*/ 356839 h 1326995"/>
              <a:gd name="connsiteX6-6665" fmla="*/ 234176 w 2252546"/>
              <a:gd name="connsiteY6-6666" fmla="*/ 434897 h 1326995"/>
              <a:gd name="connsiteX7-6667" fmla="*/ 256478 w 2252546"/>
              <a:gd name="connsiteY7-6668" fmla="*/ 546410 h 1326995"/>
              <a:gd name="connsiteX8-6669" fmla="*/ 178419 w 2252546"/>
              <a:gd name="connsiteY8-6670" fmla="*/ 624468 h 1326995"/>
              <a:gd name="connsiteX9-6671" fmla="*/ 189571 w 2252546"/>
              <a:gd name="connsiteY9-6672" fmla="*/ 691376 h 1326995"/>
              <a:gd name="connsiteX10-6673" fmla="*/ 78058 w 2252546"/>
              <a:gd name="connsiteY10-6674" fmla="*/ 724829 h 1326995"/>
              <a:gd name="connsiteX11-6675" fmla="*/ 0 w 2252546"/>
              <a:gd name="connsiteY11-6676" fmla="*/ 802888 h 1326995"/>
              <a:gd name="connsiteX12-6677" fmla="*/ 100361 w 2252546"/>
              <a:gd name="connsiteY12-6678" fmla="*/ 947854 h 1326995"/>
              <a:gd name="connsiteX13-6679" fmla="*/ 89210 w 2252546"/>
              <a:gd name="connsiteY13-6680" fmla="*/ 1048215 h 1326995"/>
              <a:gd name="connsiteX14-6681" fmla="*/ 144966 w 2252546"/>
              <a:gd name="connsiteY14-6682" fmla="*/ 1070517 h 1326995"/>
              <a:gd name="connsiteX15-6683" fmla="*/ 156117 w 2252546"/>
              <a:gd name="connsiteY15-6684" fmla="*/ 981307 h 1326995"/>
              <a:gd name="connsiteX16-6685" fmla="*/ 267629 w 2252546"/>
              <a:gd name="connsiteY16-6686" fmla="*/ 1003610 h 1326995"/>
              <a:gd name="connsiteX17-6687" fmla="*/ 401444 w 2252546"/>
              <a:gd name="connsiteY17-6688" fmla="*/ 970156 h 1326995"/>
              <a:gd name="connsiteX18-6689" fmla="*/ 430542 w 2252546"/>
              <a:gd name="connsiteY18-6690" fmla="*/ 1007975 h 1326995"/>
              <a:gd name="connsiteX19-6691" fmla="*/ 479502 w 2252546"/>
              <a:gd name="connsiteY19-6692" fmla="*/ 1102878 h 1326995"/>
              <a:gd name="connsiteX20-6693" fmla="*/ 479502 w 2252546"/>
              <a:gd name="connsiteY20-6694" fmla="*/ 1282390 h 1326995"/>
              <a:gd name="connsiteX21-6695" fmla="*/ 669073 w 2252546"/>
              <a:gd name="connsiteY21-6696" fmla="*/ 1304693 h 1326995"/>
              <a:gd name="connsiteX22-6697" fmla="*/ 713678 w 2252546"/>
              <a:gd name="connsiteY22-6698" fmla="*/ 1326995 h 1326995"/>
              <a:gd name="connsiteX23-6699" fmla="*/ 970156 w 2252546"/>
              <a:gd name="connsiteY23-6700" fmla="*/ 1070517 h 1326995"/>
              <a:gd name="connsiteX24-6701" fmla="*/ 1315844 w 2252546"/>
              <a:gd name="connsiteY24-6702" fmla="*/ 959005 h 1326995"/>
              <a:gd name="connsiteX25-6703" fmla="*/ 1405054 w 2252546"/>
              <a:gd name="connsiteY25-6704" fmla="*/ 825190 h 1326995"/>
              <a:gd name="connsiteX26-6705" fmla="*/ 1326995 w 2252546"/>
              <a:gd name="connsiteY26-6706" fmla="*/ 769434 h 1326995"/>
              <a:gd name="connsiteX27-6707" fmla="*/ 1371600 w 2252546"/>
              <a:gd name="connsiteY27-6708" fmla="*/ 669073 h 1326995"/>
              <a:gd name="connsiteX28-6709" fmla="*/ 1650380 w 2252546"/>
              <a:gd name="connsiteY28-6710" fmla="*/ 568712 h 1326995"/>
              <a:gd name="connsiteX29-6711" fmla="*/ 1650380 w 2252546"/>
              <a:gd name="connsiteY29-6712" fmla="*/ 512956 h 1326995"/>
              <a:gd name="connsiteX30-6713" fmla="*/ 1806497 w 2252546"/>
              <a:gd name="connsiteY30-6714" fmla="*/ 479502 h 1326995"/>
              <a:gd name="connsiteX31-6715" fmla="*/ 1839951 w 2252546"/>
              <a:gd name="connsiteY31-6716" fmla="*/ 501805 h 1326995"/>
              <a:gd name="connsiteX32-6717" fmla="*/ 1929161 w 2252546"/>
              <a:gd name="connsiteY32-6718" fmla="*/ 468351 h 1326995"/>
              <a:gd name="connsiteX33-6719" fmla="*/ 2241395 w 2252546"/>
              <a:gd name="connsiteY33-6720" fmla="*/ 512956 h 1326995"/>
              <a:gd name="connsiteX34-6721" fmla="*/ 2174488 w 2252546"/>
              <a:gd name="connsiteY34-6722" fmla="*/ 401444 h 1326995"/>
              <a:gd name="connsiteX35-6723" fmla="*/ 2252546 w 2252546"/>
              <a:gd name="connsiteY35-6724" fmla="*/ 356839 h 1326995"/>
              <a:gd name="connsiteX36-6725" fmla="*/ 2062976 w 2252546"/>
              <a:gd name="connsiteY36-6726" fmla="*/ 234176 h 1326995"/>
              <a:gd name="connsiteX37-6727" fmla="*/ 2062976 w 2252546"/>
              <a:gd name="connsiteY37-6728" fmla="*/ 234176 h 1326995"/>
              <a:gd name="connsiteX38-6729" fmla="*/ 2085278 w 2252546"/>
              <a:gd name="connsiteY38-6730" fmla="*/ 211873 h 1326995"/>
              <a:gd name="connsiteX39-6731" fmla="*/ 2040673 w 2252546"/>
              <a:gd name="connsiteY39-6732" fmla="*/ 111512 h 1326995"/>
              <a:gd name="connsiteX40-6733" fmla="*/ 2029522 w 2252546"/>
              <a:gd name="connsiteY40-6734" fmla="*/ 0 h 1326995"/>
              <a:gd name="connsiteX41-6735" fmla="*/ 1862254 w 2252546"/>
              <a:gd name="connsiteY41-6736" fmla="*/ 22302 h 1326995"/>
              <a:gd name="connsiteX42-6737" fmla="*/ 1661532 w 2252546"/>
              <a:gd name="connsiteY42-6738" fmla="*/ 0 h 1326995"/>
              <a:gd name="connsiteX43-6739" fmla="*/ 1572322 w 2252546"/>
              <a:gd name="connsiteY43-6740" fmla="*/ 78058 h 1326995"/>
              <a:gd name="connsiteX44-6741" fmla="*/ 1506189 w 2252546"/>
              <a:gd name="connsiteY44-6742" fmla="*/ 296790 h 1326995"/>
              <a:gd name="connsiteX45-6743" fmla="*/ 1433671 w 2252546"/>
              <a:gd name="connsiteY45-6744" fmla="*/ 234192 h 1326995"/>
              <a:gd name="connsiteX46-6745" fmla="*/ 1324400 w 2252546"/>
              <a:gd name="connsiteY46-6746" fmla="*/ 297204 h 1326995"/>
              <a:gd name="connsiteX47-6747" fmla="*/ 1324339 w 2252546"/>
              <a:gd name="connsiteY47-6748" fmla="*/ 422140 h 1326995"/>
              <a:gd name="connsiteX48-6749" fmla="*/ 1311312 w 2252546"/>
              <a:gd name="connsiteY48-6750" fmla="*/ 409571 h 1326995"/>
              <a:gd name="connsiteX49-6751" fmla="*/ 1240170 w 2252546"/>
              <a:gd name="connsiteY49-6752" fmla="*/ 390428 h 1326995"/>
              <a:gd name="connsiteX50-6753" fmla="*/ 1181596 w 2252546"/>
              <a:gd name="connsiteY50-6754" fmla="*/ 331657 h 1326995"/>
              <a:gd name="connsiteX51-6755" fmla="*/ 890352 w 2252546"/>
              <a:gd name="connsiteY51-6756" fmla="*/ 331657 h 1326995"/>
              <a:gd name="connsiteX52-6757" fmla="*/ 858705 w 2252546"/>
              <a:gd name="connsiteY52-6758" fmla="*/ 410969 h 1326995"/>
              <a:gd name="connsiteX53-6759" fmla="*/ 784495 w 2252546"/>
              <a:gd name="connsiteY53-6760" fmla="*/ 467479 h 1326995"/>
              <a:gd name="connsiteX54-6761" fmla="*/ 781088 w 2252546"/>
              <a:gd name="connsiteY54-6762" fmla="*/ 459105 h 1326995"/>
              <a:gd name="connsiteX55-6763" fmla="*/ 768152 w 2252546"/>
              <a:gd name="connsiteY55-6764" fmla="*/ 459105 h 1326995"/>
              <a:gd name="connsiteX56-6765" fmla="*/ 723189 w 2252546"/>
              <a:gd name="connsiteY56-6766" fmla="*/ 403695 h 1326995"/>
              <a:gd name="connsiteX0-6767" fmla="*/ 591015 w 2252546"/>
              <a:gd name="connsiteY0-6768" fmla="*/ 289932 h 1326995"/>
              <a:gd name="connsiteX1-6769" fmla="*/ 446049 w 2252546"/>
              <a:gd name="connsiteY1-6770" fmla="*/ 289932 h 1326995"/>
              <a:gd name="connsiteX2-6771" fmla="*/ 580147 w 2252546"/>
              <a:gd name="connsiteY2-6772" fmla="*/ 422905 h 1326995"/>
              <a:gd name="connsiteX3-6773" fmla="*/ 567212 w 2252546"/>
              <a:gd name="connsiteY3-6774" fmla="*/ 342501 h 1326995"/>
              <a:gd name="connsiteX4-6775" fmla="*/ 424915 w 2252546"/>
              <a:gd name="connsiteY4-6776" fmla="*/ 416936 h 1326995"/>
              <a:gd name="connsiteX5-6777" fmla="*/ 234176 w 2252546"/>
              <a:gd name="connsiteY5-6778" fmla="*/ 356839 h 1326995"/>
              <a:gd name="connsiteX6-6779" fmla="*/ 234176 w 2252546"/>
              <a:gd name="connsiteY6-6780" fmla="*/ 434897 h 1326995"/>
              <a:gd name="connsiteX7-6781" fmla="*/ 256478 w 2252546"/>
              <a:gd name="connsiteY7-6782" fmla="*/ 546410 h 1326995"/>
              <a:gd name="connsiteX8-6783" fmla="*/ 178419 w 2252546"/>
              <a:gd name="connsiteY8-6784" fmla="*/ 624468 h 1326995"/>
              <a:gd name="connsiteX9-6785" fmla="*/ 189571 w 2252546"/>
              <a:gd name="connsiteY9-6786" fmla="*/ 691376 h 1326995"/>
              <a:gd name="connsiteX10-6787" fmla="*/ 78058 w 2252546"/>
              <a:gd name="connsiteY10-6788" fmla="*/ 724829 h 1326995"/>
              <a:gd name="connsiteX11-6789" fmla="*/ 0 w 2252546"/>
              <a:gd name="connsiteY11-6790" fmla="*/ 802888 h 1326995"/>
              <a:gd name="connsiteX12-6791" fmla="*/ 100361 w 2252546"/>
              <a:gd name="connsiteY12-6792" fmla="*/ 947854 h 1326995"/>
              <a:gd name="connsiteX13-6793" fmla="*/ 89210 w 2252546"/>
              <a:gd name="connsiteY13-6794" fmla="*/ 1048215 h 1326995"/>
              <a:gd name="connsiteX14-6795" fmla="*/ 144966 w 2252546"/>
              <a:gd name="connsiteY14-6796" fmla="*/ 1070517 h 1326995"/>
              <a:gd name="connsiteX15-6797" fmla="*/ 156117 w 2252546"/>
              <a:gd name="connsiteY15-6798" fmla="*/ 981307 h 1326995"/>
              <a:gd name="connsiteX16-6799" fmla="*/ 267629 w 2252546"/>
              <a:gd name="connsiteY16-6800" fmla="*/ 1003610 h 1326995"/>
              <a:gd name="connsiteX17-6801" fmla="*/ 384301 w 2252546"/>
              <a:gd name="connsiteY17-6802" fmla="*/ 981581 h 1326995"/>
              <a:gd name="connsiteX18-6803" fmla="*/ 430542 w 2252546"/>
              <a:gd name="connsiteY18-6804" fmla="*/ 1007975 h 1326995"/>
              <a:gd name="connsiteX19-6805" fmla="*/ 479502 w 2252546"/>
              <a:gd name="connsiteY19-6806" fmla="*/ 1102878 h 1326995"/>
              <a:gd name="connsiteX20-6807" fmla="*/ 479502 w 2252546"/>
              <a:gd name="connsiteY20-6808" fmla="*/ 1282390 h 1326995"/>
              <a:gd name="connsiteX21-6809" fmla="*/ 669073 w 2252546"/>
              <a:gd name="connsiteY21-6810" fmla="*/ 1304693 h 1326995"/>
              <a:gd name="connsiteX22-6811" fmla="*/ 713678 w 2252546"/>
              <a:gd name="connsiteY22-6812" fmla="*/ 1326995 h 1326995"/>
              <a:gd name="connsiteX23-6813" fmla="*/ 970156 w 2252546"/>
              <a:gd name="connsiteY23-6814" fmla="*/ 1070517 h 1326995"/>
              <a:gd name="connsiteX24-6815" fmla="*/ 1315844 w 2252546"/>
              <a:gd name="connsiteY24-6816" fmla="*/ 959005 h 1326995"/>
              <a:gd name="connsiteX25-6817" fmla="*/ 1405054 w 2252546"/>
              <a:gd name="connsiteY25-6818" fmla="*/ 825190 h 1326995"/>
              <a:gd name="connsiteX26-6819" fmla="*/ 1326995 w 2252546"/>
              <a:gd name="connsiteY26-6820" fmla="*/ 769434 h 1326995"/>
              <a:gd name="connsiteX27-6821" fmla="*/ 1371600 w 2252546"/>
              <a:gd name="connsiteY27-6822" fmla="*/ 669073 h 1326995"/>
              <a:gd name="connsiteX28-6823" fmla="*/ 1650380 w 2252546"/>
              <a:gd name="connsiteY28-6824" fmla="*/ 568712 h 1326995"/>
              <a:gd name="connsiteX29-6825" fmla="*/ 1650380 w 2252546"/>
              <a:gd name="connsiteY29-6826" fmla="*/ 512956 h 1326995"/>
              <a:gd name="connsiteX30-6827" fmla="*/ 1806497 w 2252546"/>
              <a:gd name="connsiteY30-6828" fmla="*/ 479502 h 1326995"/>
              <a:gd name="connsiteX31-6829" fmla="*/ 1839951 w 2252546"/>
              <a:gd name="connsiteY31-6830" fmla="*/ 501805 h 1326995"/>
              <a:gd name="connsiteX32-6831" fmla="*/ 1929161 w 2252546"/>
              <a:gd name="connsiteY32-6832" fmla="*/ 468351 h 1326995"/>
              <a:gd name="connsiteX33-6833" fmla="*/ 2241395 w 2252546"/>
              <a:gd name="connsiteY33-6834" fmla="*/ 512956 h 1326995"/>
              <a:gd name="connsiteX34-6835" fmla="*/ 2174488 w 2252546"/>
              <a:gd name="connsiteY34-6836" fmla="*/ 401444 h 1326995"/>
              <a:gd name="connsiteX35-6837" fmla="*/ 2252546 w 2252546"/>
              <a:gd name="connsiteY35-6838" fmla="*/ 356839 h 1326995"/>
              <a:gd name="connsiteX36-6839" fmla="*/ 2062976 w 2252546"/>
              <a:gd name="connsiteY36-6840" fmla="*/ 234176 h 1326995"/>
              <a:gd name="connsiteX37-6841" fmla="*/ 2062976 w 2252546"/>
              <a:gd name="connsiteY37-6842" fmla="*/ 234176 h 1326995"/>
              <a:gd name="connsiteX38-6843" fmla="*/ 2085278 w 2252546"/>
              <a:gd name="connsiteY38-6844" fmla="*/ 211873 h 1326995"/>
              <a:gd name="connsiteX39-6845" fmla="*/ 2040673 w 2252546"/>
              <a:gd name="connsiteY39-6846" fmla="*/ 111512 h 1326995"/>
              <a:gd name="connsiteX40-6847" fmla="*/ 2029522 w 2252546"/>
              <a:gd name="connsiteY40-6848" fmla="*/ 0 h 1326995"/>
              <a:gd name="connsiteX41-6849" fmla="*/ 1862254 w 2252546"/>
              <a:gd name="connsiteY41-6850" fmla="*/ 22302 h 1326995"/>
              <a:gd name="connsiteX42-6851" fmla="*/ 1661532 w 2252546"/>
              <a:gd name="connsiteY42-6852" fmla="*/ 0 h 1326995"/>
              <a:gd name="connsiteX43-6853" fmla="*/ 1572322 w 2252546"/>
              <a:gd name="connsiteY43-6854" fmla="*/ 78058 h 1326995"/>
              <a:gd name="connsiteX44-6855" fmla="*/ 1506189 w 2252546"/>
              <a:gd name="connsiteY44-6856" fmla="*/ 296790 h 1326995"/>
              <a:gd name="connsiteX45-6857" fmla="*/ 1433671 w 2252546"/>
              <a:gd name="connsiteY45-6858" fmla="*/ 234192 h 1326995"/>
              <a:gd name="connsiteX46-6859" fmla="*/ 1324400 w 2252546"/>
              <a:gd name="connsiteY46-6860" fmla="*/ 297204 h 1326995"/>
              <a:gd name="connsiteX47-6861" fmla="*/ 1324339 w 2252546"/>
              <a:gd name="connsiteY47-6862" fmla="*/ 422140 h 1326995"/>
              <a:gd name="connsiteX48-6863" fmla="*/ 1311312 w 2252546"/>
              <a:gd name="connsiteY48-6864" fmla="*/ 409571 h 1326995"/>
              <a:gd name="connsiteX49-6865" fmla="*/ 1240170 w 2252546"/>
              <a:gd name="connsiteY49-6866" fmla="*/ 390428 h 1326995"/>
              <a:gd name="connsiteX50-6867" fmla="*/ 1181596 w 2252546"/>
              <a:gd name="connsiteY50-6868" fmla="*/ 331657 h 1326995"/>
              <a:gd name="connsiteX51-6869" fmla="*/ 890352 w 2252546"/>
              <a:gd name="connsiteY51-6870" fmla="*/ 331657 h 1326995"/>
              <a:gd name="connsiteX52-6871" fmla="*/ 858705 w 2252546"/>
              <a:gd name="connsiteY52-6872" fmla="*/ 410969 h 1326995"/>
              <a:gd name="connsiteX53-6873" fmla="*/ 784495 w 2252546"/>
              <a:gd name="connsiteY53-6874" fmla="*/ 467479 h 1326995"/>
              <a:gd name="connsiteX54-6875" fmla="*/ 781088 w 2252546"/>
              <a:gd name="connsiteY54-6876" fmla="*/ 459105 h 1326995"/>
              <a:gd name="connsiteX55-6877" fmla="*/ 768152 w 2252546"/>
              <a:gd name="connsiteY55-6878" fmla="*/ 459105 h 1326995"/>
              <a:gd name="connsiteX56-6879" fmla="*/ 723189 w 2252546"/>
              <a:gd name="connsiteY56-6880" fmla="*/ 403695 h 1326995"/>
              <a:gd name="connsiteX0-6881" fmla="*/ 591015 w 2252546"/>
              <a:gd name="connsiteY0-6882" fmla="*/ 289932 h 1326995"/>
              <a:gd name="connsiteX1-6883" fmla="*/ 446049 w 2252546"/>
              <a:gd name="connsiteY1-6884" fmla="*/ 289932 h 1326995"/>
              <a:gd name="connsiteX2-6885" fmla="*/ 580147 w 2252546"/>
              <a:gd name="connsiteY2-6886" fmla="*/ 422905 h 1326995"/>
              <a:gd name="connsiteX3-6887" fmla="*/ 567212 w 2252546"/>
              <a:gd name="connsiteY3-6888" fmla="*/ 342501 h 1326995"/>
              <a:gd name="connsiteX4-6889" fmla="*/ 424915 w 2252546"/>
              <a:gd name="connsiteY4-6890" fmla="*/ 416936 h 1326995"/>
              <a:gd name="connsiteX5-6891" fmla="*/ 234176 w 2252546"/>
              <a:gd name="connsiteY5-6892" fmla="*/ 356839 h 1326995"/>
              <a:gd name="connsiteX6-6893" fmla="*/ 234176 w 2252546"/>
              <a:gd name="connsiteY6-6894" fmla="*/ 434897 h 1326995"/>
              <a:gd name="connsiteX7-6895" fmla="*/ 256478 w 2252546"/>
              <a:gd name="connsiteY7-6896" fmla="*/ 546410 h 1326995"/>
              <a:gd name="connsiteX8-6897" fmla="*/ 178419 w 2252546"/>
              <a:gd name="connsiteY8-6898" fmla="*/ 624468 h 1326995"/>
              <a:gd name="connsiteX9-6899" fmla="*/ 189571 w 2252546"/>
              <a:gd name="connsiteY9-6900" fmla="*/ 691376 h 1326995"/>
              <a:gd name="connsiteX10-6901" fmla="*/ 78058 w 2252546"/>
              <a:gd name="connsiteY10-6902" fmla="*/ 724829 h 1326995"/>
              <a:gd name="connsiteX11-6903" fmla="*/ 0 w 2252546"/>
              <a:gd name="connsiteY11-6904" fmla="*/ 802888 h 1326995"/>
              <a:gd name="connsiteX12-6905" fmla="*/ 100361 w 2252546"/>
              <a:gd name="connsiteY12-6906" fmla="*/ 947854 h 1326995"/>
              <a:gd name="connsiteX13-6907" fmla="*/ 89210 w 2252546"/>
              <a:gd name="connsiteY13-6908" fmla="*/ 1048215 h 1326995"/>
              <a:gd name="connsiteX14-6909" fmla="*/ 144966 w 2252546"/>
              <a:gd name="connsiteY14-6910" fmla="*/ 1070517 h 1326995"/>
              <a:gd name="connsiteX15-6911" fmla="*/ 156117 w 2252546"/>
              <a:gd name="connsiteY15-6912" fmla="*/ 981307 h 1326995"/>
              <a:gd name="connsiteX16-6913" fmla="*/ 267629 w 2252546"/>
              <a:gd name="connsiteY16-6914" fmla="*/ 1003610 h 1326995"/>
              <a:gd name="connsiteX17-6915" fmla="*/ 384301 w 2252546"/>
              <a:gd name="connsiteY17-6916" fmla="*/ 981581 h 1326995"/>
              <a:gd name="connsiteX18-6917" fmla="*/ 341966 w 2252546"/>
              <a:gd name="connsiteY18-6918" fmla="*/ 993694 h 1326995"/>
              <a:gd name="connsiteX19-6919" fmla="*/ 430542 w 2252546"/>
              <a:gd name="connsiteY19-6920" fmla="*/ 1007975 h 1326995"/>
              <a:gd name="connsiteX20-6921" fmla="*/ 479502 w 2252546"/>
              <a:gd name="connsiteY20-6922" fmla="*/ 1102878 h 1326995"/>
              <a:gd name="connsiteX21-6923" fmla="*/ 479502 w 2252546"/>
              <a:gd name="connsiteY21-6924" fmla="*/ 1282390 h 1326995"/>
              <a:gd name="connsiteX22-6925" fmla="*/ 669073 w 2252546"/>
              <a:gd name="connsiteY22-6926" fmla="*/ 1304693 h 1326995"/>
              <a:gd name="connsiteX23-6927" fmla="*/ 713678 w 2252546"/>
              <a:gd name="connsiteY23-6928" fmla="*/ 1326995 h 1326995"/>
              <a:gd name="connsiteX24-6929" fmla="*/ 970156 w 2252546"/>
              <a:gd name="connsiteY24-6930" fmla="*/ 1070517 h 1326995"/>
              <a:gd name="connsiteX25-6931" fmla="*/ 1315844 w 2252546"/>
              <a:gd name="connsiteY25-6932" fmla="*/ 959005 h 1326995"/>
              <a:gd name="connsiteX26-6933" fmla="*/ 1405054 w 2252546"/>
              <a:gd name="connsiteY26-6934" fmla="*/ 825190 h 1326995"/>
              <a:gd name="connsiteX27-6935" fmla="*/ 1326995 w 2252546"/>
              <a:gd name="connsiteY27-6936" fmla="*/ 769434 h 1326995"/>
              <a:gd name="connsiteX28-6937" fmla="*/ 1371600 w 2252546"/>
              <a:gd name="connsiteY28-6938" fmla="*/ 669073 h 1326995"/>
              <a:gd name="connsiteX29-6939" fmla="*/ 1650380 w 2252546"/>
              <a:gd name="connsiteY29-6940" fmla="*/ 568712 h 1326995"/>
              <a:gd name="connsiteX30-6941" fmla="*/ 1650380 w 2252546"/>
              <a:gd name="connsiteY30-6942" fmla="*/ 512956 h 1326995"/>
              <a:gd name="connsiteX31-6943" fmla="*/ 1806497 w 2252546"/>
              <a:gd name="connsiteY31-6944" fmla="*/ 479502 h 1326995"/>
              <a:gd name="connsiteX32-6945" fmla="*/ 1839951 w 2252546"/>
              <a:gd name="connsiteY32-6946" fmla="*/ 501805 h 1326995"/>
              <a:gd name="connsiteX33-6947" fmla="*/ 1929161 w 2252546"/>
              <a:gd name="connsiteY33-6948" fmla="*/ 468351 h 1326995"/>
              <a:gd name="connsiteX34-6949" fmla="*/ 2241395 w 2252546"/>
              <a:gd name="connsiteY34-6950" fmla="*/ 512956 h 1326995"/>
              <a:gd name="connsiteX35-6951" fmla="*/ 2174488 w 2252546"/>
              <a:gd name="connsiteY35-6952" fmla="*/ 401444 h 1326995"/>
              <a:gd name="connsiteX36-6953" fmla="*/ 2252546 w 2252546"/>
              <a:gd name="connsiteY36-6954" fmla="*/ 356839 h 1326995"/>
              <a:gd name="connsiteX37-6955" fmla="*/ 2062976 w 2252546"/>
              <a:gd name="connsiteY37-6956" fmla="*/ 234176 h 1326995"/>
              <a:gd name="connsiteX38-6957" fmla="*/ 2062976 w 2252546"/>
              <a:gd name="connsiteY38-6958" fmla="*/ 234176 h 1326995"/>
              <a:gd name="connsiteX39-6959" fmla="*/ 2085278 w 2252546"/>
              <a:gd name="connsiteY39-6960" fmla="*/ 211873 h 1326995"/>
              <a:gd name="connsiteX40-6961" fmla="*/ 2040673 w 2252546"/>
              <a:gd name="connsiteY40-6962" fmla="*/ 111512 h 1326995"/>
              <a:gd name="connsiteX41-6963" fmla="*/ 2029522 w 2252546"/>
              <a:gd name="connsiteY41-6964" fmla="*/ 0 h 1326995"/>
              <a:gd name="connsiteX42-6965" fmla="*/ 1862254 w 2252546"/>
              <a:gd name="connsiteY42-6966" fmla="*/ 22302 h 1326995"/>
              <a:gd name="connsiteX43-6967" fmla="*/ 1661532 w 2252546"/>
              <a:gd name="connsiteY43-6968" fmla="*/ 0 h 1326995"/>
              <a:gd name="connsiteX44-6969" fmla="*/ 1572322 w 2252546"/>
              <a:gd name="connsiteY44-6970" fmla="*/ 78058 h 1326995"/>
              <a:gd name="connsiteX45-6971" fmla="*/ 1506189 w 2252546"/>
              <a:gd name="connsiteY45-6972" fmla="*/ 296790 h 1326995"/>
              <a:gd name="connsiteX46-6973" fmla="*/ 1433671 w 2252546"/>
              <a:gd name="connsiteY46-6974" fmla="*/ 234192 h 1326995"/>
              <a:gd name="connsiteX47-6975" fmla="*/ 1324400 w 2252546"/>
              <a:gd name="connsiteY47-6976" fmla="*/ 297204 h 1326995"/>
              <a:gd name="connsiteX48-6977" fmla="*/ 1324339 w 2252546"/>
              <a:gd name="connsiteY48-6978" fmla="*/ 422140 h 1326995"/>
              <a:gd name="connsiteX49-6979" fmla="*/ 1311312 w 2252546"/>
              <a:gd name="connsiteY49-6980" fmla="*/ 409571 h 1326995"/>
              <a:gd name="connsiteX50-6981" fmla="*/ 1240170 w 2252546"/>
              <a:gd name="connsiteY50-6982" fmla="*/ 390428 h 1326995"/>
              <a:gd name="connsiteX51-6983" fmla="*/ 1181596 w 2252546"/>
              <a:gd name="connsiteY51-6984" fmla="*/ 331657 h 1326995"/>
              <a:gd name="connsiteX52-6985" fmla="*/ 890352 w 2252546"/>
              <a:gd name="connsiteY52-6986" fmla="*/ 331657 h 1326995"/>
              <a:gd name="connsiteX53-6987" fmla="*/ 858705 w 2252546"/>
              <a:gd name="connsiteY53-6988" fmla="*/ 410969 h 1326995"/>
              <a:gd name="connsiteX54-6989" fmla="*/ 784495 w 2252546"/>
              <a:gd name="connsiteY54-6990" fmla="*/ 467479 h 1326995"/>
              <a:gd name="connsiteX55-6991" fmla="*/ 781088 w 2252546"/>
              <a:gd name="connsiteY55-6992" fmla="*/ 459105 h 1326995"/>
              <a:gd name="connsiteX56-6993" fmla="*/ 768152 w 2252546"/>
              <a:gd name="connsiteY56-6994" fmla="*/ 459105 h 1326995"/>
              <a:gd name="connsiteX57-6995" fmla="*/ 723189 w 2252546"/>
              <a:gd name="connsiteY57-6996" fmla="*/ 403695 h 1326995"/>
              <a:gd name="connsiteX0-6997" fmla="*/ 591015 w 2252546"/>
              <a:gd name="connsiteY0-6998" fmla="*/ 289932 h 1326995"/>
              <a:gd name="connsiteX1-6999" fmla="*/ 446049 w 2252546"/>
              <a:gd name="connsiteY1-7000" fmla="*/ 289932 h 1326995"/>
              <a:gd name="connsiteX2-7001" fmla="*/ 580147 w 2252546"/>
              <a:gd name="connsiteY2-7002" fmla="*/ 422905 h 1326995"/>
              <a:gd name="connsiteX3-7003" fmla="*/ 567212 w 2252546"/>
              <a:gd name="connsiteY3-7004" fmla="*/ 342501 h 1326995"/>
              <a:gd name="connsiteX4-7005" fmla="*/ 424915 w 2252546"/>
              <a:gd name="connsiteY4-7006" fmla="*/ 416936 h 1326995"/>
              <a:gd name="connsiteX5-7007" fmla="*/ 234176 w 2252546"/>
              <a:gd name="connsiteY5-7008" fmla="*/ 356839 h 1326995"/>
              <a:gd name="connsiteX6-7009" fmla="*/ 234176 w 2252546"/>
              <a:gd name="connsiteY6-7010" fmla="*/ 434897 h 1326995"/>
              <a:gd name="connsiteX7-7011" fmla="*/ 256478 w 2252546"/>
              <a:gd name="connsiteY7-7012" fmla="*/ 546410 h 1326995"/>
              <a:gd name="connsiteX8-7013" fmla="*/ 178419 w 2252546"/>
              <a:gd name="connsiteY8-7014" fmla="*/ 624468 h 1326995"/>
              <a:gd name="connsiteX9-7015" fmla="*/ 189571 w 2252546"/>
              <a:gd name="connsiteY9-7016" fmla="*/ 691376 h 1326995"/>
              <a:gd name="connsiteX10-7017" fmla="*/ 78058 w 2252546"/>
              <a:gd name="connsiteY10-7018" fmla="*/ 724829 h 1326995"/>
              <a:gd name="connsiteX11-7019" fmla="*/ 0 w 2252546"/>
              <a:gd name="connsiteY11-7020" fmla="*/ 802888 h 1326995"/>
              <a:gd name="connsiteX12-7021" fmla="*/ 100361 w 2252546"/>
              <a:gd name="connsiteY12-7022" fmla="*/ 947854 h 1326995"/>
              <a:gd name="connsiteX13-7023" fmla="*/ 89210 w 2252546"/>
              <a:gd name="connsiteY13-7024" fmla="*/ 1048215 h 1326995"/>
              <a:gd name="connsiteX14-7025" fmla="*/ 144966 w 2252546"/>
              <a:gd name="connsiteY14-7026" fmla="*/ 1070517 h 1326995"/>
              <a:gd name="connsiteX15-7027" fmla="*/ 156117 w 2252546"/>
              <a:gd name="connsiteY15-7028" fmla="*/ 981307 h 1326995"/>
              <a:gd name="connsiteX16-7029" fmla="*/ 267629 w 2252546"/>
              <a:gd name="connsiteY16-7030" fmla="*/ 1003610 h 1326995"/>
              <a:gd name="connsiteX17-7031" fmla="*/ 384301 w 2252546"/>
              <a:gd name="connsiteY17-7032" fmla="*/ 981581 h 1326995"/>
              <a:gd name="connsiteX18-7033" fmla="*/ 364824 w 2252546"/>
              <a:gd name="connsiteY18-7034" fmla="*/ 1013687 h 1326995"/>
              <a:gd name="connsiteX19-7035" fmla="*/ 430542 w 2252546"/>
              <a:gd name="connsiteY19-7036" fmla="*/ 1007975 h 1326995"/>
              <a:gd name="connsiteX20-7037" fmla="*/ 479502 w 2252546"/>
              <a:gd name="connsiteY20-7038" fmla="*/ 1102878 h 1326995"/>
              <a:gd name="connsiteX21-7039" fmla="*/ 479502 w 2252546"/>
              <a:gd name="connsiteY21-7040" fmla="*/ 1282390 h 1326995"/>
              <a:gd name="connsiteX22-7041" fmla="*/ 669073 w 2252546"/>
              <a:gd name="connsiteY22-7042" fmla="*/ 1304693 h 1326995"/>
              <a:gd name="connsiteX23-7043" fmla="*/ 713678 w 2252546"/>
              <a:gd name="connsiteY23-7044" fmla="*/ 1326995 h 1326995"/>
              <a:gd name="connsiteX24-7045" fmla="*/ 970156 w 2252546"/>
              <a:gd name="connsiteY24-7046" fmla="*/ 1070517 h 1326995"/>
              <a:gd name="connsiteX25-7047" fmla="*/ 1315844 w 2252546"/>
              <a:gd name="connsiteY25-7048" fmla="*/ 959005 h 1326995"/>
              <a:gd name="connsiteX26-7049" fmla="*/ 1405054 w 2252546"/>
              <a:gd name="connsiteY26-7050" fmla="*/ 825190 h 1326995"/>
              <a:gd name="connsiteX27-7051" fmla="*/ 1326995 w 2252546"/>
              <a:gd name="connsiteY27-7052" fmla="*/ 769434 h 1326995"/>
              <a:gd name="connsiteX28-7053" fmla="*/ 1371600 w 2252546"/>
              <a:gd name="connsiteY28-7054" fmla="*/ 669073 h 1326995"/>
              <a:gd name="connsiteX29-7055" fmla="*/ 1650380 w 2252546"/>
              <a:gd name="connsiteY29-7056" fmla="*/ 568712 h 1326995"/>
              <a:gd name="connsiteX30-7057" fmla="*/ 1650380 w 2252546"/>
              <a:gd name="connsiteY30-7058" fmla="*/ 512956 h 1326995"/>
              <a:gd name="connsiteX31-7059" fmla="*/ 1806497 w 2252546"/>
              <a:gd name="connsiteY31-7060" fmla="*/ 479502 h 1326995"/>
              <a:gd name="connsiteX32-7061" fmla="*/ 1839951 w 2252546"/>
              <a:gd name="connsiteY32-7062" fmla="*/ 501805 h 1326995"/>
              <a:gd name="connsiteX33-7063" fmla="*/ 1929161 w 2252546"/>
              <a:gd name="connsiteY33-7064" fmla="*/ 468351 h 1326995"/>
              <a:gd name="connsiteX34-7065" fmla="*/ 2241395 w 2252546"/>
              <a:gd name="connsiteY34-7066" fmla="*/ 512956 h 1326995"/>
              <a:gd name="connsiteX35-7067" fmla="*/ 2174488 w 2252546"/>
              <a:gd name="connsiteY35-7068" fmla="*/ 401444 h 1326995"/>
              <a:gd name="connsiteX36-7069" fmla="*/ 2252546 w 2252546"/>
              <a:gd name="connsiteY36-7070" fmla="*/ 356839 h 1326995"/>
              <a:gd name="connsiteX37-7071" fmla="*/ 2062976 w 2252546"/>
              <a:gd name="connsiteY37-7072" fmla="*/ 234176 h 1326995"/>
              <a:gd name="connsiteX38-7073" fmla="*/ 2062976 w 2252546"/>
              <a:gd name="connsiteY38-7074" fmla="*/ 234176 h 1326995"/>
              <a:gd name="connsiteX39-7075" fmla="*/ 2085278 w 2252546"/>
              <a:gd name="connsiteY39-7076" fmla="*/ 211873 h 1326995"/>
              <a:gd name="connsiteX40-7077" fmla="*/ 2040673 w 2252546"/>
              <a:gd name="connsiteY40-7078" fmla="*/ 111512 h 1326995"/>
              <a:gd name="connsiteX41-7079" fmla="*/ 2029522 w 2252546"/>
              <a:gd name="connsiteY41-7080" fmla="*/ 0 h 1326995"/>
              <a:gd name="connsiteX42-7081" fmla="*/ 1862254 w 2252546"/>
              <a:gd name="connsiteY42-7082" fmla="*/ 22302 h 1326995"/>
              <a:gd name="connsiteX43-7083" fmla="*/ 1661532 w 2252546"/>
              <a:gd name="connsiteY43-7084" fmla="*/ 0 h 1326995"/>
              <a:gd name="connsiteX44-7085" fmla="*/ 1572322 w 2252546"/>
              <a:gd name="connsiteY44-7086" fmla="*/ 78058 h 1326995"/>
              <a:gd name="connsiteX45-7087" fmla="*/ 1506189 w 2252546"/>
              <a:gd name="connsiteY45-7088" fmla="*/ 296790 h 1326995"/>
              <a:gd name="connsiteX46-7089" fmla="*/ 1433671 w 2252546"/>
              <a:gd name="connsiteY46-7090" fmla="*/ 234192 h 1326995"/>
              <a:gd name="connsiteX47-7091" fmla="*/ 1324400 w 2252546"/>
              <a:gd name="connsiteY47-7092" fmla="*/ 297204 h 1326995"/>
              <a:gd name="connsiteX48-7093" fmla="*/ 1324339 w 2252546"/>
              <a:gd name="connsiteY48-7094" fmla="*/ 422140 h 1326995"/>
              <a:gd name="connsiteX49-7095" fmla="*/ 1311312 w 2252546"/>
              <a:gd name="connsiteY49-7096" fmla="*/ 409571 h 1326995"/>
              <a:gd name="connsiteX50-7097" fmla="*/ 1240170 w 2252546"/>
              <a:gd name="connsiteY50-7098" fmla="*/ 390428 h 1326995"/>
              <a:gd name="connsiteX51-7099" fmla="*/ 1181596 w 2252546"/>
              <a:gd name="connsiteY51-7100" fmla="*/ 331657 h 1326995"/>
              <a:gd name="connsiteX52-7101" fmla="*/ 890352 w 2252546"/>
              <a:gd name="connsiteY52-7102" fmla="*/ 331657 h 1326995"/>
              <a:gd name="connsiteX53-7103" fmla="*/ 858705 w 2252546"/>
              <a:gd name="connsiteY53-7104" fmla="*/ 410969 h 1326995"/>
              <a:gd name="connsiteX54-7105" fmla="*/ 784495 w 2252546"/>
              <a:gd name="connsiteY54-7106" fmla="*/ 467479 h 1326995"/>
              <a:gd name="connsiteX55-7107" fmla="*/ 781088 w 2252546"/>
              <a:gd name="connsiteY55-7108" fmla="*/ 459105 h 1326995"/>
              <a:gd name="connsiteX56-7109" fmla="*/ 768152 w 2252546"/>
              <a:gd name="connsiteY56-7110" fmla="*/ 459105 h 1326995"/>
              <a:gd name="connsiteX57-7111" fmla="*/ 723189 w 2252546"/>
              <a:gd name="connsiteY57-7112" fmla="*/ 403695 h 1326995"/>
              <a:gd name="connsiteX0-7113" fmla="*/ 591015 w 2252546"/>
              <a:gd name="connsiteY0-7114" fmla="*/ 289932 h 1326995"/>
              <a:gd name="connsiteX1-7115" fmla="*/ 446049 w 2252546"/>
              <a:gd name="connsiteY1-7116" fmla="*/ 289932 h 1326995"/>
              <a:gd name="connsiteX2-7117" fmla="*/ 580147 w 2252546"/>
              <a:gd name="connsiteY2-7118" fmla="*/ 422905 h 1326995"/>
              <a:gd name="connsiteX3-7119" fmla="*/ 567212 w 2252546"/>
              <a:gd name="connsiteY3-7120" fmla="*/ 342501 h 1326995"/>
              <a:gd name="connsiteX4-7121" fmla="*/ 424915 w 2252546"/>
              <a:gd name="connsiteY4-7122" fmla="*/ 416936 h 1326995"/>
              <a:gd name="connsiteX5-7123" fmla="*/ 234176 w 2252546"/>
              <a:gd name="connsiteY5-7124" fmla="*/ 356839 h 1326995"/>
              <a:gd name="connsiteX6-7125" fmla="*/ 234176 w 2252546"/>
              <a:gd name="connsiteY6-7126" fmla="*/ 434897 h 1326995"/>
              <a:gd name="connsiteX7-7127" fmla="*/ 256478 w 2252546"/>
              <a:gd name="connsiteY7-7128" fmla="*/ 546410 h 1326995"/>
              <a:gd name="connsiteX8-7129" fmla="*/ 178419 w 2252546"/>
              <a:gd name="connsiteY8-7130" fmla="*/ 624468 h 1326995"/>
              <a:gd name="connsiteX9-7131" fmla="*/ 189571 w 2252546"/>
              <a:gd name="connsiteY9-7132" fmla="*/ 691376 h 1326995"/>
              <a:gd name="connsiteX10-7133" fmla="*/ 78058 w 2252546"/>
              <a:gd name="connsiteY10-7134" fmla="*/ 724829 h 1326995"/>
              <a:gd name="connsiteX11-7135" fmla="*/ 0 w 2252546"/>
              <a:gd name="connsiteY11-7136" fmla="*/ 802888 h 1326995"/>
              <a:gd name="connsiteX12-7137" fmla="*/ 100361 w 2252546"/>
              <a:gd name="connsiteY12-7138" fmla="*/ 947854 h 1326995"/>
              <a:gd name="connsiteX13-7139" fmla="*/ 89210 w 2252546"/>
              <a:gd name="connsiteY13-7140" fmla="*/ 1048215 h 1326995"/>
              <a:gd name="connsiteX14-7141" fmla="*/ 144966 w 2252546"/>
              <a:gd name="connsiteY14-7142" fmla="*/ 1070517 h 1326995"/>
              <a:gd name="connsiteX15-7143" fmla="*/ 156117 w 2252546"/>
              <a:gd name="connsiteY15-7144" fmla="*/ 981307 h 1326995"/>
              <a:gd name="connsiteX16-7145" fmla="*/ 267629 w 2252546"/>
              <a:gd name="connsiteY16-7146" fmla="*/ 1003610 h 1326995"/>
              <a:gd name="connsiteX17-7147" fmla="*/ 335727 w 2252546"/>
              <a:gd name="connsiteY17-7148" fmla="*/ 984437 h 1326995"/>
              <a:gd name="connsiteX18-7149" fmla="*/ 364824 w 2252546"/>
              <a:gd name="connsiteY18-7150" fmla="*/ 1013687 h 1326995"/>
              <a:gd name="connsiteX19-7151" fmla="*/ 430542 w 2252546"/>
              <a:gd name="connsiteY19-7152" fmla="*/ 1007975 h 1326995"/>
              <a:gd name="connsiteX20-7153" fmla="*/ 479502 w 2252546"/>
              <a:gd name="connsiteY20-7154" fmla="*/ 1102878 h 1326995"/>
              <a:gd name="connsiteX21-7155" fmla="*/ 479502 w 2252546"/>
              <a:gd name="connsiteY21-7156" fmla="*/ 1282390 h 1326995"/>
              <a:gd name="connsiteX22-7157" fmla="*/ 669073 w 2252546"/>
              <a:gd name="connsiteY22-7158" fmla="*/ 1304693 h 1326995"/>
              <a:gd name="connsiteX23-7159" fmla="*/ 713678 w 2252546"/>
              <a:gd name="connsiteY23-7160" fmla="*/ 1326995 h 1326995"/>
              <a:gd name="connsiteX24-7161" fmla="*/ 970156 w 2252546"/>
              <a:gd name="connsiteY24-7162" fmla="*/ 1070517 h 1326995"/>
              <a:gd name="connsiteX25-7163" fmla="*/ 1315844 w 2252546"/>
              <a:gd name="connsiteY25-7164" fmla="*/ 959005 h 1326995"/>
              <a:gd name="connsiteX26-7165" fmla="*/ 1405054 w 2252546"/>
              <a:gd name="connsiteY26-7166" fmla="*/ 825190 h 1326995"/>
              <a:gd name="connsiteX27-7167" fmla="*/ 1326995 w 2252546"/>
              <a:gd name="connsiteY27-7168" fmla="*/ 769434 h 1326995"/>
              <a:gd name="connsiteX28-7169" fmla="*/ 1371600 w 2252546"/>
              <a:gd name="connsiteY28-7170" fmla="*/ 669073 h 1326995"/>
              <a:gd name="connsiteX29-7171" fmla="*/ 1650380 w 2252546"/>
              <a:gd name="connsiteY29-7172" fmla="*/ 568712 h 1326995"/>
              <a:gd name="connsiteX30-7173" fmla="*/ 1650380 w 2252546"/>
              <a:gd name="connsiteY30-7174" fmla="*/ 512956 h 1326995"/>
              <a:gd name="connsiteX31-7175" fmla="*/ 1806497 w 2252546"/>
              <a:gd name="connsiteY31-7176" fmla="*/ 479502 h 1326995"/>
              <a:gd name="connsiteX32-7177" fmla="*/ 1839951 w 2252546"/>
              <a:gd name="connsiteY32-7178" fmla="*/ 501805 h 1326995"/>
              <a:gd name="connsiteX33-7179" fmla="*/ 1929161 w 2252546"/>
              <a:gd name="connsiteY33-7180" fmla="*/ 468351 h 1326995"/>
              <a:gd name="connsiteX34-7181" fmla="*/ 2241395 w 2252546"/>
              <a:gd name="connsiteY34-7182" fmla="*/ 512956 h 1326995"/>
              <a:gd name="connsiteX35-7183" fmla="*/ 2174488 w 2252546"/>
              <a:gd name="connsiteY35-7184" fmla="*/ 401444 h 1326995"/>
              <a:gd name="connsiteX36-7185" fmla="*/ 2252546 w 2252546"/>
              <a:gd name="connsiteY36-7186" fmla="*/ 356839 h 1326995"/>
              <a:gd name="connsiteX37-7187" fmla="*/ 2062976 w 2252546"/>
              <a:gd name="connsiteY37-7188" fmla="*/ 234176 h 1326995"/>
              <a:gd name="connsiteX38-7189" fmla="*/ 2062976 w 2252546"/>
              <a:gd name="connsiteY38-7190" fmla="*/ 234176 h 1326995"/>
              <a:gd name="connsiteX39-7191" fmla="*/ 2085278 w 2252546"/>
              <a:gd name="connsiteY39-7192" fmla="*/ 211873 h 1326995"/>
              <a:gd name="connsiteX40-7193" fmla="*/ 2040673 w 2252546"/>
              <a:gd name="connsiteY40-7194" fmla="*/ 111512 h 1326995"/>
              <a:gd name="connsiteX41-7195" fmla="*/ 2029522 w 2252546"/>
              <a:gd name="connsiteY41-7196" fmla="*/ 0 h 1326995"/>
              <a:gd name="connsiteX42-7197" fmla="*/ 1862254 w 2252546"/>
              <a:gd name="connsiteY42-7198" fmla="*/ 22302 h 1326995"/>
              <a:gd name="connsiteX43-7199" fmla="*/ 1661532 w 2252546"/>
              <a:gd name="connsiteY43-7200" fmla="*/ 0 h 1326995"/>
              <a:gd name="connsiteX44-7201" fmla="*/ 1572322 w 2252546"/>
              <a:gd name="connsiteY44-7202" fmla="*/ 78058 h 1326995"/>
              <a:gd name="connsiteX45-7203" fmla="*/ 1506189 w 2252546"/>
              <a:gd name="connsiteY45-7204" fmla="*/ 296790 h 1326995"/>
              <a:gd name="connsiteX46-7205" fmla="*/ 1433671 w 2252546"/>
              <a:gd name="connsiteY46-7206" fmla="*/ 234192 h 1326995"/>
              <a:gd name="connsiteX47-7207" fmla="*/ 1324400 w 2252546"/>
              <a:gd name="connsiteY47-7208" fmla="*/ 297204 h 1326995"/>
              <a:gd name="connsiteX48-7209" fmla="*/ 1324339 w 2252546"/>
              <a:gd name="connsiteY48-7210" fmla="*/ 422140 h 1326995"/>
              <a:gd name="connsiteX49-7211" fmla="*/ 1311312 w 2252546"/>
              <a:gd name="connsiteY49-7212" fmla="*/ 409571 h 1326995"/>
              <a:gd name="connsiteX50-7213" fmla="*/ 1240170 w 2252546"/>
              <a:gd name="connsiteY50-7214" fmla="*/ 390428 h 1326995"/>
              <a:gd name="connsiteX51-7215" fmla="*/ 1181596 w 2252546"/>
              <a:gd name="connsiteY51-7216" fmla="*/ 331657 h 1326995"/>
              <a:gd name="connsiteX52-7217" fmla="*/ 890352 w 2252546"/>
              <a:gd name="connsiteY52-7218" fmla="*/ 331657 h 1326995"/>
              <a:gd name="connsiteX53-7219" fmla="*/ 858705 w 2252546"/>
              <a:gd name="connsiteY53-7220" fmla="*/ 410969 h 1326995"/>
              <a:gd name="connsiteX54-7221" fmla="*/ 784495 w 2252546"/>
              <a:gd name="connsiteY54-7222" fmla="*/ 467479 h 1326995"/>
              <a:gd name="connsiteX55-7223" fmla="*/ 781088 w 2252546"/>
              <a:gd name="connsiteY55-7224" fmla="*/ 459105 h 1326995"/>
              <a:gd name="connsiteX56-7225" fmla="*/ 768152 w 2252546"/>
              <a:gd name="connsiteY56-7226" fmla="*/ 459105 h 1326995"/>
              <a:gd name="connsiteX57-7227" fmla="*/ 723189 w 2252546"/>
              <a:gd name="connsiteY57-7228" fmla="*/ 403695 h 1326995"/>
              <a:gd name="connsiteX0-7229" fmla="*/ 591015 w 2252546"/>
              <a:gd name="connsiteY0-7230" fmla="*/ 289932 h 1326995"/>
              <a:gd name="connsiteX1-7231" fmla="*/ 446049 w 2252546"/>
              <a:gd name="connsiteY1-7232" fmla="*/ 289932 h 1326995"/>
              <a:gd name="connsiteX2-7233" fmla="*/ 580147 w 2252546"/>
              <a:gd name="connsiteY2-7234" fmla="*/ 422905 h 1326995"/>
              <a:gd name="connsiteX3-7235" fmla="*/ 567212 w 2252546"/>
              <a:gd name="connsiteY3-7236" fmla="*/ 342501 h 1326995"/>
              <a:gd name="connsiteX4-7237" fmla="*/ 424915 w 2252546"/>
              <a:gd name="connsiteY4-7238" fmla="*/ 416936 h 1326995"/>
              <a:gd name="connsiteX5-7239" fmla="*/ 234176 w 2252546"/>
              <a:gd name="connsiteY5-7240" fmla="*/ 356839 h 1326995"/>
              <a:gd name="connsiteX6-7241" fmla="*/ 234176 w 2252546"/>
              <a:gd name="connsiteY6-7242" fmla="*/ 434897 h 1326995"/>
              <a:gd name="connsiteX7-7243" fmla="*/ 256478 w 2252546"/>
              <a:gd name="connsiteY7-7244" fmla="*/ 546410 h 1326995"/>
              <a:gd name="connsiteX8-7245" fmla="*/ 178419 w 2252546"/>
              <a:gd name="connsiteY8-7246" fmla="*/ 624468 h 1326995"/>
              <a:gd name="connsiteX9-7247" fmla="*/ 189571 w 2252546"/>
              <a:gd name="connsiteY9-7248" fmla="*/ 691376 h 1326995"/>
              <a:gd name="connsiteX10-7249" fmla="*/ 78058 w 2252546"/>
              <a:gd name="connsiteY10-7250" fmla="*/ 724829 h 1326995"/>
              <a:gd name="connsiteX11-7251" fmla="*/ 0 w 2252546"/>
              <a:gd name="connsiteY11-7252" fmla="*/ 802888 h 1326995"/>
              <a:gd name="connsiteX12-7253" fmla="*/ 100361 w 2252546"/>
              <a:gd name="connsiteY12-7254" fmla="*/ 947854 h 1326995"/>
              <a:gd name="connsiteX13-7255" fmla="*/ 89210 w 2252546"/>
              <a:gd name="connsiteY13-7256" fmla="*/ 1048215 h 1326995"/>
              <a:gd name="connsiteX14-7257" fmla="*/ 144966 w 2252546"/>
              <a:gd name="connsiteY14-7258" fmla="*/ 1070517 h 1326995"/>
              <a:gd name="connsiteX15-7259" fmla="*/ 156117 w 2252546"/>
              <a:gd name="connsiteY15-7260" fmla="*/ 981307 h 1326995"/>
              <a:gd name="connsiteX16-7261" fmla="*/ 267629 w 2252546"/>
              <a:gd name="connsiteY16-7262" fmla="*/ 1003610 h 1326995"/>
              <a:gd name="connsiteX17-7263" fmla="*/ 335727 w 2252546"/>
              <a:gd name="connsiteY17-7264" fmla="*/ 984437 h 1326995"/>
              <a:gd name="connsiteX18-7265" fmla="*/ 373396 w 2252546"/>
              <a:gd name="connsiteY18-7266" fmla="*/ 982269 h 1326995"/>
              <a:gd name="connsiteX19-7267" fmla="*/ 430542 w 2252546"/>
              <a:gd name="connsiteY19-7268" fmla="*/ 1007975 h 1326995"/>
              <a:gd name="connsiteX20-7269" fmla="*/ 479502 w 2252546"/>
              <a:gd name="connsiteY20-7270" fmla="*/ 1102878 h 1326995"/>
              <a:gd name="connsiteX21-7271" fmla="*/ 479502 w 2252546"/>
              <a:gd name="connsiteY21-7272" fmla="*/ 1282390 h 1326995"/>
              <a:gd name="connsiteX22-7273" fmla="*/ 669073 w 2252546"/>
              <a:gd name="connsiteY22-7274" fmla="*/ 1304693 h 1326995"/>
              <a:gd name="connsiteX23-7275" fmla="*/ 713678 w 2252546"/>
              <a:gd name="connsiteY23-7276" fmla="*/ 1326995 h 1326995"/>
              <a:gd name="connsiteX24-7277" fmla="*/ 970156 w 2252546"/>
              <a:gd name="connsiteY24-7278" fmla="*/ 1070517 h 1326995"/>
              <a:gd name="connsiteX25-7279" fmla="*/ 1315844 w 2252546"/>
              <a:gd name="connsiteY25-7280" fmla="*/ 959005 h 1326995"/>
              <a:gd name="connsiteX26-7281" fmla="*/ 1405054 w 2252546"/>
              <a:gd name="connsiteY26-7282" fmla="*/ 825190 h 1326995"/>
              <a:gd name="connsiteX27-7283" fmla="*/ 1326995 w 2252546"/>
              <a:gd name="connsiteY27-7284" fmla="*/ 769434 h 1326995"/>
              <a:gd name="connsiteX28-7285" fmla="*/ 1371600 w 2252546"/>
              <a:gd name="connsiteY28-7286" fmla="*/ 669073 h 1326995"/>
              <a:gd name="connsiteX29-7287" fmla="*/ 1650380 w 2252546"/>
              <a:gd name="connsiteY29-7288" fmla="*/ 568712 h 1326995"/>
              <a:gd name="connsiteX30-7289" fmla="*/ 1650380 w 2252546"/>
              <a:gd name="connsiteY30-7290" fmla="*/ 512956 h 1326995"/>
              <a:gd name="connsiteX31-7291" fmla="*/ 1806497 w 2252546"/>
              <a:gd name="connsiteY31-7292" fmla="*/ 479502 h 1326995"/>
              <a:gd name="connsiteX32-7293" fmla="*/ 1839951 w 2252546"/>
              <a:gd name="connsiteY32-7294" fmla="*/ 501805 h 1326995"/>
              <a:gd name="connsiteX33-7295" fmla="*/ 1929161 w 2252546"/>
              <a:gd name="connsiteY33-7296" fmla="*/ 468351 h 1326995"/>
              <a:gd name="connsiteX34-7297" fmla="*/ 2241395 w 2252546"/>
              <a:gd name="connsiteY34-7298" fmla="*/ 512956 h 1326995"/>
              <a:gd name="connsiteX35-7299" fmla="*/ 2174488 w 2252546"/>
              <a:gd name="connsiteY35-7300" fmla="*/ 401444 h 1326995"/>
              <a:gd name="connsiteX36-7301" fmla="*/ 2252546 w 2252546"/>
              <a:gd name="connsiteY36-7302" fmla="*/ 356839 h 1326995"/>
              <a:gd name="connsiteX37-7303" fmla="*/ 2062976 w 2252546"/>
              <a:gd name="connsiteY37-7304" fmla="*/ 234176 h 1326995"/>
              <a:gd name="connsiteX38-7305" fmla="*/ 2062976 w 2252546"/>
              <a:gd name="connsiteY38-7306" fmla="*/ 234176 h 1326995"/>
              <a:gd name="connsiteX39-7307" fmla="*/ 2085278 w 2252546"/>
              <a:gd name="connsiteY39-7308" fmla="*/ 211873 h 1326995"/>
              <a:gd name="connsiteX40-7309" fmla="*/ 2040673 w 2252546"/>
              <a:gd name="connsiteY40-7310" fmla="*/ 111512 h 1326995"/>
              <a:gd name="connsiteX41-7311" fmla="*/ 2029522 w 2252546"/>
              <a:gd name="connsiteY41-7312" fmla="*/ 0 h 1326995"/>
              <a:gd name="connsiteX42-7313" fmla="*/ 1862254 w 2252546"/>
              <a:gd name="connsiteY42-7314" fmla="*/ 22302 h 1326995"/>
              <a:gd name="connsiteX43-7315" fmla="*/ 1661532 w 2252546"/>
              <a:gd name="connsiteY43-7316" fmla="*/ 0 h 1326995"/>
              <a:gd name="connsiteX44-7317" fmla="*/ 1572322 w 2252546"/>
              <a:gd name="connsiteY44-7318" fmla="*/ 78058 h 1326995"/>
              <a:gd name="connsiteX45-7319" fmla="*/ 1506189 w 2252546"/>
              <a:gd name="connsiteY45-7320" fmla="*/ 296790 h 1326995"/>
              <a:gd name="connsiteX46-7321" fmla="*/ 1433671 w 2252546"/>
              <a:gd name="connsiteY46-7322" fmla="*/ 234192 h 1326995"/>
              <a:gd name="connsiteX47-7323" fmla="*/ 1324400 w 2252546"/>
              <a:gd name="connsiteY47-7324" fmla="*/ 297204 h 1326995"/>
              <a:gd name="connsiteX48-7325" fmla="*/ 1324339 w 2252546"/>
              <a:gd name="connsiteY48-7326" fmla="*/ 422140 h 1326995"/>
              <a:gd name="connsiteX49-7327" fmla="*/ 1311312 w 2252546"/>
              <a:gd name="connsiteY49-7328" fmla="*/ 409571 h 1326995"/>
              <a:gd name="connsiteX50-7329" fmla="*/ 1240170 w 2252546"/>
              <a:gd name="connsiteY50-7330" fmla="*/ 390428 h 1326995"/>
              <a:gd name="connsiteX51-7331" fmla="*/ 1181596 w 2252546"/>
              <a:gd name="connsiteY51-7332" fmla="*/ 331657 h 1326995"/>
              <a:gd name="connsiteX52-7333" fmla="*/ 890352 w 2252546"/>
              <a:gd name="connsiteY52-7334" fmla="*/ 331657 h 1326995"/>
              <a:gd name="connsiteX53-7335" fmla="*/ 858705 w 2252546"/>
              <a:gd name="connsiteY53-7336" fmla="*/ 410969 h 1326995"/>
              <a:gd name="connsiteX54-7337" fmla="*/ 784495 w 2252546"/>
              <a:gd name="connsiteY54-7338" fmla="*/ 467479 h 1326995"/>
              <a:gd name="connsiteX55-7339" fmla="*/ 781088 w 2252546"/>
              <a:gd name="connsiteY55-7340" fmla="*/ 459105 h 1326995"/>
              <a:gd name="connsiteX56-7341" fmla="*/ 768152 w 2252546"/>
              <a:gd name="connsiteY56-7342" fmla="*/ 459105 h 1326995"/>
              <a:gd name="connsiteX57-7343" fmla="*/ 723189 w 2252546"/>
              <a:gd name="connsiteY57-7344" fmla="*/ 403695 h 1326995"/>
              <a:gd name="connsiteX0-7345" fmla="*/ 591015 w 2252546"/>
              <a:gd name="connsiteY0-7346" fmla="*/ 289932 h 1326995"/>
              <a:gd name="connsiteX1-7347" fmla="*/ 446049 w 2252546"/>
              <a:gd name="connsiteY1-7348" fmla="*/ 289932 h 1326995"/>
              <a:gd name="connsiteX2-7349" fmla="*/ 580147 w 2252546"/>
              <a:gd name="connsiteY2-7350" fmla="*/ 422905 h 1326995"/>
              <a:gd name="connsiteX3-7351" fmla="*/ 567212 w 2252546"/>
              <a:gd name="connsiteY3-7352" fmla="*/ 342501 h 1326995"/>
              <a:gd name="connsiteX4-7353" fmla="*/ 424915 w 2252546"/>
              <a:gd name="connsiteY4-7354" fmla="*/ 416936 h 1326995"/>
              <a:gd name="connsiteX5-7355" fmla="*/ 234176 w 2252546"/>
              <a:gd name="connsiteY5-7356" fmla="*/ 356839 h 1326995"/>
              <a:gd name="connsiteX6-7357" fmla="*/ 234176 w 2252546"/>
              <a:gd name="connsiteY6-7358" fmla="*/ 434897 h 1326995"/>
              <a:gd name="connsiteX7-7359" fmla="*/ 256478 w 2252546"/>
              <a:gd name="connsiteY7-7360" fmla="*/ 546410 h 1326995"/>
              <a:gd name="connsiteX8-7361" fmla="*/ 178419 w 2252546"/>
              <a:gd name="connsiteY8-7362" fmla="*/ 624468 h 1326995"/>
              <a:gd name="connsiteX9-7363" fmla="*/ 189571 w 2252546"/>
              <a:gd name="connsiteY9-7364" fmla="*/ 691376 h 1326995"/>
              <a:gd name="connsiteX10-7365" fmla="*/ 78058 w 2252546"/>
              <a:gd name="connsiteY10-7366" fmla="*/ 724829 h 1326995"/>
              <a:gd name="connsiteX11-7367" fmla="*/ 0 w 2252546"/>
              <a:gd name="connsiteY11-7368" fmla="*/ 802888 h 1326995"/>
              <a:gd name="connsiteX12-7369" fmla="*/ 100361 w 2252546"/>
              <a:gd name="connsiteY12-7370" fmla="*/ 947854 h 1326995"/>
              <a:gd name="connsiteX13-7371" fmla="*/ 89210 w 2252546"/>
              <a:gd name="connsiteY13-7372" fmla="*/ 1048215 h 1326995"/>
              <a:gd name="connsiteX14-7373" fmla="*/ 144966 w 2252546"/>
              <a:gd name="connsiteY14-7374" fmla="*/ 1070517 h 1326995"/>
              <a:gd name="connsiteX15-7375" fmla="*/ 156117 w 2252546"/>
              <a:gd name="connsiteY15-7376" fmla="*/ 981307 h 1326995"/>
              <a:gd name="connsiteX16-7377" fmla="*/ 267629 w 2252546"/>
              <a:gd name="connsiteY16-7378" fmla="*/ 1003610 h 1326995"/>
              <a:gd name="connsiteX17-7379" fmla="*/ 367158 w 2252546"/>
              <a:gd name="connsiteY17-7380" fmla="*/ 1021567 h 1326995"/>
              <a:gd name="connsiteX18-7381" fmla="*/ 373396 w 2252546"/>
              <a:gd name="connsiteY18-7382" fmla="*/ 982269 h 1326995"/>
              <a:gd name="connsiteX19-7383" fmla="*/ 430542 w 2252546"/>
              <a:gd name="connsiteY19-7384" fmla="*/ 1007975 h 1326995"/>
              <a:gd name="connsiteX20-7385" fmla="*/ 479502 w 2252546"/>
              <a:gd name="connsiteY20-7386" fmla="*/ 1102878 h 1326995"/>
              <a:gd name="connsiteX21-7387" fmla="*/ 479502 w 2252546"/>
              <a:gd name="connsiteY21-7388" fmla="*/ 1282390 h 1326995"/>
              <a:gd name="connsiteX22-7389" fmla="*/ 669073 w 2252546"/>
              <a:gd name="connsiteY22-7390" fmla="*/ 1304693 h 1326995"/>
              <a:gd name="connsiteX23-7391" fmla="*/ 713678 w 2252546"/>
              <a:gd name="connsiteY23-7392" fmla="*/ 1326995 h 1326995"/>
              <a:gd name="connsiteX24-7393" fmla="*/ 970156 w 2252546"/>
              <a:gd name="connsiteY24-7394" fmla="*/ 1070517 h 1326995"/>
              <a:gd name="connsiteX25-7395" fmla="*/ 1315844 w 2252546"/>
              <a:gd name="connsiteY25-7396" fmla="*/ 959005 h 1326995"/>
              <a:gd name="connsiteX26-7397" fmla="*/ 1405054 w 2252546"/>
              <a:gd name="connsiteY26-7398" fmla="*/ 825190 h 1326995"/>
              <a:gd name="connsiteX27-7399" fmla="*/ 1326995 w 2252546"/>
              <a:gd name="connsiteY27-7400" fmla="*/ 769434 h 1326995"/>
              <a:gd name="connsiteX28-7401" fmla="*/ 1371600 w 2252546"/>
              <a:gd name="connsiteY28-7402" fmla="*/ 669073 h 1326995"/>
              <a:gd name="connsiteX29-7403" fmla="*/ 1650380 w 2252546"/>
              <a:gd name="connsiteY29-7404" fmla="*/ 568712 h 1326995"/>
              <a:gd name="connsiteX30-7405" fmla="*/ 1650380 w 2252546"/>
              <a:gd name="connsiteY30-7406" fmla="*/ 512956 h 1326995"/>
              <a:gd name="connsiteX31-7407" fmla="*/ 1806497 w 2252546"/>
              <a:gd name="connsiteY31-7408" fmla="*/ 479502 h 1326995"/>
              <a:gd name="connsiteX32-7409" fmla="*/ 1839951 w 2252546"/>
              <a:gd name="connsiteY32-7410" fmla="*/ 501805 h 1326995"/>
              <a:gd name="connsiteX33-7411" fmla="*/ 1929161 w 2252546"/>
              <a:gd name="connsiteY33-7412" fmla="*/ 468351 h 1326995"/>
              <a:gd name="connsiteX34-7413" fmla="*/ 2241395 w 2252546"/>
              <a:gd name="connsiteY34-7414" fmla="*/ 512956 h 1326995"/>
              <a:gd name="connsiteX35-7415" fmla="*/ 2174488 w 2252546"/>
              <a:gd name="connsiteY35-7416" fmla="*/ 401444 h 1326995"/>
              <a:gd name="connsiteX36-7417" fmla="*/ 2252546 w 2252546"/>
              <a:gd name="connsiteY36-7418" fmla="*/ 356839 h 1326995"/>
              <a:gd name="connsiteX37-7419" fmla="*/ 2062976 w 2252546"/>
              <a:gd name="connsiteY37-7420" fmla="*/ 234176 h 1326995"/>
              <a:gd name="connsiteX38-7421" fmla="*/ 2062976 w 2252546"/>
              <a:gd name="connsiteY38-7422" fmla="*/ 234176 h 1326995"/>
              <a:gd name="connsiteX39-7423" fmla="*/ 2085278 w 2252546"/>
              <a:gd name="connsiteY39-7424" fmla="*/ 211873 h 1326995"/>
              <a:gd name="connsiteX40-7425" fmla="*/ 2040673 w 2252546"/>
              <a:gd name="connsiteY40-7426" fmla="*/ 111512 h 1326995"/>
              <a:gd name="connsiteX41-7427" fmla="*/ 2029522 w 2252546"/>
              <a:gd name="connsiteY41-7428" fmla="*/ 0 h 1326995"/>
              <a:gd name="connsiteX42-7429" fmla="*/ 1862254 w 2252546"/>
              <a:gd name="connsiteY42-7430" fmla="*/ 22302 h 1326995"/>
              <a:gd name="connsiteX43-7431" fmla="*/ 1661532 w 2252546"/>
              <a:gd name="connsiteY43-7432" fmla="*/ 0 h 1326995"/>
              <a:gd name="connsiteX44-7433" fmla="*/ 1572322 w 2252546"/>
              <a:gd name="connsiteY44-7434" fmla="*/ 78058 h 1326995"/>
              <a:gd name="connsiteX45-7435" fmla="*/ 1506189 w 2252546"/>
              <a:gd name="connsiteY45-7436" fmla="*/ 296790 h 1326995"/>
              <a:gd name="connsiteX46-7437" fmla="*/ 1433671 w 2252546"/>
              <a:gd name="connsiteY46-7438" fmla="*/ 234192 h 1326995"/>
              <a:gd name="connsiteX47-7439" fmla="*/ 1324400 w 2252546"/>
              <a:gd name="connsiteY47-7440" fmla="*/ 297204 h 1326995"/>
              <a:gd name="connsiteX48-7441" fmla="*/ 1324339 w 2252546"/>
              <a:gd name="connsiteY48-7442" fmla="*/ 422140 h 1326995"/>
              <a:gd name="connsiteX49-7443" fmla="*/ 1311312 w 2252546"/>
              <a:gd name="connsiteY49-7444" fmla="*/ 409571 h 1326995"/>
              <a:gd name="connsiteX50-7445" fmla="*/ 1240170 w 2252546"/>
              <a:gd name="connsiteY50-7446" fmla="*/ 390428 h 1326995"/>
              <a:gd name="connsiteX51-7447" fmla="*/ 1181596 w 2252546"/>
              <a:gd name="connsiteY51-7448" fmla="*/ 331657 h 1326995"/>
              <a:gd name="connsiteX52-7449" fmla="*/ 890352 w 2252546"/>
              <a:gd name="connsiteY52-7450" fmla="*/ 331657 h 1326995"/>
              <a:gd name="connsiteX53-7451" fmla="*/ 858705 w 2252546"/>
              <a:gd name="connsiteY53-7452" fmla="*/ 410969 h 1326995"/>
              <a:gd name="connsiteX54-7453" fmla="*/ 784495 w 2252546"/>
              <a:gd name="connsiteY54-7454" fmla="*/ 467479 h 1326995"/>
              <a:gd name="connsiteX55-7455" fmla="*/ 781088 w 2252546"/>
              <a:gd name="connsiteY55-7456" fmla="*/ 459105 h 1326995"/>
              <a:gd name="connsiteX56-7457" fmla="*/ 768152 w 2252546"/>
              <a:gd name="connsiteY56-7458" fmla="*/ 459105 h 1326995"/>
              <a:gd name="connsiteX57-7459" fmla="*/ 723189 w 2252546"/>
              <a:gd name="connsiteY57-7460" fmla="*/ 403695 h 1326995"/>
              <a:gd name="connsiteX0-7461" fmla="*/ 591015 w 2252546"/>
              <a:gd name="connsiteY0-7462" fmla="*/ 289932 h 1326995"/>
              <a:gd name="connsiteX1-7463" fmla="*/ 446049 w 2252546"/>
              <a:gd name="connsiteY1-7464" fmla="*/ 289932 h 1326995"/>
              <a:gd name="connsiteX2-7465" fmla="*/ 580147 w 2252546"/>
              <a:gd name="connsiteY2-7466" fmla="*/ 422905 h 1326995"/>
              <a:gd name="connsiteX3-7467" fmla="*/ 567212 w 2252546"/>
              <a:gd name="connsiteY3-7468" fmla="*/ 342501 h 1326995"/>
              <a:gd name="connsiteX4-7469" fmla="*/ 424915 w 2252546"/>
              <a:gd name="connsiteY4-7470" fmla="*/ 416936 h 1326995"/>
              <a:gd name="connsiteX5-7471" fmla="*/ 234176 w 2252546"/>
              <a:gd name="connsiteY5-7472" fmla="*/ 356839 h 1326995"/>
              <a:gd name="connsiteX6-7473" fmla="*/ 234176 w 2252546"/>
              <a:gd name="connsiteY6-7474" fmla="*/ 434897 h 1326995"/>
              <a:gd name="connsiteX7-7475" fmla="*/ 256478 w 2252546"/>
              <a:gd name="connsiteY7-7476" fmla="*/ 546410 h 1326995"/>
              <a:gd name="connsiteX8-7477" fmla="*/ 178419 w 2252546"/>
              <a:gd name="connsiteY8-7478" fmla="*/ 624468 h 1326995"/>
              <a:gd name="connsiteX9-7479" fmla="*/ 189571 w 2252546"/>
              <a:gd name="connsiteY9-7480" fmla="*/ 691376 h 1326995"/>
              <a:gd name="connsiteX10-7481" fmla="*/ 78058 w 2252546"/>
              <a:gd name="connsiteY10-7482" fmla="*/ 724829 h 1326995"/>
              <a:gd name="connsiteX11-7483" fmla="*/ 0 w 2252546"/>
              <a:gd name="connsiteY11-7484" fmla="*/ 802888 h 1326995"/>
              <a:gd name="connsiteX12-7485" fmla="*/ 100361 w 2252546"/>
              <a:gd name="connsiteY12-7486" fmla="*/ 947854 h 1326995"/>
              <a:gd name="connsiteX13-7487" fmla="*/ 89210 w 2252546"/>
              <a:gd name="connsiteY13-7488" fmla="*/ 1048215 h 1326995"/>
              <a:gd name="connsiteX14-7489" fmla="*/ 144966 w 2252546"/>
              <a:gd name="connsiteY14-7490" fmla="*/ 1070517 h 1326995"/>
              <a:gd name="connsiteX15-7491" fmla="*/ 167547 w 2252546"/>
              <a:gd name="connsiteY15-7492" fmla="*/ 981307 h 1326995"/>
              <a:gd name="connsiteX16-7493" fmla="*/ 267629 w 2252546"/>
              <a:gd name="connsiteY16-7494" fmla="*/ 1003610 h 1326995"/>
              <a:gd name="connsiteX17-7495" fmla="*/ 367158 w 2252546"/>
              <a:gd name="connsiteY17-7496" fmla="*/ 1021567 h 1326995"/>
              <a:gd name="connsiteX18-7497" fmla="*/ 373396 w 2252546"/>
              <a:gd name="connsiteY18-7498" fmla="*/ 982269 h 1326995"/>
              <a:gd name="connsiteX19-7499" fmla="*/ 430542 w 2252546"/>
              <a:gd name="connsiteY19-7500" fmla="*/ 1007975 h 1326995"/>
              <a:gd name="connsiteX20-7501" fmla="*/ 479502 w 2252546"/>
              <a:gd name="connsiteY20-7502" fmla="*/ 1102878 h 1326995"/>
              <a:gd name="connsiteX21-7503" fmla="*/ 479502 w 2252546"/>
              <a:gd name="connsiteY21-7504" fmla="*/ 1282390 h 1326995"/>
              <a:gd name="connsiteX22-7505" fmla="*/ 669073 w 2252546"/>
              <a:gd name="connsiteY22-7506" fmla="*/ 1304693 h 1326995"/>
              <a:gd name="connsiteX23-7507" fmla="*/ 713678 w 2252546"/>
              <a:gd name="connsiteY23-7508" fmla="*/ 1326995 h 1326995"/>
              <a:gd name="connsiteX24-7509" fmla="*/ 970156 w 2252546"/>
              <a:gd name="connsiteY24-7510" fmla="*/ 1070517 h 1326995"/>
              <a:gd name="connsiteX25-7511" fmla="*/ 1315844 w 2252546"/>
              <a:gd name="connsiteY25-7512" fmla="*/ 959005 h 1326995"/>
              <a:gd name="connsiteX26-7513" fmla="*/ 1405054 w 2252546"/>
              <a:gd name="connsiteY26-7514" fmla="*/ 825190 h 1326995"/>
              <a:gd name="connsiteX27-7515" fmla="*/ 1326995 w 2252546"/>
              <a:gd name="connsiteY27-7516" fmla="*/ 769434 h 1326995"/>
              <a:gd name="connsiteX28-7517" fmla="*/ 1371600 w 2252546"/>
              <a:gd name="connsiteY28-7518" fmla="*/ 669073 h 1326995"/>
              <a:gd name="connsiteX29-7519" fmla="*/ 1650380 w 2252546"/>
              <a:gd name="connsiteY29-7520" fmla="*/ 568712 h 1326995"/>
              <a:gd name="connsiteX30-7521" fmla="*/ 1650380 w 2252546"/>
              <a:gd name="connsiteY30-7522" fmla="*/ 512956 h 1326995"/>
              <a:gd name="connsiteX31-7523" fmla="*/ 1806497 w 2252546"/>
              <a:gd name="connsiteY31-7524" fmla="*/ 479502 h 1326995"/>
              <a:gd name="connsiteX32-7525" fmla="*/ 1839951 w 2252546"/>
              <a:gd name="connsiteY32-7526" fmla="*/ 501805 h 1326995"/>
              <a:gd name="connsiteX33-7527" fmla="*/ 1929161 w 2252546"/>
              <a:gd name="connsiteY33-7528" fmla="*/ 468351 h 1326995"/>
              <a:gd name="connsiteX34-7529" fmla="*/ 2241395 w 2252546"/>
              <a:gd name="connsiteY34-7530" fmla="*/ 512956 h 1326995"/>
              <a:gd name="connsiteX35-7531" fmla="*/ 2174488 w 2252546"/>
              <a:gd name="connsiteY35-7532" fmla="*/ 401444 h 1326995"/>
              <a:gd name="connsiteX36-7533" fmla="*/ 2252546 w 2252546"/>
              <a:gd name="connsiteY36-7534" fmla="*/ 356839 h 1326995"/>
              <a:gd name="connsiteX37-7535" fmla="*/ 2062976 w 2252546"/>
              <a:gd name="connsiteY37-7536" fmla="*/ 234176 h 1326995"/>
              <a:gd name="connsiteX38-7537" fmla="*/ 2062976 w 2252546"/>
              <a:gd name="connsiteY38-7538" fmla="*/ 234176 h 1326995"/>
              <a:gd name="connsiteX39-7539" fmla="*/ 2085278 w 2252546"/>
              <a:gd name="connsiteY39-7540" fmla="*/ 211873 h 1326995"/>
              <a:gd name="connsiteX40-7541" fmla="*/ 2040673 w 2252546"/>
              <a:gd name="connsiteY40-7542" fmla="*/ 111512 h 1326995"/>
              <a:gd name="connsiteX41-7543" fmla="*/ 2029522 w 2252546"/>
              <a:gd name="connsiteY41-7544" fmla="*/ 0 h 1326995"/>
              <a:gd name="connsiteX42-7545" fmla="*/ 1862254 w 2252546"/>
              <a:gd name="connsiteY42-7546" fmla="*/ 22302 h 1326995"/>
              <a:gd name="connsiteX43-7547" fmla="*/ 1661532 w 2252546"/>
              <a:gd name="connsiteY43-7548" fmla="*/ 0 h 1326995"/>
              <a:gd name="connsiteX44-7549" fmla="*/ 1572322 w 2252546"/>
              <a:gd name="connsiteY44-7550" fmla="*/ 78058 h 1326995"/>
              <a:gd name="connsiteX45-7551" fmla="*/ 1506189 w 2252546"/>
              <a:gd name="connsiteY45-7552" fmla="*/ 296790 h 1326995"/>
              <a:gd name="connsiteX46-7553" fmla="*/ 1433671 w 2252546"/>
              <a:gd name="connsiteY46-7554" fmla="*/ 234192 h 1326995"/>
              <a:gd name="connsiteX47-7555" fmla="*/ 1324400 w 2252546"/>
              <a:gd name="connsiteY47-7556" fmla="*/ 297204 h 1326995"/>
              <a:gd name="connsiteX48-7557" fmla="*/ 1324339 w 2252546"/>
              <a:gd name="connsiteY48-7558" fmla="*/ 422140 h 1326995"/>
              <a:gd name="connsiteX49-7559" fmla="*/ 1311312 w 2252546"/>
              <a:gd name="connsiteY49-7560" fmla="*/ 409571 h 1326995"/>
              <a:gd name="connsiteX50-7561" fmla="*/ 1240170 w 2252546"/>
              <a:gd name="connsiteY50-7562" fmla="*/ 390428 h 1326995"/>
              <a:gd name="connsiteX51-7563" fmla="*/ 1181596 w 2252546"/>
              <a:gd name="connsiteY51-7564" fmla="*/ 331657 h 1326995"/>
              <a:gd name="connsiteX52-7565" fmla="*/ 890352 w 2252546"/>
              <a:gd name="connsiteY52-7566" fmla="*/ 331657 h 1326995"/>
              <a:gd name="connsiteX53-7567" fmla="*/ 858705 w 2252546"/>
              <a:gd name="connsiteY53-7568" fmla="*/ 410969 h 1326995"/>
              <a:gd name="connsiteX54-7569" fmla="*/ 784495 w 2252546"/>
              <a:gd name="connsiteY54-7570" fmla="*/ 467479 h 1326995"/>
              <a:gd name="connsiteX55-7571" fmla="*/ 781088 w 2252546"/>
              <a:gd name="connsiteY55-7572" fmla="*/ 459105 h 1326995"/>
              <a:gd name="connsiteX56-7573" fmla="*/ 768152 w 2252546"/>
              <a:gd name="connsiteY56-7574" fmla="*/ 459105 h 1326995"/>
              <a:gd name="connsiteX57-7575" fmla="*/ 723189 w 2252546"/>
              <a:gd name="connsiteY57-7576" fmla="*/ 403695 h 1326995"/>
              <a:gd name="connsiteX0-7577" fmla="*/ 591015 w 2252546"/>
              <a:gd name="connsiteY0-7578" fmla="*/ 289932 h 1326995"/>
              <a:gd name="connsiteX1-7579" fmla="*/ 446049 w 2252546"/>
              <a:gd name="connsiteY1-7580" fmla="*/ 289932 h 1326995"/>
              <a:gd name="connsiteX2-7581" fmla="*/ 580147 w 2252546"/>
              <a:gd name="connsiteY2-7582" fmla="*/ 422905 h 1326995"/>
              <a:gd name="connsiteX3-7583" fmla="*/ 567212 w 2252546"/>
              <a:gd name="connsiteY3-7584" fmla="*/ 342501 h 1326995"/>
              <a:gd name="connsiteX4-7585" fmla="*/ 424915 w 2252546"/>
              <a:gd name="connsiteY4-7586" fmla="*/ 416936 h 1326995"/>
              <a:gd name="connsiteX5-7587" fmla="*/ 234176 w 2252546"/>
              <a:gd name="connsiteY5-7588" fmla="*/ 356839 h 1326995"/>
              <a:gd name="connsiteX6-7589" fmla="*/ 234176 w 2252546"/>
              <a:gd name="connsiteY6-7590" fmla="*/ 434897 h 1326995"/>
              <a:gd name="connsiteX7-7591" fmla="*/ 256478 w 2252546"/>
              <a:gd name="connsiteY7-7592" fmla="*/ 546410 h 1326995"/>
              <a:gd name="connsiteX8-7593" fmla="*/ 178419 w 2252546"/>
              <a:gd name="connsiteY8-7594" fmla="*/ 624468 h 1326995"/>
              <a:gd name="connsiteX9-7595" fmla="*/ 189571 w 2252546"/>
              <a:gd name="connsiteY9-7596" fmla="*/ 691376 h 1326995"/>
              <a:gd name="connsiteX10-7597" fmla="*/ 78058 w 2252546"/>
              <a:gd name="connsiteY10-7598" fmla="*/ 724829 h 1326995"/>
              <a:gd name="connsiteX11-7599" fmla="*/ 0 w 2252546"/>
              <a:gd name="connsiteY11-7600" fmla="*/ 802888 h 1326995"/>
              <a:gd name="connsiteX12-7601" fmla="*/ 91789 w 2252546"/>
              <a:gd name="connsiteY12-7602" fmla="*/ 953566 h 1326995"/>
              <a:gd name="connsiteX13-7603" fmla="*/ 89210 w 2252546"/>
              <a:gd name="connsiteY13-7604" fmla="*/ 1048215 h 1326995"/>
              <a:gd name="connsiteX14-7605" fmla="*/ 144966 w 2252546"/>
              <a:gd name="connsiteY14-7606" fmla="*/ 1070517 h 1326995"/>
              <a:gd name="connsiteX15-7607" fmla="*/ 167547 w 2252546"/>
              <a:gd name="connsiteY15-7608" fmla="*/ 981307 h 1326995"/>
              <a:gd name="connsiteX16-7609" fmla="*/ 267629 w 2252546"/>
              <a:gd name="connsiteY16-7610" fmla="*/ 1003610 h 1326995"/>
              <a:gd name="connsiteX17-7611" fmla="*/ 367158 w 2252546"/>
              <a:gd name="connsiteY17-7612" fmla="*/ 1021567 h 1326995"/>
              <a:gd name="connsiteX18-7613" fmla="*/ 373396 w 2252546"/>
              <a:gd name="connsiteY18-7614" fmla="*/ 982269 h 1326995"/>
              <a:gd name="connsiteX19-7615" fmla="*/ 430542 w 2252546"/>
              <a:gd name="connsiteY19-7616" fmla="*/ 1007975 h 1326995"/>
              <a:gd name="connsiteX20-7617" fmla="*/ 479502 w 2252546"/>
              <a:gd name="connsiteY20-7618" fmla="*/ 1102878 h 1326995"/>
              <a:gd name="connsiteX21-7619" fmla="*/ 479502 w 2252546"/>
              <a:gd name="connsiteY21-7620" fmla="*/ 1282390 h 1326995"/>
              <a:gd name="connsiteX22-7621" fmla="*/ 669073 w 2252546"/>
              <a:gd name="connsiteY22-7622" fmla="*/ 1304693 h 1326995"/>
              <a:gd name="connsiteX23-7623" fmla="*/ 713678 w 2252546"/>
              <a:gd name="connsiteY23-7624" fmla="*/ 1326995 h 1326995"/>
              <a:gd name="connsiteX24-7625" fmla="*/ 970156 w 2252546"/>
              <a:gd name="connsiteY24-7626" fmla="*/ 1070517 h 1326995"/>
              <a:gd name="connsiteX25-7627" fmla="*/ 1315844 w 2252546"/>
              <a:gd name="connsiteY25-7628" fmla="*/ 959005 h 1326995"/>
              <a:gd name="connsiteX26-7629" fmla="*/ 1405054 w 2252546"/>
              <a:gd name="connsiteY26-7630" fmla="*/ 825190 h 1326995"/>
              <a:gd name="connsiteX27-7631" fmla="*/ 1326995 w 2252546"/>
              <a:gd name="connsiteY27-7632" fmla="*/ 769434 h 1326995"/>
              <a:gd name="connsiteX28-7633" fmla="*/ 1371600 w 2252546"/>
              <a:gd name="connsiteY28-7634" fmla="*/ 669073 h 1326995"/>
              <a:gd name="connsiteX29-7635" fmla="*/ 1650380 w 2252546"/>
              <a:gd name="connsiteY29-7636" fmla="*/ 568712 h 1326995"/>
              <a:gd name="connsiteX30-7637" fmla="*/ 1650380 w 2252546"/>
              <a:gd name="connsiteY30-7638" fmla="*/ 512956 h 1326995"/>
              <a:gd name="connsiteX31-7639" fmla="*/ 1806497 w 2252546"/>
              <a:gd name="connsiteY31-7640" fmla="*/ 479502 h 1326995"/>
              <a:gd name="connsiteX32-7641" fmla="*/ 1839951 w 2252546"/>
              <a:gd name="connsiteY32-7642" fmla="*/ 501805 h 1326995"/>
              <a:gd name="connsiteX33-7643" fmla="*/ 1929161 w 2252546"/>
              <a:gd name="connsiteY33-7644" fmla="*/ 468351 h 1326995"/>
              <a:gd name="connsiteX34-7645" fmla="*/ 2241395 w 2252546"/>
              <a:gd name="connsiteY34-7646" fmla="*/ 512956 h 1326995"/>
              <a:gd name="connsiteX35-7647" fmla="*/ 2174488 w 2252546"/>
              <a:gd name="connsiteY35-7648" fmla="*/ 401444 h 1326995"/>
              <a:gd name="connsiteX36-7649" fmla="*/ 2252546 w 2252546"/>
              <a:gd name="connsiteY36-7650" fmla="*/ 356839 h 1326995"/>
              <a:gd name="connsiteX37-7651" fmla="*/ 2062976 w 2252546"/>
              <a:gd name="connsiteY37-7652" fmla="*/ 234176 h 1326995"/>
              <a:gd name="connsiteX38-7653" fmla="*/ 2062976 w 2252546"/>
              <a:gd name="connsiteY38-7654" fmla="*/ 234176 h 1326995"/>
              <a:gd name="connsiteX39-7655" fmla="*/ 2085278 w 2252546"/>
              <a:gd name="connsiteY39-7656" fmla="*/ 211873 h 1326995"/>
              <a:gd name="connsiteX40-7657" fmla="*/ 2040673 w 2252546"/>
              <a:gd name="connsiteY40-7658" fmla="*/ 111512 h 1326995"/>
              <a:gd name="connsiteX41-7659" fmla="*/ 2029522 w 2252546"/>
              <a:gd name="connsiteY41-7660" fmla="*/ 0 h 1326995"/>
              <a:gd name="connsiteX42-7661" fmla="*/ 1862254 w 2252546"/>
              <a:gd name="connsiteY42-7662" fmla="*/ 22302 h 1326995"/>
              <a:gd name="connsiteX43-7663" fmla="*/ 1661532 w 2252546"/>
              <a:gd name="connsiteY43-7664" fmla="*/ 0 h 1326995"/>
              <a:gd name="connsiteX44-7665" fmla="*/ 1572322 w 2252546"/>
              <a:gd name="connsiteY44-7666" fmla="*/ 78058 h 1326995"/>
              <a:gd name="connsiteX45-7667" fmla="*/ 1506189 w 2252546"/>
              <a:gd name="connsiteY45-7668" fmla="*/ 296790 h 1326995"/>
              <a:gd name="connsiteX46-7669" fmla="*/ 1433671 w 2252546"/>
              <a:gd name="connsiteY46-7670" fmla="*/ 234192 h 1326995"/>
              <a:gd name="connsiteX47-7671" fmla="*/ 1324400 w 2252546"/>
              <a:gd name="connsiteY47-7672" fmla="*/ 297204 h 1326995"/>
              <a:gd name="connsiteX48-7673" fmla="*/ 1324339 w 2252546"/>
              <a:gd name="connsiteY48-7674" fmla="*/ 422140 h 1326995"/>
              <a:gd name="connsiteX49-7675" fmla="*/ 1311312 w 2252546"/>
              <a:gd name="connsiteY49-7676" fmla="*/ 409571 h 1326995"/>
              <a:gd name="connsiteX50-7677" fmla="*/ 1240170 w 2252546"/>
              <a:gd name="connsiteY50-7678" fmla="*/ 390428 h 1326995"/>
              <a:gd name="connsiteX51-7679" fmla="*/ 1181596 w 2252546"/>
              <a:gd name="connsiteY51-7680" fmla="*/ 331657 h 1326995"/>
              <a:gd name="connsiteX52-7681" fmla="*/ 890352 w 2252546"/>
              <a:gd name="connsiteY52-7682" fmla="*/ 331657 h 1326995"/>
              <a:gd name="connsiteX53-7683" fmla="*/ 858705 w 2252546"/>
              <a:gd name="connsiteY53-7684" fmla="*/ 410969 h 1326995"/>
              <a:gd name="connsiteX54-7685" fmla="*/ 784495 w 2252546"/>
              <a:gd name="connsiteY54-7686" fmla="*/ 467479 h 1326995"/>
              <a:gd name="connsiteX55-7687" fmla="*/ 781088 w 2252546"/>
              <a:gd name="connsiteY55-7688" fmla="*/ 459105 h 1326995"/>
              <a:gd name="connsiteX56-7689" fmla="*/ 768152 w 2252546"/>
              <a:gd name="connsiteY56-7690" fmla="*/ 459105 h 1326995"/>
              <a:gd name="connsiteX57-7691" fmla="*/ 723189 w 2252546"/>
              <a:gd name="connsiteY57-7692" fmla="*/ 403695 h 1326995"/>
              <a:gd name="connsiteX0-7693" fmla="*/ 591015 w 2252546"/>
              <a:gd name="connsiteY0-7694" fmla="*/ 289932 h 1326995"/>
              <a:gd name="connsiteX1-7695" fmla="*/ 446049 w 2252546"/>
              <a:gd name="connsiteY1-7696" fmla="*/ 289932 h 1326995"/>
              <a:gd name="connsiteX2-7697" fmla="*/ 580147 w 2252546"/>
              <a:gd name="connsiteY2-7698" fmla="*/ 422905 h 1326995"/>
              <a:gd name="connsiteX3-7699" fmla="*/ 567212 w 2252546"/>
              <a:gd name="connsiteY3-7700" fmla="*/ 342501 h 1326995"/>
              <a:gd name="connsiteX4-7701" fmla="*/ 424915 w 2252546"/>
              <a:gd name="connsiteY4-7702" fmla="*/ 416936 h 1326995"/>
              <a:gd name="connsiteX5-7703" fmla="*/ 234176 w 2252546"/>
              <a:gd name="connsiteY5-7704" fmla="*/ 356839 h 1326995"/>
              <a:gd name="connsiteX6-7705" fmla="*/ 234176 w 2252546"/>
              <a:gd name="connsiteY6-7706" fmla="*/ 434897 h 1326995"/>
              <a:gd name="connsiteX7-7707" fmla="*/ 256478 w 2252546"/>
              <a:gd name="connsiteY7-7708" fmla="*/ 546410 h 1326995"/>
              <a:gd name="connsiteX8-7709" fmla="*/ 178419 w 2252546"/>
              <a:gd name="connsiteY8-7710" fmla="*/ 624468 h 1326995"/>
              <a:gd name="connsiteX9-7711" fmla="*/ 189571 w 2252546"/>
              <a:gd name="connsiteY9-7712" fmla="*/ 691376 h 1326995"/>
              <a:gd name="connsiteX10-7713" fmla="*/ 78058 w 2252546"/>
              <a:gd name="connsiteY10-7714" fmla="*/ 724829 h 1326995"/>
              <a:gd name="connsiteX11-7715" fmla="*/ 0 w 2252546"/>
              <a:gd name="connsiteY11-7716" fmla="*/ 802888 h 1326995"/>
              <a:gd name="connsiteX12-7717" fmla="*/ 91789 w 2252546"/>
              <a:gd name="connsiteY12-7718" fmla="*/ 953566 h 1326995"/>
              <a:gd name="connsiteX13-7719" fmla="*/ 89210 w 2252546"/>
              <a:gd name="connsiteY13-7720" fmla="*/ 1048215 h 1326995"/>
              <a:gd name="connsiteX14-7721" fmla="*/ 144966 w 2252546"/>
              <a:gd name="connsiteY14-7722" fmla="*/ 1070517 h 1326995"/>
              <a:gd name="connsiteX15-7723" fmla="*/ 167547 w 2252546"/>
              <a:gd name="connsiteY15-7724" fmla="*/ 981307 h 1326995"/>
              <a:gd name="connsiteX16-7725" fmla="*/ 267629 w 2252546"/>
              <a:gd name="connsiteY16-7726" fmla="*/ 1003610 h 1326995"/>
              <a:gd name="connsiteX17-7727" fmla="*/ 367158 w 2252546"/>
              <a:gd name="connsiteY17-7728" fmla="*/ 1021567 h 1326995"/>
              <a:gd name="connsiteX18-7729" fmla="*/ 373396 w 2252546"/>
              <a:gd name="connsiteY18-7730" fmla="*/ 982269 h 1326995"/>
              <a:gd name="connsiteX19-7731" fmla="*/ 430542 w 2252546"/>
              <a:gd name="connsiteY19-7732" fmla="*/ 1016543 h 1326995"/>
              <a:gd name="connsiteX20-7733" fmla="*/ 479502 w 2252546"/>
              <a:gd name="connsiteY20-7734" fmla="*/ 1102878 h 1326995"/>
              <a:gd name="connsiteX21-7735" fmla="*/ 479502 w 2252546"/>
              <a:gd name="connsiteY21-7736" fmla="*/ 1282390 h 1326995"/>
              <a:gd name="connsiteX22-7737" fmla="*/ 669073 w 2252546"/>
              <a:gd name="connsiteY22-7738" fmla="*/ 1304693 h 1326995"/>
              <a:gd name="connsiteX23-7739" fmla="*/ 713678 w 2252546"/>
              <a:gd name="connsiteY23-7740" fmla="*/ 1326995 h 1326995"/>
              <a:gd name="connsiteX24-7741" fmla="*/ 970156 w 2252546"/>
              <a:gd name="connsiteY24-7742" fmla="*/ 1070517 h 1326995"/>
              <a:gd name="connsiteX25-7743" fmla="*/ 1315844 w 2252546"/>
              <a:gd name="connsiteY25-7744" fmla="*/ 959005 h 1326995"/>
              <a:gd name="connsiteX26-7745" fmla="*/ 1405054 w 2252546"/>
              <a:gd name="connsiteY26-7746" fmla="*/ 825190 h 1326995"/>
              <a:gd name="connsiteX27-7747" fmla="*/ 1326995 w 2252546"/>
              <a:gd name="connsiteY27-7748" fmla="*/ 769434 h 1326995"/>
              <a:gd name="connsiteX28-7749" fmla="*/ 1371600 w 2252546"/>
              <a:gd name="connsiteY28-7750" fmla="*/ 669073 h 1326995"/>
              <a:gd name="connsiteX29-7751" fmla="*/ 1650380 w 2252546"/>
              <a:gd name="connsiteY29-7752" fmla="*/ 568712 h 1326995"/>
              <a:gd name="connsiteX30-7753" fmla="*/ 1650380 w 2252546"/>
              <a:gd name="connsiteY30-7754" fmla="*/ 512956 h 1326995"/>
              <a:gd name="connsiteX31-7755" fmla="*/ 1806497 w 2252546"/>
              <a:gd name="connsiteY31-7756" fmla="*/ 479502 h 1326995"/>
              <a:gd name="connsiteX32-7757" fmla="*/ 1839951 w 2252546"/>
              <a:gd name="connsiteY32-7758" fmla="*/ 501805 h 1326995"/>
              <a:gd name="connsiteX33-7759" fmla="*/ 1929161 w 2252546"/>
              <a:gd name="connsiteY33-7760" fmla="*/ 468351 h 1326995"/>
              <a:gd name="connsiteX34-7761" fmla="*/ 2241395 w 2252546"/>
              <a:gd name="connsiteY34-7762" fmla="*/ 512956 h 1326995"/>
              <a:gd name="connsiteX35-7763" fmla="*/ 2174488 w 2252546"/>
              <a:gd name="connsiteY35-7764" fmla="*/ 401444 h 1326995"/>
              <a:gd name="connsiteX36-7765" fmla="*/ 2252546 w 2252546"/>
              <a:gd name="connsiteY36-7766" fmla="*/ 356839 h 1326995"/>
              <a:gd name="connsiteX37-7767" fmla="*/ 2062976 w 2252546"/>
              <a:gd name="connsiteY37-7768" fmla="*/ 234176 h 1326995"/>
              <a:gd name="connsiteX38-7769" fmla="*/ 2062976 w 2252546"/>
              <a:gd name="connsiteY38-7770" fmla="*/ 234176 h 1326995"/>
              <a:gd name="connsiteX39-7771" fmla="*/ 2085278 w 2252546"/>
              <a:gd name="connsiteY39-7772" fmla="*/ 211873 h 1326995"/>
              <a:gd name="connsiteX40-7773" fmla="*/ 2040673 w 2252546"/>
              <a:gd name="connsiteY40-7774" fmla="*/ 111512 h 1326995"/>
              <a:gd name="connsiteX41-7775" fmla="*/ 2029522 w 2252546"/>
              <a:gd name="connsiteY41-7776" fmla="*/ 0 h 1326995"/>
              <a:gd name="connsiteX42-7777" fmla="*/ 1862254 w 2252546"/>
              <a:gd name="connsiteY42-7778" fmla="*/ 22302 h 1326995"/>
              <a:gd name="connsiteX43-7779" fmla="*/ 1661532 w 2252546"/>
              <a:gd name="connsiteY43-7780" fmla="*/ 0 h 1326995"/>
              <a:gd name="connsiteX44-7781" fmla="*/ 1572322 w 2252546"/>
              <a:gd name="connsiteY44-7782" fmla="*/ 78058 h 1326995"/>
              <a:gd name="connsiteX45-7783" fmla="*/ 1506189 w 2252546"/>
              <a:gd name="connsiteY45-7784" fmla="*/ 296790 h 1326995"/>
              <a:gd name="connsiteX46-7785" fmla="*/ 1433671 w 2252546"/>
              <a:gd name="connsiteY46-7786" fmla="*/ 234192 h 1326995"/>
              <a:gd name="connsiteX47-7787" fmla="*/ 1324400 w 2252546"/>
              <a:gd name="connsiteY47-7788" fmla="*/ 297204 h 1326995"/>
              <a:gd name="connsiteX48-7789" fmla="*/ 1324339 w 2252546"/>
              <a:gd name="connsiteY48-7790" fmla="*/ 422140 h 1326995"/>
              <a:gd name="connsiteX49-7791" fmla="*/ 1311312 w 2252546"/>
              <a:gd name="connsiteY49-7792" fmla="*/ 409571 h 1326995"/>
              <a:gd name="connsiteX50-7793" fmla="*/ 1240170 w 2252546"/>
              <a:gd name="connsiteY50-7794" fmla="*/ 390428 h 1326995"/>
              <a:gd name="connsiteX51-7795" fmla="*/ 1181596 w 2252546"/>
              <a:gd name="connsiteY51-7796" fmla="*/ 331657 h 1326995"/>
              <a:gd name="connsiteX52-7797" fmla="*/ 890352 w 2252546"/>
              <a:gd name="connsiteY52-7798" fmla="*/ 331657 h 1326995"/>
              <a:gd name="connsiteX53-7799" fmla="*/ 858705 w 2252546"/>
              <a:gd name="connsiteY53-7800" fmla="*/ 410969 h 1326995"/>
              <a:gd name="connsiteX54-7801" fmla="*/ 784495 w 2252546"/>
              <a:gd name="connsiteY54-7802" fmla="*/ 467479 h 1326995"/>
              <a:gd name="connsiteX55-7803" fmla="*/ 781088 w 2252546"/>
              <a:gd name="connsiteY55-7804" fmla="*/ 459105 h 1326995"/>
              <a:gd name="connsiteX56-7805" fmla="*/ 768152 w 2252546"/>
              <a:gd name="connsiteY56-7806" fmla="*/ 459105 h 1326995"/>
              <a:gd name="connsiteX57-7807" fmla="*/ 723189 w 2252546"/>
              <a:gd name="connsiteY57-7808" fmla="*/ 403695 h 1326995"/>
              <a:gd name="connsiteX0-7809" fmla="*/ 591015 w 2252546"/>
              <a:gd name="connsiteY0-7810" fmla="*/ 289932 h 1326995"/>
              <a:gd name="connsiteX1-7811" fmla="*/ 446049 w 2252546"/>
              <a:gd name="connsiteY1-7812" fmla="*/ 289932 h 1326995"/>
              <a:gd name="connsiteX2-7813" fmla="*/ 520144 w 2252546"/>
              <a:gd name="connsiteY2-7814" fmla="*/ 362927 h 1326995"/>
              <a:gd name="connsiteX3-7815" fmla="*/ 567212 w 2252546"/>
              <a:gd name="connsiteY3-7816" fmla="*/ 342501 h 1326995"/>
              <a:gd name="connsiteX4-7817" fmla="*/ 424915 w 2252546"/>
              <a:gd name="connsiteY4-7818" fmla="*/ 416936 h 1326995"/>
              <a:gd name="connsiteX5-7819" fmla="*/ 234176 w 2252546"/>
              <a:gd name="connsiteY5-7820" fmla="*/ 356839 h 1326995"/>
              <a:gd name="connsiteX6-7821" fmla="*/ 234176 w 2252546"/>
              <a:gd name="connsiteY6-7822" fmla="*/ 434897 h 1326995"/>
              <a:gd name="connsiteX7-7823" fmla="*/ 256478 w 2252546"/>
              <a:gd name="connsiteY7-7824" fmla="*/ 546410 h 1326995"/>
              <a:gd name="connsiteX8-7825" fmla="*/ 178419 w 2252546"/>
              <a:gd name="connsiteY8-7826" fmla="*/ 624468 h 1326995"/>
              <a:gd name="connsiteX9-7827" fmla="*/ 189571 w 2252546"/>
              <a:gd name="connsiteY9-7828" fmla="*/ 691376 h 1326995"/>
              <a:gd name="connsiteX10-7829" fmla="*/ 78058 w 2252546"/>
              <a:gd name="connsiteY10-7830" fmla="*/ 724829 h 1326995"/>
              <a:gd name="connsiteX11-7831" fmla="*/ 0 w 2252546"/>
              <a:gd name="connsiteY11-7832" fmla="*/ 802888 h 1326995"/>
              <a:gd name="connsiteX12-7833" fmla="*/ 91789 w 2252546"/>
              <a:gd name="connsiteY12-7834" fmla="*/ 953566 h 1326995"/>
              <a:gd name="connsiteX13-7835" fmla="*/ 89210 w 2252546"/>
              <a:gd name="connsiteY13-7836" fmla="*/ 1048215 h 1326995"/>
              <a:gd name="connsiteX14-7837" fmla="*/ 144966 w 2252546"/>
              <a:gd name="connsiteY14-7838" fmla="*/ 1070517 h 1326995"/>
              <a:gd name="connsiteX15-7839" fmla="*/ 167547 w 2252546"/>
              <a:gd name="connsiteY15-7840" fmla="*/ 981307 h 1326995"/>
              <a:gd name="connsiteX16-7841" fmla="*/ 267629 w 2252546"/>
              <a:gd name="connsiteY16-7842" fmla="*/ 1003610 h 1326995"/>
              <a:gd name="connsiteX17-7843" fmla="*/ 367158 w 2252546"/>
              <a:gd name="connsiteY17-7844" fmla="*/ 1021567 h 1326995"/>
              <a:gd name="connsiteX18-7845" fmla="*/ 373396 w 2252546"/>
              <a:gd name="connsiteY18-7846" fmla="*/ 982269 h 1326995"/>
              <a:gd name="connsiteX19-7847" fmla="*/ 430542 w 2252546"/>
              <a:gd name="connsiteY19-7848" fmla="*/ 1016543 h 1326995"/>
              <a:gd name="connsiteX20-7849" fmla="*/ 479502 w 2252546"/>
              <a:gd name="connsiteY20-7850" fmla="*/ 1102878 h 1326995"/>
              <a:gd name="connsiteX21-7851" fmla="*/ 479502 w 2252546"/>
              <a:gd name="connsiteY21-7852" fmla="*/ 1282390 h 1326995"/>
              <a:gd name="connsiteX22-7853" fmla="*/ 669073 w 2252546"/>
              <a:gd name="connsiteY22-7854" fmla="*/ 1304693 h 1326995"/>
              <a:gd name="connsiteX23-7855" fmla="*/ 713678 w 2252546"/>
              <a:gd name="connsiteY23-7856" fmla="*/ 1326995 h 1326995"/>
              <a:gd name="connsiteX24-7857" fmla="*/ 970156 w 2252546"/>
              <a:gd name="connsiteY24-7858" fmla="*/ 1070517 h 1326995"/>
              <a:gd name="connsiteX25-7859" fmla="*/ 1315844 w 2252546"/>
              <a:gd name="connsiteY25-7860" fmla="*/ 959005 h 1326995"/>
              <a:gd name="connsiteX26-7861" fmla="*/ 1405054 w 2252546"/>
              <a:gd name="connsiteY26-7862" fmla="*/ 825190 h 1326995"/>
              <a:gd name="connsiteX27-7863" fmla="*/ 1326995 w 2252546"/>
              <a:gd name="connsiteY27-7864" fmla="*/ 769434 h 1326995"/>
              <a:gd name="connsiteX28-7865" fmla="*/ 1371600 w 2252546"/>
              <a:gd name="connsiteY28-7866" fmla="*/ 669073 h 1326995"/>
              <a:gd name="connsiteX29-7867" fmla="*/ 1650380 w 2252546"/>
              <a:gd name="connsiteY29-7868" fmla="*/ 568712 h 1326995"/>
              <a:gd name="connsiteX30-7869" fmla="*/ 1650380 w 2252546"/>
              <a:gd name="connsiteY30-7870" fmla="*/ 512956 h 1326995"/>
              <a:gd name="connsiteX31-7871" fmla="*/ 1806497 w 2252546"/>
              <a:gd name="connsiteY31-7872" fmla="*/ 479502 h 1326995"/>
              <a:gd name="connsiteX32-7873" fmla="*/ 1839951 w 2252546"/>
              <a:gd name="connsiteY32-7874" fmla="*/ 501805 h 1326995"/>
              <a:gd name="connsiteX33-7875" fmla="*/ 1929161 w 2252546"/>
              <a:gd name="connsiteY33-7876" fmla="*/ 468351 h 1326995"/>
              <a:gd name="connsiteX34-7877" fmla="*/ 2241395 w 2252546"/>
              <a:gd name="connsiteY34-7878" fmla="*/ 512956 h 1326995"/>
              <a:gd name="connsiteX35-7879" fmla="*/ 2174488 w 2252546"/>
              <a:gd name="connsiteY35-7880" fmla="*/ 401444 h 1326995"/>
              <a:gd name="connsiteX36-7881" fmla="*/ 2252546 w 2252546"/>
              <a:gd name="connsiteY36-7882" fmla="*/ 356839 h 1326995"/>
              <a:gd name="connsiteX37-7883" fmla="*/ 2062976 w 2252546"/>
              <a:gd name="connsiteY37-7884" fmla="*/ 234176 h 1326995"/>
              <a:gd name="connsiteX38-7885" fmla="*/ 2062976 w 2252546"/>
              <a:gd name="connsiteY38-7886" fmla="*/ 234176 h 1326995"/>
              <a:gd name="connsiteX39-7887" fmla="*/ 2085278 w 2252546"/>
              <a:gd name="connsiteY39-7888" fmla="*/ 211873 h 1326995"/>
              <a:gd name="connsiteX40-7889" fmla="*/ 2040673 w 2252546"/>
              <a:gd name="connsiteY40-7890" fmla="*/ 111512 h 1326995"/>
              <a:gd name="connsiteX41-7891" fmla="*/ 2029522 w 2252546"/>
              <a:gd name="connsiteY41-7892" fmla="*/ 0 h 1326995"/>
              <a:gd name="connsiteX42-7893" fmla="*/ 1862254 w 2252546"/>
              <a:gd name="connsiteY42-7894" fmla="*/ 22302 h 1326995"/>
              <a:gd name="connsiteX43-7895" fmla="*/ 1661532 w 2252546"/>
              <a:gd name="connsiteY43-7896" fmla="*/ 0 h 1326995"/>
              <a:gd name="connsiteX44-7897" fmla="*/ 1572322 w 2252546"/>
              <a:gd name="connsiteY44-7898" fmla="*/ 78058 h 1326995"/>
              <a:gd name="connsiteX45-7899" fmla="*/ 1506189 w 2252546"/>
              <a:gd name="connsiteY45-7900" fmla="*/ 296790 h 1326995"/>
              <a:gd name="connsiteX46-7901" fmla="*/ 1433671 w 2252546"/>
              <a:gd name="connsiteY46-7902" fmla="*/ 234192 h 1326995"/>
              <a:gd name="connsiteX47-7903" fmla="*/ 1324400 w 2252546"/>
              <a:gd name="connsiteY47-7904" fmla="*/ 297204 h 1326995"/>
              <a:gd name="connsiteX48-7905" fmla="*/ 1324339 w 2252546"/>
              <a:gd name="connsiteY48-7906" fmla="*/ 422140 h 1326995"/>
              <a:gd name="connsiteX49-7907" fmla="*/ 1311312 w 2252546"/>
              <a:gd name="connsiteY49-7908" fmla="*/ 409571 h 1326995"/>
              <a:gd name="connsiteX50-7909" fmla="*/ 1240170 w 2252546"/>
              <a:gd name="connsiteY50-7910" fmla="*/ 390428 h 1326995"/>
              <a:gd name="connsiteX51-7911" fmla="*/ 1181596 w 2252546"/>
              <a:gd name="connsiteY51-7912" fmla="*/ 331657 h 1326995"/>
              <a:gd name="connsiteX52-7913" fmla="*/ 890352 w 2252546"/>
              <a:gd name="connsiteY52-7914" fmla="*/ 331657 h 1326995"/>
              <a:gd name="connsiteX53-7915" fmla="*/ 858705 w 2252546"/>
              <a:gd name="connsiteY53-7916" fmla="*/ 410969 h 1326995"/>
              <a:gd name="connsiteX54-7917" fmla="*/ 784495 w 2252546"/>
              <a:gd name="connsiteY54-7918" fmla="*/ 467479 h 1326995"/>
              <a:gd name="connsiteX55-7919" fmla="*/ 781088 w 2252546"/>
              <a:gd name="connsiteY55-7920" fmla="*/ 459105 h 1326995"/>
              <a:gd name="connsiteX56-7921" fmla="*/ 768152 w 2252546"/>
              <a:gd name="connsiteY56-7922" fmla="*/ 459105 h 1326995"/>
              <a:gd name="connsiteX57-7923" fmla="*/ 723189 w 2252546"/>
              <a:gd name="connsiteY57-7924" fmla="*/ 403695 h 1326995"/>
              <a:gd name="connsiteX0-7925" fmla="*/ 591015 w 2252546"/>
              <a:gd name="connsiteY0-7926" fmla="*/ 289932 h 1326995"/>
              <a:gd name="connsiteX1-7927" fmla="*/ 446049 w 2252546"/>
              <a:gd name="connsiteY1-7928" fmla="*/ 289932 h 1326995"/>
              <a:gd name="connsiteX2-7929" fmla="*/ 520144 w 2252546"/>
              <a:gd name="connsiteY2-7930" fmla="*/ 362927 h 1326995"/>
              <a:gd name="connsiteX3-7931" fmla="*/ 424915 w 2252546"/>
              <a:gd name="connsiteY3-7932" fmla="*/ 416936 h 1326995"/>
              <a:gd name="connsiteX4-7933" fmla="*/ 234176 w 2252546"/>
              <a:gd name="connsiteY4-7934" fmla="*/ 356839 h 1326995"/>
              <a:gd name="connsiteX5-7935" fmla="*/ 234176 w 2252546"/>
              <a:gd name="connsiteY5-7936" fmla="*/ 434897 h 1326995"/>
              <a:gd name="connsiteX6-7937" fmla="*/ 256478 w 2252546"/>
              <a:gd name="connsiteY6-7938" fmla="*/ 546410 h 1326995"/>
              <a:gd name="connsiteX7-7939" fmla="*/ 178419 w 2252546"/>
              <a:gd name="connsiteY7-7940" fmla="*/ 624468 h 1326995"/>
              <a:gd name="connsiteX8-7941" fmla="*/ 189571 w 2252546"/>
              <a:gd name="connsiteY8-7942" fmla="*/ 691376 h 1326995"/>
              <a:gd name="connsiteX9-7943" fmla="*/ 78058 w 2252546"/>
              <a:gd name="connsiteY9-7944" fmla="*/ 724829 h 1326995"/>
              <a:gd name="connsiteX10-7945" fmla="*/ 0 w 2252546"/>
              <a:gd name="connsiteY10-7946" fmla="*/ 802888 h 1326995"/>
              <a:gd name="connsiteX11-7947" fmla="*/ 91789 w 2252546"/>
              <a:gd name="connsiteY11-7948" fmla="*/ 953566 h 1326995"/>
              <a:gd name="connsiteX12-7949" fmla="*/ 89210 w 2252546"/>
              <a:gd name="connsiteY12-7950" fmla="*/ 1048215 h 1326995"/>
              <a:gd name="connsiteX13-7951" fmla="*/ 144966 w 2252546"/>
              <a:gd name="connsiteY13-7952" fmla="*/ 1070517 h 1326995"/>
              <a:gd name="connsiteX14-7953" fmla="*/ 167547 w 2252546"/>
              <a:gd name="connsiteY14-7954" fmla="*/ 981307 h 1326995"/>
              <a:gd name="connsiteX15-7955" fmla="*/ 267629 w 2252546"/>
              <a:gd name="connsiteY15-7956" fmla="*/ 1003610 h 1326995"/>
              <a:gd name="connsiteX16-7957" fmla="*/ 367158 w 2252546"/>
              <a:gd name="connsiteY16-7958" fmla="*/ 1021567 h 1326995"/>
              <a:gd name="connsiteX17-7959" fmla="*/ 373396 w 2252546"/>
              <a:gd name="connsiteY17-7960" fmla="*/ 982269 h 1326995"/>
              <a:gd name="connsiteX18-7961" fmla="*/ 430542 w 2252546"/>
              <a:gd name="connsiteY18-7962" fmla="*/ 1016543 h 1326995"/>
              <a:gd name="connsiteX19-7963" fmla="*/ 479502 w 2252546"/>
              <a:gd name="connsiteY19-7964" fmla="*/ 1102878 h 1326995"/>
              <a:gd name="connsiteX20-7965" fmla="*/ 479502 w 2252546"/>
              <a:gd name="connsiteY20-7966" fmla="*/ 1282390 h 1326995"/>
              <a:gd name="connsiteX21-7967" fmla="*/ 669073 w 2252546"/>
              <a:gd name="connsiteY21-7968" fmla="*/ 1304693 h 1326995"/>
              <a:gd name="connsiteX22-7969" fmla="*/ 713678 w 2252546"/>
              <a:gd name="connsiteY22-7970" fmla="*/ 1326995 h 1326995"/>
              <a:gd name="connsiteX23-7971" fmla="*/ 970156 w 2252546"/>
              <a:gd name="connsiteY23-7972" fmla="*/ 1070517 h 1326995"/>
              <a:gd name="connsiteX24-7973" fmla="*/ 1315844 w 2252546"/>
              <a:gd name="connsiteY24-7974" fmla="*/ 959005 h 1326995"/>
              <a:gd name="connsiteX25-7975" fmla="*/ 1405054 w 2252546"/>
              <a:gd name="connsiteY25-7976" fmla="*/ 825190 h 1326995"/>
              <a:gd name="connsiteX26-7977" fmla="*/ 1326995 w 2252546"/>
              <a:gd name="connsiteY26-7978" fmla="*/ 769434 h 1326995"/>
              <a:gd name="connsiteX27-7979" fmla="*/ 1371600 w 2252546"/>
              <a:gd name="connsiteY27-7980" fmla="*/ 669073 h 1326995"/>
              <a:gd name="connsiteX28-7981" fmla="*/ 1650380 w 2252546"/>
              <a:gd name="connsiteY28-7982" fmla="*/ 568712 h 1326995"/>
              <a:gd name="connsiteX29-7983" fmla="*/ 1650380 w 2252546"/>
              <a:gd name="connsiteY29-7984" fmla="*/ 512956 h 1326995"/>
              <a:gd name="connsiteX30-7985" fmla="*/ 1806497 w 2252546"/>
              <a:gd name="connsiteY30-7986" fmla="*/ 479502 h 1326995"/>
              <a:gd name="connsiteX31-7987" fmla="*/ 1839951 w 2252546"/>
              <a:gd name="connsiteY31-7988" fmla="*/ 501805 h 1326995"/>
              <a:gd name="connsiteX32-7989" fmla="*/ 1929161 w 2252546"/>
              <a:gd name="connsiteY32-7990" fmla="*/ 468351 h 1326995"/>
              <a:gd name="connsiteX33-7991" fmla="*/ 2241395 w 2252546"/>
              <a:gd name="connsiteY33-7992" fmla="*/ 512956 h 1326995"/>
              <a:gd name="connsiteX34-7993" fmla="*/ 2174488 w 2252546"/>
              <a:gd name="connsiteY34-7994" fmla="*/ 401444 h 1326995"/>
              <a:gd name="connsiteX35-7995" fmla="*/ 2252546 w 2252546"/>
              <a:gd name="connsiteY35-7996" fmla="*/ 356839 h 1326995"/>
              <a:gd name="connsiteX36-7997" fmla="*/ 2062976 w 2252546"/>
              <a:gd name="connsiteY36-7998" fmla="*/ 234176 h 1326995"/>
              <a:gd name="connsiteX37-7999" fmla="*/ 2062976 w 2252546"/>
              <a:gd name="connsiteY37-8000" fmla="*/ 234176 h 1326995"/>
              <a:gd name="connsiteX38-8001" fmla="*/ 2085278 w 2252546"/>
              <a:gd name="connsiteY38-8002" fmla="*/ 211873 h 1326995"/>
              <a:gd name="connsiteX39-8003" fmla="*/ 2040673 w 2252546"/>
              <a:gd name="connsiteY39-8004" fmla="*/ 111512 h 1326995"/>
              <a:gd name="connsiteX40-8005" fmla="*/ 2029522 w 2252546"/>
              <a:gd name="connsiteY40-8006" fmla="*/ 0 h 1326995"/>
              <a:gd name="connsiteX41-8007" fmla="*/ 1862254 w 2252546"/>
              <a:gd name="connsiteY41-8008" fmla="*/ 22302 h 1326995"/>
              <a:gd name="connsiteX42-8009" fmla="*/ 1661532 w 2252546"/>
              <a:gd name="connsiteY42-8010" fmla="*/ 0 h 1326995"/>
              <a:gd name="connsiteX43-8011" fmla="*/ 1572322 w 2252546"/>
              <a:gd name="connsiteY43-8012" fmla="*/ 78058 h 1326995"/>
              <a:gd name="connsiteX44-8013" fmla="*/ 1506189 w 2252546"/>
              <a:gd name="connsiteY44-8014" fmla="*/ 296790 h 1326995"/>
              <a:gd name="connsiteX45-8015" fmla="*/ 1433671 w 2252546"/>
              <a:gd name="connsiteY45-8016" fmla="*/ 234192 h 1326995"/>
              <a:gd name="connsiteX46-8017" fmla="*/ 1324400 w 2252546"/>
              <a:gd name="connsiteY46-8018" fmla="*/ 297204 h 1326995"/>
              <a:gd name="connsiteX47-8019" fmla="*/ 1324339 w 2252546"/>
              <a:gd name="connsiteY47-8020" fmla="*/ 422140 h 1326995"/>
              <a:gd name="connsiteX48-8021" fmla="*/ 1311312 w 2252546"/>
              <a:gd name="connsiteY48-8022" fmla="*/ 409571 h 1326995"/>
              <a:gd name="connsiteX49-8023" fmla="*/ 1240170 w 2252546"/>
              <a:gd name="connsiteY49-8024" fmla="*/ 390428 h 1326995"/>
              <a:gd name="connsiteX50-8025" fmla="*/ 1181596 w 2252546"/>
              <a:gd name="connsiteY50-8026" fmla="*/ 331657 h 1326995"/>
              <a:gd name="connsiteX51-8027" fmla="*/ 890352 w 2252546"/>
              <a:gd name="connsiteY51-8028" fmla="*/ 331657 h 1326995"/>
              <a:gd name="connsiteX52-8029" fmla="*/ 858705 w 2252546"/>
              <a:gd name="connsiteY52-8030" fmla="*/ 410969 h 1326995"/>
              <a:gd name="connsiteX53-8031" fmla="*/ 784495 w 2252546"/>
              <a:gd name="connsiteY53-8032" fmla="*/ 467479 h 1326995"/>
              <a:gd name="connsiteX54-8033" fmla="*/ 781088 w 2252546"/>
              <a:gd name="connsiteY54-8034" fmla="*/ 459105 h 1326995"/>
              <a:gd name="connsiteX55-8035" fmla="*/ 768152 w 2252546"/>
              <a:gd name="connsiteY55-8036" fmla="*/ 459105 h 1326995"/>
              <a:gd name="connsiteX56-8037" fmla="*/ 723189 w 2252546"/>
              <a:gd name="connsiteY56-8038" fmla="*/ 403695 h 1326995"/>
              <a:gd name="connsiteX0-8039" fmla="*/ 591015 w 2252546"/>
              <a:gd name="connsiteY0-8040" fmla="*/ 289932 h 1326995"/>
              <a:gd name="connsiteX1-8041" fmla="*/ 446049 w 2252546"/>
              <a:gd name="connsiteY1-8042" fmla="*/ 289932 h 1326995"/>
              <a:gd name="connsiteX2-8043" fmla="*/ 520144 w 2252546"/>
              <a:gd name="connsiteY2-8044" fmla="*/ 362927 h 1326995"/>
              <a:gd name="connsiteX3-8045" fmla="*/ 424915 w 2252546"/>
              <a:gd name="connsiteY3-8046" fmla="*/ 416936 h 1326995"/>
              <a:gd name="connsiteX4-8047" fmla="*/ 234176 w 2252546"/>
              <a:gd name="connsiteY4-8048" fmla="*/ 356839 h 1326995"/>
              <a:gd name="connsiteX5-8049" fmla="*/ 234176 w 2252546"/>
              <a:gd name="connsiteY5-8050" fmla="*/ 434897 h 1326995"/>
              <a:gd name="connsiteX6-8051" fmla="*/ 256478 w 2252546"/>
              <a:gd name="connsiteY6-8052" fmla="*/ 546410 h 1326995"/>
              <a:gd name="connsiteX7-8053" fmla="*/ 178419 w 2252546"/>
              <a:gd name="connsiteY7-8054" fmla="*/ 624468 h 1326995"/>
              <a:gd name="connsiteX8-8055" fmla="*/ 189571 w 2252546"/>
              <a:gd name="connsiteY8-8056" fmla="*/ 691376 h 1326995"/>
              <a:gd name="connsiteX9-8057" fmla="*/ 78058 w 2252546"/>
              <a:gd name="connsiteY9-8058" fmla="*/ 724829 h 1326995"/>
              <a:gd name="connsiteX10-8059" fmla="*/ 0 w 2252546"/>
              <a:gd name="connsiteY10-8060" fmla="*/ 802888 h 1326995"/>
              <a:gd name="connsiteX11-8061" fmla="*/ 91789 w 2252546"/>
              <a:gd name="connsiteY11-8062" fmla="*/ 953566 h 1326995"/>
              <a:gd name="connsiteX12-8063" fmla="*/ 89210 w 2252546"/>
              <a:gd name="connsiteY12-8064" fmla="*/ 1048215 h 1326995"/>
              <a:gd name="connsiteX13-8065" fmla="*/ 144966 w 2252546"/>
              <a:gd name="connsiteY13-8066" fmla="*/ 1070517 h 1326995"/>
              <a:gd name="connsiteX14-8067" fmla="*/ 167547 w 2252546"/>
              <a:gd name="connsiteY14-8068" fmla="*/ 981307 h 1326995"/>
              <a:gd name="connsiteX15-8069" fmla="*/ 267629 w 2252546"/>
              <a:gd name="connsiteY15-8070" fmla="*/ 1003610 h 1326995"/>
              <a:gd name="connsiteX16-8071" fmla="*/ 367158 w 2252546"/>
              <a:gd name="connsiteY16-8072" fmla="*/ 1021567 h 1326995"/>
              <a:gd name="connsiteX17-8073" fmla="*/ 373396 w 2252546"/>
              <a:gd name="connsiteY17-8074" fmla="*/ 982269 h 1326995"/>
              <a:gd name="connsiteX18-8075" fmla="*/ 430542 w 2252546"/>
              <a:gd name="connsiteY18-8076" fmla="*/ 1016543 h 1326995"/>
              <a:gd name="connsiteX19-8077" fmla="*/ 479502 w 2252546"/>
              <a:gd name="connsiteY19-8078" fmla="*/ 1102878 h 1326995"/>
              <a:gd name="connsiteX20-8079" fmla="*/ 479502 w 2252546"/>
              <a:gd name="connsiteY20-8080" fmla="*/ 1282390 h 1326995"/>
              <a:gd name="connsiteX21-8081" fmla="*/ 669073 w 2252546"/>
              <a:gd name="connsiteY21-8082" fmla="*/ 1304693 h 1326995"/>
              <a:gd name="connsiteX22-8083" fmla="*/ 713678 w 2252546"/>
              <a:gd name="connsiteY22-8084" fmla="*/ 1326995 h 1326995"/>
              <a:gd name="connsiteX23-8085" fmla="*/ 970156 w 2252546"/>
              <a:gd name="connsiteY23-8086" fmla="*/ 1070517 h 1326995"/>
              <a:gd name="connsiteX24-8087" fmla="*/ 1315844 w 2252546"/>
              <a:gd name="connsiteY24-8088" fmla="*/ 959005 h 1326995"/>
              <a:gd name="connsiteX25-8089" fmla="*/ 1405054 w 2252546"/>
              <a:gd name="connsiteY25-8090" fmla="*/ 825190 h 1326995"/>
              <a:gd name="connsiteX26-8091" fmla="*/ 1326995 w 2252546"/>
              <a:gd name="connsiteY26-8092" fmla="*/ 769434 h 1326995"/>
              <a:gd name="connsiteX27-8093" fmla="*/ 1371600 w 2252546"/>
              <a:gd name="connsiteY27-8094" fmla="*/ 669073 h 1326995"/>
              <a:gd name="connsiteX28-8095" fmla="*/ 1650380 w 2252546"/>
              <a:gd name="connsiteY28-8096" fmla="*/ 568712 h 1326995"/>
              <a:gd name="connsiteX29-8097" fmla="*/ 1650380 w 2252546"/>
              <a:gd name="connsiteY29-8098" fmla="*/ 512956 h 1326995"/>
              <a:gd name="connsiteX30-8099" fmla="*/ 1806497 w 2252546"/>
              <a:gd name="connsiteY30-8100" fmla="*/ 479502 h 1326995"/>
              <a:gd name="connsiteX31-8101" fmla="*/ 1839951 w 2252546"/>
              <a:gd name="connsiteY31-8102" fmla="*/ 501805 h 1326995"/>
              <a:gd name="connsiteX32-8103" fmla="*/ 1929161 w 2252546"/>
              <a:gd name="connsiteY32-8104" fmla="*/ 468351 h 1326995"/>
              <a:gd name="connsiteX33-8105" fmla="*/ 2241395 w 2252546"/>
              <a:gd name="connsiteY33-8106" fmla="*/ 512956 h 1326995"/>
              <a:gd name="connsiteX34-8107" fmla="*/ 2174488 w 2252546"/>
              <a:gd name="connsiteY34-8108" fmla="*/ 401444 h 1326995"/>
              <a:gd name="connsiteX35-8109" fmla="*/ 2252546 w 2252546"/>
              <a:gd name="connsiteY35-8110" fmla="*/ 356839 h 1326995"/>
              <a:gd name="connsiteX36-8111" fmla="*/ 2062976 w 2252546"/>
              <a:gd name="connsiteY36-8112" fmla="*/ 234176 h 1326995"/>
              <a:gd name="connsiteX37-8113" fmla="*/ 2062976 w 2252546"/>
              <a:gd name="connsiteY37-8114" fmla="*/ 234176 h 1326995"/>
              <a:gd name="connsiteX38-8115" fmla="*/ 2085278 w 2252546"/>
              <a:gd name="connsiteY38-8116" fmla="*/ 211873 h 1326995"/>
              <a:gd name="connsiteX39-8117" fmla="*/ 2040673 w 2252546"/>
              <a:gd name="connsiteY39-8118" fmla="*/ 111512 h 1326995"/>
              <a:gd name="connsiteX40-8119" fmla="*/ 2029522 w 2252546"/>
              <a:gd name="connsiteY40-8120" fmla="*/ 0 h 1326995"/>
              <a:gd name="connsiteX41-8121" fmla="*/ 1862254 w 2252546"/>
              <a:gd name="connsiteY41-8122" fmla="*/ 22302 h 1326995"/>
              <a:gd name="connsiteX42-8123" fmla="*/ 1661532 w 2252546"/>
              <a:gd name="connsiteY42-8124" fmla="*/ 0 h 1326995"/>
              <a:gd name="connsiteX43-8125" fmla="*/ 1572322 w 2252546"/>
              <a:gd name="connsiteY43-8126" fmla="*/ 78058 h 1326995"/>
              <a:gd name="connsiteX44-8127" fmla="*/ 1506189 w 2252546"/>
              <a:gd name="connsiteY44-8128" fmla="*/ 296790 h 1326995"/>
              <a:gd name="connsiteX45-8129" fmla="*/ 1433671 w 2252546"/>
              <a:gd name="connsiteY45-8130" fmla="*/ 234192 h 1326995"/>
              <a:gd name="connsiteX46-8131" fmla="*/ 1324400 w 2252546"/>
              <a:gd name="connsiteY46-8132" fmla="*/ 297204 h 1326995"/>
              <a:gd name="connsiteX47-8133" fmla="*/ 1324339 w 2252546"/>
              <a:gd name="connsiteY47-8134" fmla="*/ 422140 h 1326995"/>
              <a:gd name="connsiteX48-8135" fmla="*/ 1311312 w 2252546"/>
              <a:gd name="connsiteY48-8136" fmla="*/ 409571 h 1326995"/>
              <a:gd name="connsiteX49-8137" fmla="*/ 1240170 w 2252546"/>
              <a:gd name="connsiteY49-8138" fmla="*/ 390428 h 1326995"/>
              <a:gd name="connsiteX50-8139" fmla="*/ 1181596 w 2252546"/>
              <a:gd name="connsiteY50-8140" fmla="*/ 331657 h 1326995"/>
              <a:gd name="connsiteX51-8141" fmla="*/ 890352 w 2252546"/>
              <a:gd name="connsiteY51-8142" fmla="*/ 331657 h 1326995"/>
              <a:gd name="connsiteX52-8143" fmla="*/ 858705 w 2252546"/>
              <a:gd name="connsiteY52-8144" fmla="*/ 410969 h 1326995"/>
              <a:gd name="connsiteX53-8145" fmla="*/ 784495 w 2252546"/>
              <a:gd name="connsiteY53-8146" fmla="*/ 467479 h 1326995"/>
              <a:gd name="connsiteX54-8147" fmla="*/ 781088 w 2252546"/>
              <a:gd name="connsiteY54-8148" fmla="*/ 459105 h 1326995"/>
              <a:gd name="connsiteX55-8149" fmla="*/ 768152 w 2252546"/>
              <a:gd name="connsiteY55-8150" fmla="*/ 459105 h 1326995"/>
              <a:gd name="connsiteX56-8151" fmla="*/ 723189 w 2252546"/>
              <a:gd name="connsiteY56-8152" fmla="*/ 403695 h 1326995"/>
              <a:gd name="connsiteX57-8153" fmla="*/ 591015 w 2252546"/>
              <a:gd name="connsiteY57-8154" fmla="*/ 289932 h 1326995"/>
              <a:gd name="connsiteX0-8155" fmla="*/ 591015 w 2252546"/>
              <a:gd name="connsiteY0-8156" fmla="*/ 289932 h 1326995"/>
              <a:gd name="connsiteX1-8157" fmla="*/ 446049 w 2252546"/>
              <a:gd name="connsiteY1-8158" fmla="*/ 289932 h 1326995"/>
              <a:gd name="connsiteX2-8159" fmla="*/ 520144 w 2252546"/>
              <a:gd name="connsiteY2-8160" fmla="*/ 362927 h 1326995"/>
              <a:gd name="connsiteX3-8161" fmla="*/ 424915 w 2252546"/>
              <a:gd name="connsiteY3-8162" fmla="*/ 416936 h 1326995"/>
              <a:gd name="connsiteX4-8163" fmla="*/ 234176 w 2252546"/>
              <a:gd name="connsiteY4-8164" fmla="*/ 356839 h 1326995"/>
              <a:gd name="connsiteX5-8165" fmla="*/ 234176 w 2252546"/>
              <a:gd name="connsiteY5-8166" fmla="*/ 434897 h 1326995"/>
              <a:gd name="connsiteX6-8167" fmla="*/ 256478 w 2252546"/>
              <a:gd name="connsiteY6-8168" fmla="*/ 546410 h 1326995"/>
              <a:gd name="connsiteX7-8169" fmla="*/ 178419 w 2252546"/>
              <a:gd name="connsiteY7-8170" fmla="*/ 624468 h 1326995"/>
              <a:gd name="connsiteX8-8171" fmla="*/ 189571 w 2252546"/>
              <a:gd name="connsiteY8-8172" fmla="*/ 691376 h 1326995"/>
              <a:gd name="connsiteX9-8173" fmla="*/ 78058 w 2252546"/>
              <a:gd name="connsiteY9-8174" fmla="*/ 724829 h 1326995"/>
              <a:gd name="connsiteX10-8175" fmla="*/ 0 w 2252546"/>
              <a:gd name="connsiteY10-8176" fmla="*/ 802888 h 1326995"/>
              <a:gd name="connsiteX11-8177" fmla="*/ 91789 w 2252546"/>
              <a:gd name="connsiteY11-8178" fmla="*/ 953566 h 1326995"/>
              <a:gd name="connsiteX12-8179" fmla="*/ 89210 w 2252546"/>
              <a:gd name="connsiteY12-8180" fmla="*/ 1048215 h 1326995"/>
              <a:gd name="connsiteX13-8181" fmla="*/ 144966 w 2252546"/>
              <a:gd name="connsiteY13-8182" fmla="*/ 1070517 h 1326995"/>
              <a:gd name="connsiteX14-8183" fmla="*/ 167547 w 2252546"/>
              <a:gd name="connsiteY14-8184" fmla="*/ 981307 h 1326995"/>
              <a:gd name="connsiteX15-8185" fmla="*/ 267629 w 2252546"/>
              <a:gd name="connsiteY15-8186" fmla="*/ 1003610 h 1326995"/>
              <a:gd name="connsiteX16-8187" fmla="*/ 367158 w 2252546"/>
              <a:gd name="connsiteY16-8188" fmla="*/ 1021567 h 1326995"/>
              <a:gd name="connsiteX17-8189" fmla="*/ 373396 w 2252546"/>
              <a:gd name="connsiteY17-8190" fmla="*/ 982269 h 1326995"/>
              <a:gd name="connsiteX18-8191" fmla="*/ 430542 w 2252546"/>
              <a:gd name="connsiteY18-8192" fmla="*/ 1016543 h 1326995"/>
              <a:gd name="connsiteX19-8193" fmla="*/ 479502 w 2252546"/>
              <a:gd name="connsiteY19-8194" fmla="*/ 1102878 h 1326995"/>
              <a:gd name="connsiteX20-8195" fmla="*/ 479502 w 2252546"/>
              <a:gd name="connsiteY20-8196" fmla="*/ 1282390 h 1326995"/>
              <a:gd name="connsiteX21-8197" fmla="*/ 669073 w 2252546"/>
              <a:gd name="connsiteY21-8198" fmla="*/ 1304693 h 1326995"/>
              <a:gd name="connsiteX22-8199" fmla="*/ 713678 w 2252546"/>
              <a:gd name="connsiteY22-8200" fmla="*/ 1326995 h 1326995"/>
              <a:gd name="connsiteX23-8201" fmla="*/ 970156 w 2252546"/>
              <a:gd name="connsiteY23-8202" fmla="*/ 1070517 h 1326995"/>
              <a:gd name="connsiteX24-8203" fmla="*/ 1315844 w 2252546"/>
              <a:gd name="connsiteY24-8204" fmla="*/ 959005 h 1326995"/>
              <a:gd name="connsiteX25-8205" fmla="*/ 1405054 w 2252546"/>
              <a:gd name="connsiteY25-8206" fmla="*/ 825190 h 1326995"/>
              <a:gd name="connsiteX26-8207" fmla="*/ 1326995 w 2252546"/>
              <a:gd name="connsiteY26-8208" fmla="*/ 769434 h 1326995"/>
              <a:gd name="connsiteX27-8209" fmla="*/ 1371600 w 2252546"/>
              <a:gd name="connsiteY27-8210" fmla="*/ 669073 h 1326995"/>
              <a:gd name="connsiteX28-8211" fmla="*/ 1650380 w 2252546"/>
              <a:gd name="connsiteY28-8212" fmla="*/ 568712 h 1326995"/>
              <a:gd name="connsiteX29-8213" fmla="*/ 1650380 w 2252546"/>
              <a:gd name="connsiteY29-8214" fmla="*/ 512956 h 1326995"/>
              <a:gd name="connsiteX30-8215" fmla="*/ 1806497 w 2252546"/>
              <a:gd name="connsiteY30-8216" fmla="*/ 479502 h 1326995"/>
              <a:gd name="connsiteX31-8217" fmla="*/ 1839951 w 2252546"/>
              <a:gd name="connsiteY31-8218" fmla="*/ 501805 h 1326995"/>
              <a:gd name="connsiteX32-8219" fmla="*/ 1929161 w 2252546"/>
              <a:gd name="connsiteY32-8220" fmla="*/ 468351 h 1326995"/>
              <a:gd name="connsiteX33-8221" fmla="*/ 2241395 w 2252546"/>
              <a:gd name="connsiteY33-8222" fmla="*/ 512956 h 1326995"/>
              <a:gd name="connsiteX34-8223" fmla="*/ 2174488 w 2252546"/>
              <a:gd name="connsiteY34-8224" fmla="*/ 401444 h 1326995"/>
              <a:gd name="connsiteX35-8225" fmla="*/ 2252546 w 2252546"/>
              <a:gd name="connsiteY35-8226" fmla="*/ 356839 h 1326995"/>
              <a:gd name="connsiteX36-8227" fmla="*/ 2062976 w 2252546"/>
              <a:gd name="connsiteY36-8228" fmla="*/ 234176 h 1326995"/>
              <a:gd name="connsiteX37-8229" fmla="*/ 2062976 w 2252546"/>
              <a:gd name="connsiteY37-8230" fmla="*/ 234176 h 1326995"/>
              <a:gd name="connsiteX38-8231" fmla="*/ 2085278 w 2252546"/>
              <a:gd name="connsiteY38-8232" fmla="*/ 211873 h 1326995"/>
              <a:gd name="connsiteX39-8233" fmla="*/ 2040673 w 2252546"/>
              <a:gd name="connsiteY39-8234" fmla="*/ 111512 h 1326995"/>
              <a:gd name="connsiteX40-8235" fmla="*/ 2029522 w 2252546"/>
              <a:gd name="connsiteY40-8236" fmla="*/ 0 h 1326995"/>
              <a:gd name="connsiteX41-8237" fmla="*/ 1862254 w 2252546"/>
              <a:gd name="connsiteY41-8238" fmla="*/ 22302 h 1326995"/>
              <a:gd name="connsiteX42-8239" fmla="*/ 1661532 w 2252546"/>
              <a:gd name="connsiteY42-8240" fmla="*/ 0 h 1326995"/>
              <a:gd name="connsiteX43-8241" fmla="*/ 1572322 w 2252546"/>
              <a:gd name="connsiteY43-8242" fmla="*/ 78058 h 1326995"/>
              <a:gd name="connsiteX44-8243" fmla="*/ 1506189 w 2252546"/>
              <a:gd name="connsiteY44-8244" fmla="*/ 296790 h 1326995"/>
              <a:gd name="connsiteX45-8245" fmla="*/ 1433671 w 2252546"/>
              <a:gd name="connsiteY45-8246" fmla="*/ 234192 h 1326995"/>
              <a:gd name="connsiteX46-8247" fmla="*/ 1324400 w 2252546"/>
              <a:gd name="connsiteY46-8248" fmla="*/ 297204 h 1326995"/>
              <a:gd name="connsiteX47-8249" fmla="*/ 1324339 w 2252546"/>
              <a:gd name="connsiteY47-8250" fmla="*/ 422140 h 1326995"/>
              <a:gd name="connsiteX48-8251" fmla="*/ 1311312 w 2252546"/>
              <a:gd name="connsiteY48-8252" fmla="*/ 409571 h 1326995"/>
              <a:gd name="connsiteX49-8253" fmla="*/ 1240170 w 2252546"/>
              <a:gd name="connsiteY49-8254" fmla="*/ 390428 h 1326995"/>
              <a:gd name="connsiteX50-8255" fmla="*/ 1181596 w 2252546"/>
              <a:gd name="connsiteY50-8256" fmla="*/ 331657 h 1326995"/>
              <a:gd name="connsiteX51-8257" fmla="*/ 890352 w 2252546"/>
              <a:gd name="connsiteY51-8258" fmla="*/ 331657 h 1326995"/>
              <a:gd name="connsiteX52-8259" fmla="*/ 858705 w 2252546"/>
              <a:gd name="connsiteY52-8260" fmla="*/ 410969 h 1326995"/>
              <a:gd name="connsiteX53-8261" fmla="*/ 784495 w 2252546"/>
              <a:gd name="connsiteY53-8262" fmla="*/ 467479 h 1326995"/>
              <a:gd name="connsiteX54-8263" fmla="*/ 781088 w 2252546"/>
              <a:gd name="connsiteY54-8264" fmla="*/ 459105 h 1326995"/>
              <a:gd name="connsiteX55-8265" fmla="*/ 768152 w 2252546"/>
              <a:gd name="connsiteY55-8266" fmla="*/ 459105 h 1326995"/>
              <a:gd name="connsiteX56-8267" fmla="*/ 723189 w 2252546"/>
              <a:gd name="connsiteY56-8268" fmla="*/ 403695 h 1326995"/>
              <a:gd name="connsiteX57-8269" fmla="*/ 591015 w 2252546"/>
              <a:gd name="connsiteY57-8270" fmla="*/ 289932 h 1326995"/>
              <a:gd name="connsiteX0-8271" fmla="*/ 591015 w 2252546"/>
              <a:gd name="connsiteY0-8272" fmla="*/ 289932 h 1326995"/>
              <a:gd name="connsiteX1-8273" fmla="*/ 446049 w 2252546"/>
              <a:gd name="connsiteY1-8274" fmla="*/ 289932 h 1326995"/>
              <a:gd name="connsiteX2-8275" fmla="*/ 520144 w 2252546"/>
              <a:gd name="connsiteY2-8276" fmla="*/ 362927 h 1326995"/>
              <a:gd name="connsiteX3-8277" fmla="*/ 424915 w 2252546"/>
              <a:gd name="connsiteY3-8278" fmla="*/ 416936 h 1326995"/>
              <a:gd name="connsiteX4-8279" fmla="*/ 234176 w 2252546"/>
              <a:gd name="connsiteY4-8280" fmla="*/ 356839 h 1326995"/>
              <a:gd name="connsiteX5-8281" fmla="*/ 234176 w 2252546"/>
              <a:gd name="connsiteY5-8282" fmla="*/ 434897 h 1326995"/>
              <a:gd name="connsiteX6-8283" fmla="*/ 256478 w 2252546"/>
              <a:gd name="connsiteY6-8284" fmla="*/ 546410 h 1326995"/>
              <a:gd name="connsiteX7-8285" fmla="*/ 178419 w 2252546"/>
              <a:gd name="connsiteY7-8286" fmla="*/ 624468 h 1326995"/>
              <a:gd name="connsiteX8-8287" fmla="*/ 189571 w 2252546"/>
              <a:gd name="connsiteY8-8288" fmla="*/ 691376 h 1326995"/>
              <a:gd name="connsiteX9-8289" fmla="*/ 78058 w 2252546"/>
              <a:gd name="connsiteY9-8290" fmla="*/ 724829 h 1326995"/>
              <a:gd name="connsiteX10-8291" fmla="*/ 0 w 2252546"/>
              <a:gd name="connsiteY10-8292" fmla="*/ 802888 h 1326995"/>
              <a:gd name="connsiteX11-8293" fmla="*/ 91789 w 2252546"/>
              <a:gd name="connsiteY11-8294" fmla="*/ 953566 h 1326995"/>
              <a:gd name="connsiteX12-8295" fmla="*/ 89210 w 2252546"/>
              <a:gd name="connsiteY12-8296" fmla="*/ 1048215 h 1326995"/>
              <a:gd name="connsiteX13-8297" fmla="*/ 144966 w 2252546"/>
              <a:gd name="connsiteY13-8298" fmla="*/ 1070517 h 1326995"/>
              <a:gd name="connsiteX14-8299" fmla="*/ 167547 w 2252546"/>
              <a:gd name="connsiteY14-8300" fmla="*/ 981307 h 1326995"/>
              <a:gd name="connsiteX15-8301" fmla="*/ 267629 w 2252546"/>
              <a:gd name="connsiteY15-8302" fmla="*/ 1003610 h 1326995"/>
              <a:gd name="connsiteX16-8303" fmla="*/ 367158 w 2252546"/>
              <a:gd name="connsiteY16-8304" fmla="*/ 1021567 h 1326995"/>
              <a:gd name="connsiteX17-8305" fmla="*/ 373396 w 2252546"/>
              <a:gd name="connsiteY17-8306" fmla="*/ 982269 h 1326995"/>
              <a:gd name="connsiteX18-8307" fmla="*/ 430542 w 2252546"/>
              <a:gd name="connsiteY18-8308" fmla="*/ 1016543 h 1326995"/>
              <a:gd name="connsiteX19-8309" fmla="*/ 479502 w 2252546"/>
              <a:gd name="connsiteY19-8310" fmla="*/ 1102878 h 1326995"/>
              <a:gd name="connsiteX20-8311" fmla="*/ 479502 w 2252546"/>
              <a:gd name="connsiteY20-8312" fmla="*/ 1282390 h 1326995"/>
              <a:gd name="connsiteX21-8313" fmla="*/ 669073 w 2252546"/>
              <a:gd name="connsiteY21-8314" fmla="*/ 1304693 h 1326995"/>
              <a:gd name="connsiteX22-8315" fmla="*/ 713678 w 2252546"/>
              <a:gd name="connsiteY22-8316" fmla="*/ 1326995 h 1326995"/>
              <a:gd name="connsiteX23-8317" fmla="*/ 970156 w 2252546"/>
              <a:gd name="connsiteY23-8318" fmla="*/ 1070517 h 1326995"/>
              <a:gd name="connsiteX24-8319" fmla="*/ 1315844 w 2252546"/>
              <a:gd name="connsiteY24-8320" fmla="*/ 959005 h 1326995"/>
              <a:gd name="connsiteX25-8321" fmla="*/ 1405054 w 2252546"/>
              <a:gd name="connsiteY25-8322" fmla="*/ 825190 h 1326995"/>
              <a:gd name="connsiteX26-8323" fmla="*/ 1326995 w 2252546"/>
              <a:gd name="connsiteY26-8324" fmla="*/ 769434 h 1326995"/>
              <a:gd name="connsiteX27-8325" fmla="*/ 1371600 w 2252546"/>
              <a:gd name="connsiteY27-8326" fmla="*/ 669073 h 1326995"/>
              <a:gd name="connsiteX28-8327" fmla="*/ 1650380 w 2252546"/>
              <a:gd name="connsiteY28-8328" fmla="*/ 568712 h 1326995"/>
              <a:gd name="connsiteX29-8329" fmla="*/ 1650380 w 2252546"/>
              <a:gd name="connsiteY29-8330" fmla="*/ 512956 h 1326995"/>
              <a:gd name="connsiteX30-8331" fmla="*/ 1806497 w 2252546"/>
              <a:gd name="connsiteY30-8332" fmla="*/ 479502 h 1326995"/>
              <a:gd name="connsiteX31-8333" fmla="*/ 1839951 w 2252546"/>
              <a:gd name="connsiteY31-8334" fmla="*/ 501805 h 1326995"/>
              <a:gd name="connsiteX32-8335" fmla="*/ 1929161 w 2252546"/>
              <a:gd name="connsiteY32-8336" fmla="*/ 468351 h 1326995"/>
              <a:gd name="connsiteX33-8337" fmla="*/ 2241395 w 2252546"/>
              <a:gd name="connsiteY33-8338" fmla="*/ 512956 h 1326995"/>
              <a:gd name="connsiteX34-8339" fmla="*/ 2174488 w 2252546"/>
              <a:gd name="connsiteY34-8340" fmla="*/ 401444 h 1326995"/>
              <a:gd name="connsiteX35-8341" fmla="*/ 2252546 w 2252546"/>
              <a:gd name="connsiteY35-8342" fmla="*/ 356839 h 1326995"/>
              <a:gd name="connsiteX36-8343" fmla="*/ 2062976 w 2252546"/>
              <a:gd name="connsiteY36-8344" fmla="*/ 234176 h 1326995"/>
              <a:gd name="connsiteX37-8345" fmla="*/ 2062976 w 2252546"/>
              <a:gd name="connsiteY37-8346" fmla="*/ 234176 h 1326995"/>
              <a:gd name="connsiteX38-8347" fmla="*/ 2085278 w 2252546"/>
              <a:gd name="connsiteY38-8348" fmla="*/ 211873 h 1326995"/>
              <a:gd name="connsiteX39-8349" fmla="*/ 2040673 w 2252546"/>
              <a:gd name="connsiteY39-8350" fmla="*/ 111512 h 1326995"/>
              <a:gd name="connsiteX40-8351" fmla="*/ 2029522 w 2252546"/>
              <a:gd name="connsiteY40-8352" fmla="*/ 0 h 1326995"/>
              <a:gd name="connsiteX41-8353" fmla="*/ 1862254 w 2252546"/>
              <a:gd name="connsiteY41-8354" fmla="*/ 22302 h 1326995"/>
              <a:gd name="connsiteX42-8355" fmla="*/ 1667247 w 2252546"/>
              <a:gd name="connsiteY42-8356" fmla="*/ 28561 h 1326995"/>
              <a:gd name="connsiteX43-8357" fmla="*/ 1572322 w 2252546"/>
              <a:gd name="connsiteY43-8358" fmla="*/ 78058 h 1326995"/>
              <a:gd name="connsiteX44-8359" fmla="*/ 1506189 w 2252546"/>
              <a:gd name="connsiteY44-8360" fmla="*/ 296790 h 1326995"/>
              <a:gd name="connsiteX45-8361" fmla="*/ 1433671 w 2252546"/>
              <a:gd name="connsiteY45-8362" fmla="*/ 234192 h 1326995"/>
              <a:gd name="connsiteX46-8363" fmla="*/ 1324400 w 2252546"/>
              <a:gd name="connsiteY46-8364" fmla="*/ 297204 h 1326995"/>
              <a:gd name="connsiteX47-8365" fmla="*/ 1324339 w 2252546"/>
              <a:gd name="connsiteY47-8366" fmla="*/ 422140 h 1326995"/>
              <a:gd name="connsiteX48-8367" fmla="*/ 1311312 w 2252546"/>
              <a:gd name="connsiteY48-8368" fmla="*/ 409571 h 1326995"/>
              <a:gd name="connsiteX49-8369" fmla="*/ 1240170 w 2252546"/>
              <a:gd name="connsiteY49-8370" fmla="*/ 390428 h 1326995"/>
              <a:gd name="connsiteX50-8371" fmla="*/ 1181596 w 2252546"/>
              <a:gd name="connsiteY50-8372" fmla="*/ 331657 h 1326995"/>
              <a:gd name="connsiteX51-8373" fmla="*/ 890352 w 2252546"/>
              <a:gd name="connsiteY51-8374" fmla="*/ 331657 h 1326995"/>
              <a:gd name="connsiteX52-8375" fmla="*/ 858705 w 2252546"/>
              <a:gd name="connsiteY52-8376" fmla="*/ 410969 h 1326995"/>
              <a:gd name="connsiteX53-8377" fmla="*/ 784495 w 2252546"/>
              <a:gd name="connsiteY53-8378" fmla="*/ 467479 h 1326995"/>
              <a:gd name="connsiteX54-8379" fmla="*/ 781088 w 2252546"/>
              <a:gd name="connsiteY54-8380" fmla="*/ 459105 h 1326995"/>
              <a:gd name="connsiteX55-8381" fmla="*/ 768152 w 2252546"/>
              <a:gd name="connsiteY55-8382" fmla="*/ 459105 h 1326995"/>
              <a:gd name="connsiteX56-8383" fmla="*/ 723189 w 2252546"/>
              <a:gd name="connsiteY56-8384" fmla="*/ 403695 h 1326995"/>
              <a:gd name="connsiteX57-8385" fmla="*/ 591015 w 2252546"/>
              <a:gd name="connsiteY57-8386" fmla="*/ 289932 h 1326995"/>
              <a:gd name="connsiteX0-8387" fmla="*/ 591015 w 2252546"/>
              <a:gd name="connsiteY0-8388" fmla="*/ 289932 h 1326995"/>
              <a:gd name="connsiteX1-8389" fmla="*/ 446049 w 2252546"/>
              <a:gd name="connsiteY1-8390" fmla="*/ 289932 h 1326995"/>
              <a:gd name="connsiteX2-8391" fmla="*/ 520144 w 2252546"/>
              <a:gd name="connsiteY2-8392" fmla="*/ 362927 h 1326995"/>
              <a:gd name="connsiteX3-8393" fmla="*/ 424915 w 2252546"/>
              <a:gd name="connsiteY3-8394" fmla="*/ 416936 h 1326995"/>
              <a:gd name="connsiteX4-8395" fmla="*/ 234176 w 2252546"/>
              <a:gd name="connsiteY4-8396" fmla="*/ 356839 h 1326995"/>
              <a:gd name="connsiteX5-8397" fmla="*/ 234176 w 2252546"/>
              <a:gd name="connsiteY5-8398" fmla="*/ 434897 h 1326995"/>
              <a:gd name="connsiteX6-8399" fmla="*/ 256478 w 2252546"/>
              <a:gd name="connsiteY6-8400" fmla="*/ 546410 h 1326995"/>
              <a:gd name="connsiteX7-8401" fmla="*/ 178419 w 2252546"/>
              <a:gd name="connsiteY7-8402" fmla="*/ 624468 h 1326995"/>
              <a:gd name="connsiteX8-8403" fmla="*/ 189571 w 2252546"/>
              <a:gd name="connsiteY8-8404" fmla="*/ 691376 h 1326995"/>
              <a:gd name="connsiteX9-8405" fmla="*/ 78058 w 2252546"/>
              <a:gd name="connsiteY9-8406" fmla="*/ 724829 h 1326995"/>
              <a:gd name="connsiteX10-8407" fmla="*/ 0 w 2252546"/>
              <a:gd name="connsiteY10-8408" fmla="*/ 802888 h 1326995"/>
              <a:gd name="connsiteX11-8409" fmla="*/ 91789 w 2252546"/>
              <a:gd name="connsiteY11-8410" fmla="*/ 953566 h 1326995"/>
              <a:gd name="connsiteX12-8411" fmla="*/ 89210 w 2252546"/>
              <a:gd name="connsiteY12-8412" fmla="*/ 1048215 h 1326995"/>
              <a:gd name="connsiteX13-8413" fmla="*/ 144966 w 2252546"/>
              <a:gd name="connsiteY13-8414" fmla="*/ 1070517 h 1326995"/>
              <a:gd name="connsiteX14-8415" fmla="*/ 167547 w 2252546"/>
              <a:gd name="connsiteY14-8416" fmla="*/ 981307 h 1326995"/>
              <a:gd name="connsiteX15-8417" fmla="*/ 267629 w 2252546"/>
              <a:gd name="connsiteY15-8418" fmla="*/ 1003610 h 1326995"/>
              <a:gd name="connsiteX16-8419" fmla="*/ 367158 w 2252546"/>
              <a:gd name="connsiteY16-8420" fmla="*/ 1021567 h 1326995"/>
              <a:gd name="connsiteX17-8421" fmla="*/ 373396 w 2252546"/>
              <a:gd name="connsiteY17-8422" fmla="*/ 982269 h 1326995"/>
              <a:gd name="connsiteX18-8423" fmla="*/ 430542 w 2252546"/>
              <a:gd name="connsiteY18-8424" fmla="*/ 1016543 h 1326995"/>
              <a:gd name="connsiteX19-8425" fmla="*/ 479502 w 2252546"/>
              <a:gd name="connsiteY19-8426" fmla="*/ 1102878 h 1326995"/>
              <a:gd name="connsiteX20-8427" fmla="*/ 479502 w 2252546"/>
              <a:gd name="connsiteY20-8428" fmla="*/ 1282390 h 1326995"/>
              <a:gd name="connsiteX21-8429" fmla="*/ 669073 w 2252546"/>
              <a:gd name="connsiteY21-8430" fmla="*/ 1304693 h 1326995"/>
              <a:gd name="connsiteX22-8431" fmla="*/ 713678 w 2252546"/>
              <a:gd name="connsiteY22-8432" fmla="*/ 1326995 h 1326995"/>
              <a:gd name="connsiteX23-8433" fmla="*/ 970156 w 2252546"/>
              <a:gd name="connsiteY23-8434" fmla="*/ 1070517 h 1326995"/>
              <a:gd name="connsiteX24-8435" fmla="*/ 1315844 w 2252546"/>
              <a:gd name="connsiteY24-8436" fmla="*/ 959005 h 1326995"/>
              <a:gd name="connsiteX25-8437" fmla="*/ 1405054 w 2252546"/>
              <a:gd name="connsiteY25-8438" fmla="*/ 825190 h 1326995"/>
              <a:gd name="connsiteX26-8439" fmla="*/ 1326995 w 2252546"/>
              <a:gd name="connsiteY26-8440" fmla="*/ 769434 h 1326995"/>
              <a:gd name="connsiteX27-8441" fmla="*/ 1371600 w 2252546"/>
              <a:gd name="connsiteY27-8442" fmla="*/ 669073 h 1326995"/>
              <a:gd name="connsiteX28-8443" fmla="*/ 1650380 w 2252546"/>
              <a:gd name="connsiteY28-8444" fmla="*/ 568712 h 1326995"/>
              <a:gd name="connsiteX29-8445" fmla="*/ 1650380 w 2252546"/>
              <a:gd name="connsiteY29-8446" fmla="*/ 512956 h 1326995"/>
              <a:gd name="connsiteX30-8447" fmla="*/ 1806497 w 2252546"/>
              <a:gd name="connsiteY30-8448" fmla="*/ 479502 h 1326995"/>
              <a:gd name="connsiteX31-8449" fmla="*/ 1839951 w 2252546"/>
              <a:gd name="connsiteY31-8450" fmla="*/ 501805 h 1326995"/>
              <a:gd name="connsiteX32-8451" fmla="*/ 1929161 w 2252546"/>
              <a:gd name="connsiteY32-8452" fmla="*/ 468351 h 1326995"/>
              <a:gd name="connsiteX33-8453" fmla="*/ 2241395 w 2252546"/>
              <a:gd name="connsiteY33-8454" fmla="*/ 512956 h 1326995"/>
              <a:gd name="connsiteX34-8455" fmla="*/ 2174488 w 2252546"/>
              <a:gd name="connsiteY34-8456" fmla="*/ 401444 h 1326995"/>
              <a:gd name="connsiteX35-8457" fmla="*/ 2252546 w 2252546"/>
              <a:gd name="connsiteY35-8458" fmla="*/ 356839 h 1326995"/>
              <a:gd name="connsiteX36-8459" fmla="*/ 2062976 w 2252546"/>
              <a:gd name="connsiteY36-8460" fmla="*/ 234176 h 1326995"/>
              <a:gd name="connsiteX37-8461" fmla="*/ 2062976 w 2252546"/>
              <a:gd name="connsiteY37-8462" fmla="*/ 234176 h 1326995"/>
              <a:gd name="connsiteX38-8463" fmla="*/ 2085278 w 2252546"/>
              <a:gd name="connsiteY38-8464" fmla="*/ 211873 h 1326995"/>
              <a:gd name="connsiteX39-8465" fmla="*/ 2040673 w 2252546"/>
              <a:gd name="connsiteY39-8466" fmla="*/ 111512 h 1326995"/>
              <a:gd name="connsiteX40-8467" fmla="*/ 2029522 w 2252546"/>
              <a:gd name="connsiteY40-8468" fmla="*/ 0 h 1326995"/>
              <a:gd name="connsiteX41-8469" fmla="*/ 1882255 w 2252546"/>
              <a:gd name="connsiteY41-8470" fmla="*/ 42295 h 1326995"/>
              <a:gd name="connsiteX42-8471" fmla="*/ 1667247 w 2252546"/>
              <a:gd name="connsiteY42-8472" fmla="*/ 28561 h 1326995"/>
              <a:gd name="connsiteX43-8473" fmla="*/ 1572322 w 2252546"/>
              <a:gd name="connsiteY43-8474" fmla="*/ 78058 h 1326995"/>
              <a:gd name="connsiteX44-8475" fmla="*/ 1506189 w 2252546"/>
              <a:gd name="connsiteY44-8476" fmla="*/ 296790 h 1326995"/>
              <a:gd name="connsiteX45-8477" fmla="*/ 1433671 w 2252546"/>
              <a:gd name="connsiteY45-8478" fmla="*/ 234192 h 1326995"/>
              <a:gd name="connsiteX46-8479" fmla="*/ 1324400 w 2252546"/>
              <a:gd name="connsiteY46-8480" fmla="*/ 297204 h 1326995"/>
              <a:gd name="connsiteX47-8481" fmla="*/ 1324339 w 2252546"/>
              <a:gd name="connsiteY47-8482" fmla="*/ 422140 h 1326995"/>
              <a:gd name="connsiteX48-8483" fmla="*/ 1311312 w 2252546"/>
              <a:gd name="connsiteY48-8484" fmla="*/ 409571 h 1326995"/>
              <a:gd name="connsiteX49-8485" fmla="*/ 1240170 w 2252546"/>
              <a:gd name="connsiteY49-8486" fmla="*/ 390428 h 1326995"/>
              <a:gd name="connsiteX50-8487" fmla="*/ 1181596 w 2252546"/>
              <a:gd name="connsiteY50-8488" fmla="*/ 331657 h 1326995"/>
              <a:gd name="connsiteX51-8489" fmla="*/ 890352 w 2252546"/>
              <a:gd name="connsiteY51-8490" fmla="*/ 331657 h 1326995"/>
              <a:gd name="connsiteX52-8491" fmla="*/ 858705 w 2252546"/>
              <a:gd name="connsiteY52-8492" fmla="*/ 410969 h 1326995"/>
              <a:gd name="connsiteX53-8493" fmla="*/ 784495 w 2252546"/>
              <a:gd name="connsiteY53-8494" fmla="*/ 467479 h 1326995"/>
              <a:gd name="connsiteX54-8495" fmla="*/ 781088 w 2252546"/>
              <a:gd name="connsiteY54-8496" fmla="*/ 459105 h 1326995"/>
              <a:gd name="connsiteX55-8497" fmla="*/ 768152 w 2252546"/>
              <a:gd name="connsiteY55-8498" fmla="*/ 459105 h 1326995"/>
              <a:gd name="connsiteX56-8499" fmla="*/ 723189 w 2252546"/>
              <a:gd name="connsiteY56-8500" fmla="*/ 403695 h 1326995"/>
              <a:gd name="connsiteX57-8501" fmla="*/ 591015 w 2252546"/>
              <a:gd name="connsiteY57-8502" fmla="*/ 289932 h 1326995"/>
              <a:gd name="connsiteX0-8503" fmla="*/ 591015 w 2252546"/>
              <a:gd name="connsiteY0-8504" fmla="*/ 261371 h 1298434"/>
              <a:gd name="connsiteX1-8505" fmla="*/ 446049 w 2252546"/>
              <a:gd name="connsiteY1-8506" fmla="*/ 261371 h 1298434"/>
              <a:gd name="connsiteX2-8507" fmla="*/ 520144 w 2252546"/>
              <a:gd name="connsiteY2-8508" fmla="*/ 334366 h 1298434"/>
              <a:gd name="connsiteX3-8509" fmla="*/ 424915 w 2252546"/>
              <a:gd name="connsiteY3-8510" fmla="*/ 388375 h 1298434"/>
              <a:gd name="connsiteX4-8511" fmla="*/ 234176 w 2252546"/>
              <a:gd name="connsiteY4-8512" fmla="*/ 328278 h 1298434"/>
              <a:gd name="connsiteX5-8513" fmla="*/ 234176 w 2252546"/>
              <a:gd name="connsiteY5-8514" fmla="*/ 406336 h 1298434"/>
              <a:gd name="connsiteX6-8515" fmla="*/ 256478 w 2252546"/>
              <a:gd name="connsiteY6-8516" fmla="*/ 517849 h 1298434"/>
              <a:gd name="connsiteX7-8517" fmla="*/ 178419 w 2252546"/>
              <a:gd name="connsiteY7-8518" fmla="*/ 595907 h 1298434"/>
              <a:gd name="connsiteX8-8519" fmla="*/ 189571 w 2252546"/>
              <a:gd name="connsiteY8-8520" fmla="*/ 662815 h 1298434"/>
              <a:gd name="connsiteX9-8521" fmla="*/ 78058 w 2252546"/>
              <a:gd name="connsiteY9-8522" fmla="*/ 696268 h 1298434"/>
              <a:gd name="connsiteX10-8523" fmla="*/ 0 w 2252546"/>
              <a:gd name="connsiteY10-8524" fmla="*/ 774327 h 1298434"/>
              <a:gd name="connsiteX11-8525" fmla="*/ 91789 w 2252546"/>
              <a:gd name="connsiteY11-8526" fmla="*/ 925005 h 1298434"/>
              <a:gd name="connsiteX12-8527" fmla="*/ 89210 w 2252546"/>
              <a:gd name="connsiteY12-8528" fmla="*/ 1019654 h 1298434"/>
              <a:gd name="connsiteX13-8529" fmla="*/ 144966 w 2252546"/>
              <a:gd name="connsiteY13-8530" fmla="*/ 1041956 h 1298434"/>
              <a:gd name="connsiteX14-8531" fmla="*/ 167547 w 2252546"/>
              <a:gd name="connsiteY14-8532" fmla="*/ 952746 h 1298434"/>
              <a:gd name="connsiteX15-8533" fmla="*/ 267629 w 2252546"/>
              <a:gd name="connsiteY15-8534" fmla="*/ 975049 h 1298434"/>
              <a:gd name="connsiteX16-8535" fmla="*/ 367158 w 2252546"/>
              <a:gd name="connsiteY16-8536" fmla="*/ 993006 h 1298434"/>
              <a:gd name="connsiteX17-8537" fmla="*/ 373396 w 2252546"/>
              <a:gd name="connsiteY17-8538" fmla="*/ 953708 h 1298434"/>
              <a:gd name="connsiteX18-8539" fmla="*/ 430542 w 2252546"/>
              <a:gd name="connsiteY18-8540" fmla="*/ 987982 h 1298434"/>
              <a:gd name="connsiteX19-8541" fmla="*/ 479502 w 2252546"/>
              <a:gd name="connsiteY19-8542" fmla="*/ 1074317 h 1298434"/>
              <a:gd name="connsiteX20-8543" fmla="*/ 479502 w 2252546"/>
              <a:gd name="connsiteY20-8544" fmla="*/ 1253829 h 1298434"/>
              <a:gd name="connsiteX21-8545" fmla="*/ 669073 w 2252546"/>
              <a:gd name="connsiteY21-8546" fmla="*/ 1276132 h 1298434"/>
              <a:gd name="connsiteX22-8547" fmla="*/ 713678 w 2252546"/>
              <a:gd name="connsiteY22-8548" fmla="*/ 1298434 h 1298434"/>
              <a:gd name="connsiteX23-8549" fmla="*/ 970156 w 2252546"/>
              <a:gd name="connsiteY23-8550" fmla="*/ 1041956 h 1298434"/>
              <a:gd name="connsiteX24-8551" fmla="*/ 1315844 w 2252546"/>
              <a:gd name="connsiteY24-8552" fmla="*/ 930444 h 1298434"/>
              <a:gd name="connsiteX25-8553" fmla="*/ 1405054 w 2252546"/>
              <a:gd name="connsiteY25-8554" fmla="*/ 796629 h 1298434"/>
              <a:gd name="connsiteX26-8555" fmla="*/ 1326995 w 2252546"/>
              <a:gd name="connsiteY26-8556" fmla="*/ 740873 h 1298434"/>
              <a:gd name="connsiteX27-8557" fmla="*/ 1371600 w 2252546"/>
              <a:gd name="connsiteY27-8558" fmla="*/ 640512 h 1298434"/>
              <a:gd name="connsiteX28-8559" fmla="*/ 1650380 w 2252546"/>
              <a:gd name="connsiteY28-8560" fmla="*/ 540151 h 1298434"/>
              <a:gd name="connsiteX29-8561" fmla="*/ 1650380 w 2252546"/>
              <a:gd name="connsiteY29-8562" fmla="*/ 484395 h 1298434"/>
              <a:gd name="connsiteX30-8563" fmla="*/ 1806497 w 2252546"/>
              <a:gd name="connsiteY30-8564" fmla="*/ 450941 h 1298434"/>
              <a:gd name="connsiteX31-8565" fmla="*/ 1839951 w 2252546"/>
              <a:gd name="connsiteY31-8566" fmla="*/ 473244 h 1298434"/>
              <a:gd name="connsiteX32-8567" fmla="*/ 1929161 w 2252546"/>
              <a:gd name="connsiteY32-8568" fmla="*/ 439790 h 1298434"/>
              <a:gd name="connsiteX33-8569" fmla="*/ 2241395 w 2252546"/>
              <a:gd name="connsiteY33-8570" fmla="*/ 484395 h 1298434"/>
              <a:gd name="connsiteX34-8571" fmla="*/ 2174488 w 2252546"/>
              <a:gd name="connsiteY34-8572" fmla="*/ 372883 h 1298434"/>
              <a:gd name="connsiteX35-8573" fmla="*/ 2252546 w 2252546"/>
              <a:gd name="connsiteY35-8574" fmla="*/ 328278 h 1298434"/>
              <a:gd name="connsiteX36-8575" fmla="*/ 2062976 w 2252546"/>
              <a:gd name="connsiteY36-8576" fmla="*/ 205615 h 1298434"/>
              <a:gd name="connsiteX37-8577" fmla="*/ 2062976 w 2252546"/>
              <a:gd name="connsiteY37-8578" fmla="*/ 205615 h 1298434"/>
              <a:gd name="connsiteX38-8579" fmla="*/ 2085278 w 2252546"/>
              <a:gd name="connsiteY38-8580" fmla="*/ 183312 h 1298434"/>
              <a:gd name="connsiteX39-8581" fmla="*/ 2040673 w 2252546"/>
              <a:gd name="connsiteY39-8582" fmla="*/ 82951 h 1298434"/>
              <a:gd name="connsiteX40-8583" fmla="*/ 2038094 w 2252546"/>
              <a:gd name="connsiteY40-8584" fmla="*/ 8569 h 1298434"/>
              <a:gd name="connsiteX41-8585" fmla="*/ 1882255 w 2252546"/>
              <a:gd name="connsiteY41-8586" fmla="*/ 13734 h 1298434"/>
              <a:gd name="connsiteX42-8587" fmla="*/ 1667247 w 2252546"/>
              <a:gd name="connsiteY42-8588" fmla="*/ 0 h 1298434"/>
              <a:gd name="connsiteX43-8589" fmla="*/ 1572322 w 2252546"/>
              <a:gd name="connsiteY43-8590" fmla="*/ 49497 h 1298434"/>
              <a:gd name="connsiteX44-8591" fmla="*/ 1506189 w 2252546"/>
              <a:gd name="connsiteY44-8592" fmla="*/ 268229 h 1298434"/>
              <a:gd name="connsiteX45-8593" fmla="*/ 1433671 w 2252546"/>
              <a:gd name="connsiteY45-8594" fmla="*/ 205631 h 1298434"/>
              <a:gd name="connsiteX46-8595" fmla="*/ 1324400 w 2252546"/>
              <a:gd name="connsiteY46-8596" fmla="*/ 268643 h 1298434"/>
              <a:gd name="connsiteX47-8597" fmla="*/ 1324339 w 2252546"/>
              <a:gd name="connsiteY47-8598" fmla="*/ 393579 h 1298434"/>
              <a:gd name="connsiteX48-8599" fmla="*/ 1311312 w 2252546"/>
              <a:gd name="connsiteY48-8600" fmla="*/ 381010 h 1298434"/>
              <a:gd name="connsiteX49-8601" fmla="*/ 1240170 w 2252546"/>
              <a:gd name="connsiteY49-8602" fmla="*/ 361867 h 1298434"/>
              <a:gd name="connsiteX50-8603" fmla="*/ 1181596 w 2252546"/>
              <a:gd name="connsiteY50-8604" fmla="*/ 303096 h 1298434"/>
              <a:gd name="connsiteX51-8605" fmla="*/ 890352 w 2252546"/>
              <a:gd name="connsiteY51-8606" fmla="*/ 303096 h 1298434"/>
              <a:gd name="connsiteX52-8607" fmla="*/ 858705 w 2252546"/>
              <a:gd name="connsiteY52-8608" fmla="*/ 382408 h 1298434"/>
              <a:gd name="connsiteX53-8609" fmla="*/ 784495 w 2252546"/>
              <a:gd name="connsiteY53-8610" fmla="*/ 438918 h 1298434"/>
              <a:gd name="connsiteX54-8611" fmla="*/ 781088 w 2252546"/>
              <a:gd name="connsiteY54-8612" fmla="*/ 430544 h 1298434"/>
              <a:gd name="connsiteX55-8613" fmla="*/ 768152 w 2252546"/>
              <a:gd name="connsiteY55-8614" fmla="*/ 430544 h 1298434"/>
              <a:gd name="connsiteX56-8615" fmla="*/ 723189 w 2252546"/>
              <a:gd name="connsiteY56-8616" fmla="*/ 375134 h 1298434"/>
              <a:gd name="connsiteX57-8617" fmla="*/ 591015 w 2252546"/>
              <a:gd name="connsiteY57-8618" fmla="*/ 261371 h 1298434"/>
              <a:gd name="connsiteX0-8619" fmla="*/ 591015 w 2252546"/>
              <a:gd name="connsiteY0-8620" fmla="*/ 261371 h 1298434"/>
              <a:gd name="connsiteX1-8621" fmla="*/ 446049 w 2252546"/>
              <a:gd name="connsiteY1-8622" fmla="*/ 261371 h 1298434"/>
              <a:gd name="connsiteX2-8623" fmla="*/ 520144 w 2252546"/>
              <a:gd name="connsiteY2-8624" fmla="*/ 334366 h 1298434"/>
              <a:gd name="connsiteX3-8625" fmla="*/ 424915 w 2252546"/>
              <a:gd name="connsiteY3-8626" fmla="*/ 388375 h 1298434"/>
              <a:gd name="connsiteX4-8627" fmla="*/ 234176 w 2252546"/>
              <a:gd name="connsiteY4-8628" fmla="*/ 328278 h 1298434"/>
              <a:gd name="connsiteX5-8629" fmla="*/ 234176 w 2252546"/>
              <a:gd name="connsiteY5-8630" fmla="*/ 406336 h 1298434"/>
              <a:gd name="connsiteX6-8631" fmla="*/ 256478 w 2252546"/>
              <a:gd name="connsiteY6-8632" fmla="*/ 517849 h 1298434"/>
              <a:gd name="connsiteX7-8633" fmla="*/ 178419 w 2252546"/>
              <a:gd name="connsiteY7-8634" fmla="*/ 595907 h 1298434"/>
              <a:gd name="connsiteX8-8635" fmla="*/ 189571 w 2252546"/>
              <a:gd name="connsiteY8-8636" fmla="*/ 662815 h 1298434"/>
              <a:gd name="connsiteX9-8637" fmla="*/ 78058 w 2252546"/>
              <a:gd name="connsiteY9-8638" fmla="*/ 696268 h 1298434"/>
              <a:gd name="connsiteX10-8639" fmla="*/ 0 w 2252546"/>
              <a:gd name="connsiteY10-8640" fmla="*/ 774327 h 1298434"/>
              <a:gd name="connsiteX11-8641" fmla="*/ 91789 w 2252546"/>
              <a:gd name="connsiteY11-8642" fmla="*/ 925005 h 1298434"/>
              <a:gd name="connsiteX12-8643" fmla="*/ 89210 w 2252546"/>
              <a:gd name="connsiteY12-8644" fmla="*/ 1019654 h 1298434"/>
              <a:gd name="connsiteX13-8645" fmla="*/ 144966 w 2252546"/>
              <a:gd name="connsiteY13-8646" fmla="*/ 1041956 h 1298434"/>
              <a:gd name="connsiteX14-8647" fmla="*/ 167547 w 2252546"/>
              <a:gd name="connsiteY14-8648" fmla="*/ 952746 h 1298434"/>
              <a:gd name="connsiteX15-8649" fmla="*/ 267629 w 2252546"/>
              <a:gd name="connsiteY15-8650" fmla="*/ 975049 h 1298434"/>
              <a:gd name="connsiteX16-8651" fmla="*/ 367158 w 2252546"/>
              <a:gd name="connsiteY16-8652" fmla="*/ 993006 h 1298434"/>
              <a:gd name="connsiteX17-8653" fmla="*/ 373396 w 2252546"/>
              <a:gd name="connsiteY17-8654" fmla="*/ 953708 h 1298434"/>
              <a:gd name="connsiteX18-8655" fmla="*/ 430542 w 2252546"/>
              <a:gd name="connsiteY18-8656" fmla="*/ 987982 h 1298434"/>
              <a:gd name="connsiteX19-8657" fmla="*/ 479502 w 2252546"/>
              <a:gd name="connsiteY19-8658" fmla="*/ 1074317 h 1298434"/>
              <a:gd name="connsiteX20-8659" fmla="*/ 479502 w 2252546"/>
              <a:gd name="connsiteY20-8660" fmla="*/ 1253829 h 1298434"/>
              <a:gd name="connsiteX21-8661" fmla="*/ 669073 w 2252546"/>
              <a:gd name="connsiteY21-8662" fmla="*/ 1276132 h 1298434"/>
              <a:gd name="connsiteX22-8663" fmla="*/ 713678 w 2252546"/>
              <a:gd name="connsiteY22-8664" fmla="*/ 1298434 h 1298434"/>
              <a:gd name="connsiteX23-8665" fmla="*/ 970156 w 2252546"/>
              <a:gd name="connsiteY23-8666" fmla="*/ 1041956 h 1298434"/>
              <a:gd name="connsiteX24-8667" fmla="*/ 1315844 w 2252546"/>
              <a:gd name="connsiteY24-8668" fmla="*/ 930444 h 1298434"/>
              <a:gd name="connsiteX25-8669" fmla="*/ 1405054 w 2252546"/>
              <a:gd name="connsiteY25-8670" fmla="*/ 796629 h 1298434"/>
              <a:gd name="connsiteX26-8671" fmla="*/ 1326995 w 2252546"/>
              <a:gd name="connsiteY26-8672" fmla="*/ 740873 h 1298434"/>
              <a:gd name="connsiteX27-8673" fmla="*/ 1371600 w 2252546"/>
              <a:gd name="connsiteY27-8674" fmla="*/ 640512 h 1298434"/>
              <a:gd name="connsiteX28-8675" fmla="*/ 1650380 w 2252546"/>
              <a:gd name="connsiteY28-8676" fmla="*/ 540151 h 1298434"/>
              <a:gd name="connsiteX29-8677" fmla="*/ 1650380 w 2252546"/>
              <a:gd name="connsiteY29-8678" fmla="*/ 484395 h 1298434"/>
              <a:gd name="connsiteX30-8679" fmla="*/ 1806497 w 2252546"/>
              <a:gd name="connsiteY30-8680" fmla="*/ 450941 h 1298434"/>
              <a:gd name="connsiteX31-8681" fmla="*/ 1839951 w 2252546"/>
              <a:gd name="connsiteY31-8682" fmla="*/ 473244 h 1298434"/>
              <a:gd name="connsiteX32-8683" fmla="*/ 1929161 w 2252546"/>
              <a:gd name="connsiteY32-8684" fmla="*/ 439790 h 1298434"/>
              <a:gd name="connsiteX33-8685" fmla="*/ 2241395 w 2252546"/>
              <a:gd name="connsiteY33-8686" fmla="*/ 484395 h 1298434"/>
              <a:gd name="connsiteX34-8687" fmla="*/ 2174488 w 2252546"/>
              <a:gd name="connsiteY34-8688" fmla="*/ 372883 h 1298434"/>
              <a:gd name="connsiteX35-8689" fmla="*/ 2252546 w 2252546"/>
              <a:gd name="connsiteY35-8690" fmla="*/ 328278 h 1298434"/>
              <a:gd name="connsiteX36-8691" fmla="*/ 2062976 w 2252546"/>
              <a:gd name="connsiteY36-8692" fmla="*/ 205615 h 1298434"/>
              <a:gd name="connsiteX37-8693" fmla="*/ 2062976 w 2252546"/>
              <a:gd name="connsiteY37-8694" fmla="*/ 205615 h 1298434"/>
              <a:gd name="connsiteX38-8695" fmla="*/ 2085278 w 2252546"/>
              <a:gd name="connsiteY38-8696" fmla="*/ 183312 h 1298434"/>
              <a:gd name="connsiteX39-8697" fmla="*/ 2040673 w 2252546"/>
              <a:gd name="connsiteY39-8698" fmla="*/ 82951 h 1298434"/>
              <a:gd name="connsiteX40-8699" fmla="*/ 2038094 w 2252546"/>
              <a:gd name="connsiteY40-8700" fmla="*/ 8569 h 1298434"/>
              <a:gd name="connsiteX41-8701" fmla="*/ 1882255 w 2252546"/>
              <a:gd name="connsiteY41-8702" fmla="*/ 13734 h 1298434"/>
              <a:gd name="connsiteX42-8703" fmla="*/ 1667247 w 2252546"/>
              <a:gd name="connsiteY42-8704" fmla="*/ 0 h 1298434"/>
              <a:gd name="connsiteX43-8705" fmla="*/ 1572322 w 2252546"/>
              <a:gd name="connsiteY43-8706" fmla="*/ 49497 h 1298434"/>
              <a:gd name="connsiteX44-8707" fmla="*/ 1506189 w 2252546"/>
              <a:gd name="connsiteY44-8708" fmla="*/ 268229 h 1298434"/>
              <a:gd name="connsiteX45-8709" fmla="*/ 1433671 w 2252546"/>
              <a:gd name="connsiteY45-8710" fmla="*/ 205631 h 1298434"/>
              <a:gd name="connsiteX46-8711" fmla="*/ 1324400 w 2252546"/>
              <a:gd name="connsiteY46-8712" fmla="*/ 268643 h 1298434"/>
              <a:gd name="connsiteX47-8713" fmla="*/ 1324339 w 2252546"/>
              <a:gd name="connsiteY47-8714" fmla="*/ 393579 h 1298434"/>
              <a:gd name="connsiteX48-8715" fmla="*/ 1311312 w 2252546"/>
              <a:gd name="connsiteY48-8716" fmla="*/ 381010 h 1298434"/>
              <a:gd name="connsiteX49-8717" fmla="*/ 1240170 w 2252546"/>
              <a:gd name="connsiteY49-8718" fmla="*/ 361867 h 1298434"/>
              <a:gd name="connsiteX50-8719" fmla="*/ 1161595 w 2252546"/>
              <a:gd name="connsiteY50-8720" fmla="*/ 297384 h 1298434"/>
              <a:gd name="connsiteX51-8721" fmla="*/ 890352 w 2252546"/>
              <a:gd name="connsiteY51-8722" fmla="*/ 303096 h 1298434"/>
              <a:gd name="connsiteX52-8723" fmla="*/ 858705 w 2252546"/>
              <a:gd name="connsiteY52-8724" fmla="*/ 382408 h 1298434"/>
              <a:gd name="connsiteX53-8725" fmla="*/ 784495 w 2252546"/>
              <a:gd name="connsiteY53-8726" fmla="*/ 438918 h 1298434"/>
              <a:gd name="connsiteX54-8727" fmla="*/ 781088 w 2252546"/>
              <a:gd name="connsiteY54-8728" fmla="*/ 430544 h 1298434"/>
              <a:gd name="connsiteX55-8729" fmla="*/ 768152 w 2252546"/>
              <a:gd name="connsiteY55-8730" fmla="*/ 430544 h 1298434"/>
              <a:gd name="connsiteX56-8731" fmla="*/ 723189 w 2252546"/>
              <a:gd name="connsiteY56-8732" fmla="*/ 375134 h 1298434"/>
              <a:gd name="connsiteX57-8733" fmla="*/ 591015 w 2252546"/>
              <a:gd name="connsiteY57-8734" fmla="*/ 261371 h 1298434"/>
              <a:gd name="connsiteX0-8735" fmla="*/ 591015 w 2252546"/>
              <a:gd name="connsiteY0-8736" fmla="*/ 261371 h 1298434"/>
              <a:gd name="connsiteX1-8737" fmla="*/ 446049 w 2252546"/>
              <a:gd name="connsiteY1-8738" fmla="*/ 261371 h 1298434"/>
              <a:gd name="connsiteX2-8739" fmla="*/ 520144 w 2252546"/>
              <a:gd name="connsiteY2-8740" fmla="*/ 334366 h 1298434"/>
              <a:gd name="connsiteX3-8741" fmla="*/ 424915 w 2252546"/>
              <a:gd name="connsiteY3-8742" fmla="*/ 388375 h 1298434"/>
              <a:gd name="connsiteX4-8743" fmla="*/ 234176 w 2252546"/>
              <a:gd name="connsiteY4-8744" fmla="*/ 328278 h 1298434"/>
              <a:gd name="connsiteX5-8745" fmla="*/ 234176 w 2252546"/>
              <a:gd name="connsiteY5-8746" fmla="*/ 406336 h 1298434"/>
              <a:gd name="connsiteX6-8747" fmla="*/ 256478 w 2252546"/>
              <a:gd name="connsiteY6-8748" fmla="*/ 517849 h 1298434"/>
              <a:gd name="connsiteX7-8749" fmla="*/ 178419 w 2252546"/>
              <a:gd name="connsiteY7-8750" fmla="*/ 595907 h 1298434"/>
              <a:gd name="connsiteX8-8751" fmla="*/ 189571 w 2252546"/>
              <a:gd name="connsiteY8-8752" fmla="*/ 662815 h 1298434"/>
              <a:gd name="connsiteX9-8753" fmla="*/ 78058 w 2252546"/>
              <a:gd name="connsiteY9-8754" fmla="*/ 696268 h 1298434"/>
              <a:gd name="connsiteX10-8755" fmla="*/ 0 w 2252546"/>
              <a:gd name="connsiteY10-8756" fmla="*/ 774327 h 1298434"/>
              <a:gd name="connsiteX11-8757" fmla="*/ 91789 w 2252546"/>
              <a:gd name="connsiteY11-8758" fmla="*/ 925005 h 1298434"/>
              <a:gd name="connsiteX12-8759" fmla="*/ 89210 w 2252546"/>
              <a:gd name="connsiteY12-8760" fmla="*/ 1019654 h 1298434"/>
              <a:gd name="connsiteX13-8761" fmla="*/ 144966 w 2252546"/>
              <a:gd name="connsiteY13-8762" fmla="*/ 1041956 h 1298434"/>
              <a:gd name="connsiteX14-8763" fmla="*/ 167547 w 2252546"/>
              <a:gd name="connsiteY14-8764" fmla="*/ 952746 h 1298434"/>
              <a:gd name="connsiteX15-8765" fmla="*/ 267629 w 2252546"/>
              <a:gd name="connsiteY15-8766" fmla="*/ 975049 h 1298434"/>
              <a:gd name="connsiteX16-8767" fmla="*/ 367158 w 2252546"/>
              <a:gd name="connsiteY16-8768" fmla="*/ 993006 h 1298434"/>
              <a:gd name="connsiteX17-8769" fmla="*/ 373396 w 2252546"/>
              <a:gd name="connsiteY17-8770" fmla="*/ 953708 h 1298434"/>
              <a:gd name="connsiteX18-8771" fmla="*/ 430542 w 2252546"/>
              <a:gd name="connsiteY18-8772" fmla="*/ 987982 h 1298434"/>
              <a:gd name="connsiteX19-8773" fmla="*/ 479502 w 2252546"/>
              <a:gd name="connsiteY19-8774" fmla="*/ 1074317 h 1298434"/>
              <a:gd name="connsiteX20-8775" fmla="*/ 479502 w 2252546"/>
              <a:gd name="connsiteY20-8776" fmla="*/ 1253829 h 1298434"/>
              <a:gd name="connsiteX21-8777" fmla="*/ 669073 w 2252546"/>
              <a:gd name="connsiteY21-8778" fmla="*/ 1276132 h 1298434"/>
              <a:gd name="connsiteX22-8779" fmla="*/ 713678 w 2252546"/>
              <a:gd name="connsiteY22-8780" fmla="*/ 1298434 h 1298434"/>
              <a:gd name="connsiteX23-8781" fmla="*/ 970156 w 2252546"/>
              <a:gd name="connsiteY23-8782" fmla="*/ 1041956 h 1298434"/>
              <a:gd name="connsiteX24-8783" fmla="*/ 1315844 w 2252546"/>
              <a:gd name="connsiteY24-8784" fmla="*/ 930444 h 1298434"/>
              <a:gd name="connsiteX25-8785" fmla="*/ 1405054 w 2252546"/>
              <a:gd name="connsiteY25-8786" fmla="*/ 796629 h 1298434"/>
              <a:gd name="connsiteX26-8787" fmla="*/ 1326995 w 2252546"/>
              <a:gd name="connsiteY26-8788" fmla="*/ 740873 h 1298434"/>
              <a:gd name="connsiteX27-8789" fmla="*/ 1371600 w 2252546"/>
              <a:gd name="connsiteY27-8790" fmla="*/ 640512 h 1298434"/>
              <a:gd name="connsiteX28-8791" fmla="*/ 1650380 w 2252546"/>
              <a:gd name="connsiteY28-8792" fmla="*/ 540151 h 1298434"/>
              <a:gd name="connsiteX29-8793" fmla="*/ 1650380 w 2252546"/>
              <a:gd name="connsiteY29-8794" fmla="*/ 484395 h 1298434"/>
              <a:gd name="connsiteX30-8795" fmla="*/ 1806497 w 2252546"/>
              <a:gd name="connsiteY30-8796" fmla="*/ 450941 h 1298434"/>
              <a:gd name="connsiteX31-8797" fmla="*/ 1839951 w 2252546"/>
              <a:gd name="connsiteY31-8798" fmla="*/ 473244 h 1298434"/>
              <a:gd name="connsiteX32-8799" fmla="*/ 1929161 w 2252546"/>
              <a:gd name="connsiteY32-8800" fmla="*/ 439790 h 1298434"/>
              <a:gd name="connsiteX33-8801" fmla="*/ 2241395 w 2252546"/>
              <a:gd name="connsiteY33-8802" fmla="*/ 484395 h 1298434"/>
              <a:gd name="connsiteX34-8803" fmla="*/ 2174488 w 2252546"/>
              <a:gd name="connsiteY34-8804" fmla="*/ 372883 h 1298434"/>
              <a:gd name="connsiteX35-8805" fmla="*/ 2252546 w 2252546"/>
              <a:gd name="connsiteY35-8806" fmla="*/ 328278 h 1298434"/>
              <a:gd name="connsiteX36-8807" fmla="*/ 2062976 w 2252546"/>
              <a:gd name="connsiteY36-8808" fmla="*/ 205615 h 1298434"/>
              <a:gd name="connsiteX37-8809" fmla="*/ 2062976 w 2252546"/>
              <a:gd name="connsiteY37-8810" fmla="*/ 205615 h 1298434"/>
              <a:gd name="connsiteX38-8811" fmla="*/ 2085278 w 2252546"/>
              <a:gd name="connsiteY38-8812" fmla="*/ 183312 h 1298434"/>
              <a:gd name="connsiteX39-8813" fmla="*/ 2040673 w 2252546"/>
              <a:gd name="connsiteY39-8814" fmla="*/ 82951 h 1298434"/>
              <a:gd name="connsiteX40-8815" fmla="*/ 2038094 w 2252546"/>
              <a:gd name="connsiteY40-8816" fmla="*/ 8569 h 1298434"/>
              <a:gd name="connsiteX41-8817" fmla="*/ 1882255 w 2252546"/>
              <a:gd name="connsiteY41-8818" fmla="*/ 13734 h 1298434"/>
              <a:gd name="connsiteX42-8819" fmla="*/ 1667247 w 2252546"/>
              <a:gd name="connsiteY42-8820" fmla="*/ 0 h 1298434"/>
              <a:gd name="connsiteX43-8821" fmla="*/ 1572322 w 2252546"/>
              <a:gd name="connsiteY43-8822" fmla="*/ 49497 h 1298434"/>
              <a:gd name="connsiteX44-8823" fmla="*/ 1506189 w 2252546"/>
              <a:gd name="connsiteY44-8824" fmla="*/ 268229 h 1298434"/>
              <a:gd name="connsiteX45-8825" fmla="*/ 1433671 w 2252546"/>
              <a:gd name="connsiteY45-8826" fmla="*/ 205631 h 1298434"/>
              <a:gd name="connsiteX46-8827" fmla="*/ 1324400 w 2252546"/>
              <a:gd name="connsiteY46-8828" fmla="*/ 268643 h 1298434"/>
              <a:gd name="connsiteX47-8829" fmla="*/ 1324339 w 2252546"/>
              <a:gd name="connsiteY47-8830" fmla="*/ 393579 h 1298434"/>
              <a:gd name="connsiteX48-8831" fmla="*/ 1311312 w 2252546"/>
              <a:gd name="connsiteY48-8832" fmla="*/ 381010 h 1298434"/>
              <a:gd name="connsiteX49-8833" fmla="*/ 1240170 w 2252546"/>
              <a:gd name="connsiteY49-8834" fmla="*/ 361867 h 1298434"/>
              <a:gd name="connsiteX50-8835" fmla="*/ 1161595 w 2252546"/>
              <a:gd name="connsiteY50-8836" fmla="*/ 297384 h 1298434"/>
              <a:gd name="connsiteX51-8837" fmla="*/ 890352 w 2252546"/>
              <a:gd name="connsiteY51-8838" fmla="*/ 303096 h 1298434"/>
              <a:gd name="connsiteX52-8839" fmla="*/ 858705 w 2252546"/>
              <a:gd name="connsiteY52-8840" fmla="*/ 382408 h 1298434"/>
              <a:gd name="connsiteX53-8841" fmla="*/ 784495 w 2252546"/>
              <a:gd name="connsiteY53-8842" fmla="*/ 438918 h 1298434"/>
              <a:gd name="connsiteX54-8843" fmla="*/ 781088 w 2252546"/>
              <a:gd name="connsiteY54-8844" fmla="*/ 430544 h 1298434"/>
              <a:gd name="connsiteX55-8845" fmla="*/ 768152 w 2252546"/>
              <a:gd name="connsiteY55-8846" fmla="*/ 430544 h 1298434"/>
              <a:gd name="connsiteX56-8847" fmla="*/ 723189 w 2252546"/>
              <a:gd name="connsiteY56-8848" fmla="*/ 375134 h 1298434"/>
              <a:gd name="connsiteX57-8849" fmla="*/ 591015 w 2252546"/>
              <a:gd name="connsiteY57-8850" fmla="*/ 261371 h 1298434"/>
              <a:gd name="connsiteX0-8851" fmla="*/ 591015 w 2252546"/>
              <a:gd name="connsiteY0-8852" fmla="*/ 261371 h 1298434"/>
              <a:gd name="connsiteX1-8853" fmla="*/ 446049 w 2252546"/>
              <a:gd name="connsiteY1-8854" fmla="*/ 261371 h 1298434"/>
              <a:gd name="connsiteX2-8855" fmla="*/ 520144 w 2252546"/>
              <a:gd name="connsiteY2-8856" fmla="*/ 334366 h 1298434"/>
              <a:gd name="connsiteX3-8857" fmla="*/ 424915 w 2252546"/>
              <a:gd name="connsiteY3-8858" fmla="*/ 388375 h 1298434"/>
              <a:gd name="connsiteX4-8859" fmla="*/ 234176 w 2252546"/>
              <a:gd name="connsiteY4-8860" fmla="*/ 328278 h 1298434"/>
              <a:gd name="connsiteX5-8861" fmla="*/ 234176 w 2252546"/>
              <a:gd name="connsiteY5-8862" fmla="*/ 406336 h 1298434"/>
              <a:gd name="connsiteX6-8863" fmla="*/ 256478 w 2252546"/>
              <a:gd name="connsiteY6-8864" fmla="*/ 517849 h 1298434"/>
              <a:gd name="connsiteX7-8865" fmla="*/ 178419 w 2252546"/>
              <a:gd name="connsiteY7-8866" fmla="*/ 595907 h 1298434"/>
              <a:gd name="connsiteX8-8867" fmla="*/ 189571 w 2252546"/>
              <a:gd name="connsiteY8-8868" fmla="*/ 662815 h 1298434"/>
              <a:gd name="connsiteX9-8869" fmla="*/ 78058 w 2252546"/>
              <a:gd name="connsiteY9-8870" fmla="*/ 696268 h 1298434"/>
              <a:gd name="connsiteX10-8871" fmla="*/ 0 w 2252546"/>
              <a:gd name="connsiteY10-8872" fmla="*/ 774327 h 1298434"/>
              <a:gd name="connsiteX11-8873" fmla="*/ 91789 w 2252546"/>
              <a:gd name="connsiteY11-8874" fmla="*/ 925005 h 1298434"/>
              <a:gd name="connsiteX12-8875" fmla="*/ 89210 w 2252546"/>
              <a:gd name="connsiteY12-8876" fmla="*/ 1019654 h 1298434"/>
              <a:gd name="connsiteX13-8877" fmla="*/ 144966 w 2252546"/>
              <a:gd name="connsiteY13-8878" fmla="*/ 1041956 h 1298434"/>
              <a:gd name="connsiteX14-8879" fmla="*/ 167547 w 2252546"/>
              <a:gd name="connsiteY14-8880" fmla="*/ 952746 h 1298434"/>
              <a:gd name="connsiteX15-8881" fmla="*/ 267629 w 2252546"/>
              <a:gd name="connsiteY15-8882" fmla="*/ 975049 h 1298434"/>
              <a:gd name="connsiteX16-8883" fmla="*/ 367158 w 2252546"/>
              <a:gd name="connsiteY16-8884" fmla="*/ 993006 h 1298434"/>
              <a:gd name="connsiteX17-8885" fmla="*/ 373396 w 2252546"/>
              <a:gd name="connsiteY17-8886" fmla="*/ 953708 h 1298434"/>
              <a:gd name="connsiteX18-8887" fmla="*/ 430542 w 2252546"/>
              <a:gd name="connsiteY18-8888" fmla="*/ 987982 h 1298434"/>
              <a:gd name="connsiteX19-8889" fmla="*/ 479502 w 2252546"/>
              <a:gd name="connsiteY19-8890" fmla="*/ 1074317 h 1298434"/>
              <a:gd name="connsiteX20-8891" fmla="*/ 479502 w 2252546"/>
              <a:gd name="connsiteY20-8892" fmla="*/ 1253829 h 1298434"/>
              <a:gd name="connsiteX21-8893" fmla="*/ 669073 w 2252546"/>
              <a:gd name="connsiteY21-8894" fmla="*/ 1276132 h 1298434"/>
              <a:gd name="connsiteX22-8895" fmla="*/ 713678 w 2252546"/>
              <a:gd name="connsiteY22-8896" fmla="*/ 1298434 h 1298434"/>
              <a:gd name="connsiteX23-8897" fmla="*/ 970156 w 2252546"/>
              <a:gd name="connsiteY23-8898" fmla="*/ 1041956 h 1298434"/>
              <a:gd name="connsiteX24-8899" fmla="*/ 1315844 w 2252546"/>
              <a:gd name="connsiteY24-8900" fmla="*/ 930444 h 1298434"/>
              <a:gd name="connsiteX25-8901" fmla="*/ 1405054 w 2252546"/>
              <a:gd name="connsiteY25-8902" fmla="*/ 796629 h 1298434"/>
              <a:gd name="connsiteX26-8903" fmla="*/ 1326995 w 2252546"/>
              <a:gd name="connsiteY26-8904" fmla="*/ 740873 h 1298434"/>
              <a:gd name="connsiteX27-8905" fmla="*/ 1371600 w 2252546"/>
              <a:gd name="connsiteY27-8906" fmla="*/ 640512 h 1298434"/>
              <a:gd name="connsiteX28-8907" fmla="*/ 1650380 w 2252546"/>
              <a:gd name="connsiteY28-8908" fmla="*/ 540151 h 1298434"/>
              <a:gd name="connsiteX29-8909" fmla="*/ 1650380 w 2252546"/>
              <a:gd name="connsiteY29-8910" fmla="*/ 484395 h 1298434"/>
              <a:gd name="connsiteX30-8911" fmla="*/ 1806497 w 2252546"/>
              <a:gd name="connsiteY30-8912" fmla="*/ 450941 h 1298434"/>
              <a:gd name="connsiteX31-8913" fmla="*/ 1839951 w 2252546"/>
              <a:gd name="connsiteY31-8914" fmla="*/ 473244 h 1298434"/>
              <a:gd name="connsiteX32-8915" fmla="*/ 1929161 w 2252546"/>
              <a:gd name="connsiteY32-8916" fmla="*/ 439790 h 1298434"/>
              <a:gd name="connsiteX33-8917" fmla="*/ 2241395 w 2252546"/>
              <a:gd name="connsiteY33-8918" fmla="*/ 484395 h 1298434"/>
              <a:gd name="connsiteX34-8919" fmla="*/ 2174488 w 2252546"/>
              <a:gd name="connsiteY34-8920" fmla="*/ 372883 h 1298434"/>
              <a:gd name="connsiteX35-8921" fmla="*/ 2252546 w 2252546"/>
              <a:gd name="connsiteY35-8922" fmla="*/ 328278 h 1298434"/>
              <a:gd name="connsiteX36-8923" fmla="*/ 2062976 w 2252546"/>
              <a:gd name="connsiteY36-8924" fmla="*/ 205615 h 1298434"/>
              <a:gd name="connsiteX37-8925" fmla="*/ 2062976 w 2252546"/>
              <a:gd name="connsiteY37-8926" fmla="*/ 205615 h 1298434"/>
              <a:gd name="connsiteX38-8927" fmla="*/ 2085278 w 2252546"/>
              <a:gd name="connsiteY38-8928" fmla="*/ 183312 h 1298434"/>
              <a:gd name="connsiteX39-8929" fmla="*/ 2040673 w 2252546"/>
              <a:gd name="connsiteY39-8930" fmla="*/ 82951 h 1298434"/>
              <a:gd name="connsiteX40-8931" fmla="*/ 2038094 w 2252546"/>
              <a:gd name="connsiteY40-8932" fmla="*/ 8569 h 1298434"/>
              <a:gd name="connsiteX41-8933" fmla="*/ 1882255 w 2252546"/>
              <a:gd name="connsiteY41-8934" fmla="*/ 13734 h 1298434"/>
              <a:gd name="connsiteX42-8935" fmla="*/ 1667247 w 2252546"/>
              <a:gd name="connsiteY42-8936" fmla="*/ 0 h 1298434"/>
              <a:gd name="connsiteX43-8937" fmla="*/ 1572322 w 2252546"/>
              <a:gd name="connsiteY43-8938" fmla="*/ 49497 h 1298434"/>
              <a:gd name="connsiteX44-8939" fmla="*/ 1506189 w 2252546"/>
              <a:gd name="connsiteY44-8940" fmla="*/ 268229 h 1298434"/>
              <a:gd name="connsiteX45-8941" fmla="*/ 1433671 w 2252546"/>
              <a:gd name="connsiteY45-8942" fmla="*/ 205631 h 1298434"/>
              <a:gd name="connsiteX46-8943" fmla="*/ 1324400 w 2252546"/>
              <a:gd name="connsiteY46-8944" fmla="*/ 268643 h 1298434"/>
              <a:gd name="connsiteX47-8945" fmla="*/ 1324339 w 2252546"/>
              <a:gd name="connsiteY47-8946" fmla="*/ 393579 h 1298434"/>
              <a:gd name="connsiteX48-8947" fmla="*/ 1311312 w 2252546"/>
              <a:gd name="connsiteY48-8948" fmla="*/ 381010 h 1298434"/>
              <a:gd name="connsiteX49-8949" fmla="*/ 1240170 w 2252546"/>
              <a:gd name="connsiteY49-8950" fmla="*/ 361867 h 1298434"/>
              <a:gd name="connsiteX50-8951" fmla="*/ 1161595 w 2252546"/>
              <a:gd name="connsiteY50-8952" fmla="*/ 297384 h 1298434"/>
              <a:gd name="connsiteX51-8953" fmla="*/ 1113434 w 2252546"/>
              <a:gd name="connsiteY51-8954" fmla="*/ 256814 h 1298434"/>
              <a:gd name="connsiteX52-8955" fmla="*/ 890352 w 2252546"/>
              <a:gd name="connsiteY52-8956" fmla="*/ 303096 h 1298434"/>
              <a:gd name="connsiteX53-8957" fmla="*/ 858705 w 2252546"/>
              <a:gd name="connsiteY53-8958" fmla="*/ 382408 h 1298434"/>
              <a:gd name="connsiteX54-8959" fmla="*/ 784495 w 2252546"/>
              <a:gd name="connsiteY54-8960" fmla="*/ 438918 h 1298434"/>
              <a:gd name="connsiteX55-8961" fmla="*/ 781088 w 2252546"/>
              <a:gd name="connsiteY55-8962" fmla="*/ 430544 h 1298434"/>
              <a:gd name="connsiteX56-8963" fmla="*/ 768152 w 2252546"/>
              <a:gd name="connsiteY56-8964" fmla="*/ 430544 h 1298434"/>
              <a:gd name="connsiteX57-8965" fmla="*/ 723189 w 2252546"/>
              <a:gd name="connsiteY57-8966" fmla="*/ 375134 h 1298434"/>
              <a:gd name="connsiteX58-8967" fmla="*/ 591015 w 2252546"/>
              <a:gd name="connsiteY58-8968" fmla="*/ 261371 h 1298434"/>
              <a:gd name="connsiteX0-8969" fmla="*/ 591015 w 2252546"/>
              <a:gd name="connsiteY0-8970" fmla="*/ 261371 h 1298434"/>
              <a:gd name="connsiteX1-8971" fmla="*/ 446049 w 2252546"/>
              <a:gd name="connsiteY1-8972" fmla="*/ 261371 h 1298434"/>
              <a:gd name="connsiteX2-8973" fmla="*/ 520144 w 2252546"/>
              <a:gd name="connsiteY2-8974" fmla="*/ 334366 h 1298434"/>
              <a:gd name="connsiteX3-8975" fmla="*/ 424915 w 2252546"/>
              <a:gd name="connsiteY3-8976" fmla="*/ 388375 h 1298434"/>
              <a:gd name="connsiteX4-8977" fmla="*/ 234176 w 2252546"/>
              <a:gd name="connsiteY4-8978" fmla="*/ 328278 h 1298434"/>
              <a:gd name="connsiteX5-8979" fmla="*/ 234176 w 2252546"/>
              <a:gd name="connsiteY5-8980" fmla="*/ 406336 h 1298434"/>
              <a:gd name="connsiteX6-8981" fmla="*/ 256478 w 2252546"/>
              <a:gd name="connsiteY6-8982" fmla="*/ 517849 h 1298434"/>
              <a:gd name="connsiteX7-8983" fmla="*/ 178419 w 2252546"/>
              <a:gd name="connsiteY7-8984" fmla="*/ 595907 h 1298434"/>
              <a:gd name="connsiteX8-8985" fmla="*/ 189571 w 2252546"/>
              <a:gd name="connsiteY8-8986" fmla="*/ 662815 h 1298434"/>
              <a:gd name="connsiteX9-8987" fmla="*/ 78058 w 2252546"/>
              <a:gd name="connsiteY9-8988" fmla="*/ 696268 h 1298434"/>
              <a:gd name="connsiteX10-8989" fmla="*/ 0 w 2252546"/>
              <a:gd name="connsiteY10-8990" fmla="*/ 774327 h 1298434"/>
              <a:gd name="connsiteX11-8991" fmla="*/ 91789 w 2252546"/>
              <a:gd name="connsiteY11-8992" fmla="*/ 925005 h 1298434"/>
              <a:gd name="connsiteX12-8993" fmla="*/ 89210 w 2252546"/>
              <a:gd name="connsiteY12-8994" fmla="*/ 1019654 h 1298434"/>
              <a:gd name="connsiteX13-8995" fmla="*/ 144966 w 2252546"/>
              <a:gd name="connsiteY13-8996" fmla="*/ 1041956 h 1298434"/>
              <a:gd name="connsiteX14-8997" fmla="*/ 167547 w 2252546"/>
              <a:gd name="connsiteY14-8998" fmla="*/ 952746 h 1298434"/>
              <a:gd name="connsiteX15-8999" fmla="*/ 267629 w 2252546"/>
              <a:gd name="connsiteY15-9000" fmla="*/ 975049 h 1298434"/>
              <a:gd name="connsiteX16-9001" fmla="*/ 367158 w 2252546"/>
              <a:gd name="connsiteY16-9002" fmla="*/ 993006 h 1298434"/>
              <a:gd name="connsiteX17-9003" fmla="*/ 373396 w 2252546"/>
              <a:gd name="connsiteY17-9004" fmla="*/ 953708 h 1298434"/>
              <a:gd name="connsiteX18-9005" fmla="*/ 430542 w 2252546"/>
              <a:gd name="connsiteY18-9006" fmla="*/ 987982 h 1298434"/>
              <a:gd name="connsiteX19-9007" fmla="*/ 479502 w 2252546"/>
              <a:gd name="connsiteY19-9008" fmla="*/ 1074317 h 1298434"/>
              <a:gd name="connsiteX20-9009" fmla="*/ 479502 w 2252546"/>
              <a:gd name="connsiteY20-9010" fmla="*/ 1253829 h 1298434"/>
              <a:gd name="connsiteX21-9011" fmla="*/ 669073 w 2252546"/>
              <a:gd name="connsiteY21-9012" fmla="*/ 1276132 h 1298434"/>
              <a:gd name="connsiteX22-9013" fmla="*/ 713678 w 2252546"/>
              <a:gd name="connsiteY22-9014" fmla="*/ 1298434 h 1298434"/>
              <a:gd name="connsiteX23-9015" fmla="*/ 970156 w 2252546"/>
              <a:gd name="connsiteY23-9016" fmla="*/ 1041956 h 1298434"/>
              <a:gd name="connsiteX24-9017" fmla="*/ 1315844 w 2252546"/>
              <a:gd name="connsiteY24-9018" fmla="*/ 930444 h 1298434"/>
              <a:gd name="connsiteX25-9019" fmla="*/ 1405054 w 2252546"/>
              <a:gd name="connsiteY25-9020" fmla="*/ 796629 h 1298434"/>
              <a:gd name="connsiteX26-9021" fmla="*/ 1326995 w 2252546"/>
              <a:gd name="connsiteY26-9022" fmla="*/ 740873 h 1298434"/>
              <a:gd name="connsiteX27-9023" fmla="*/ 1371600 w 2252546"/>
              <a:gd name="connsiteY27-9024" fmla="*/ 640512 h 1298434"/>
              <a:gd name="connsiteX28-9025" fmla="*/ 1650380 w 2252546"/>
              <a:gd name="connsiteY28-9026" fmla="*/ 540151 h 1298434"/>
              <a:gd name="connsiteX29-9027" fmla="*/ 1650380 w 2252546"/>
              <a:gd name="connsiteY29-9028" fmla="*/ 484395 h 1298434"/>
              <a:gd name="connsiteX30-9029" fmla="*/ 1806497 w 2252546"/>
              <a:gd name="connsiteY30-9030" fmla="*/ 450941 h 1298434"/>
              <a:gd name="connsiteX31-9031" fmla="*/ 1839951 w 2252546"/>
              <a:gd name="connsiteY31-9032" fmla="*/ 473244 h 1298434"/>
              <a:gd name="connsiteX32-9033" fmla="*/ 1929161 w 2252546"/>
              <a:gd name="connsiteY32-9034" fmla="*/ 439790 h 1298434"/>
              <a:gd name="connsiteX33-9035" fmla="*/ 2241395 w 2252546"/>
              <a:gd name="connsiteY33-9036" fmla="*/ 484395 h 1298434"/>
              <a:gd name="connsiteX34-9037" fmla="*/ 2174488 w 2252546"/>
              <a:gd name="connsiteY34-9038" fmla="*/ 372883 h 1298434"/>
              <a:gd name="connsiteX35-9039" fmla="*/ 2252546 w 2252546"/>
              <a:gd name="connsiteY35-9040" fmla="*/ 328278 h 1298434"/>
              <a:gd name="connsiteX36-9041" fmla="*/ 2062976 w 2252546"/>
              <a:gd name="connsiteY36-9042" fmla="*/ 205615 h 1298434"/>
              <a:gd name="connsiteX37-9043" fmla="*/ 2062976 w 2252546"/>
              <a:gd name="connsiteY37-9044" fmla="*/ 205615 h 1298434"/>
              <a:gd name="connsiteX38-9045" fmla="*/ 2085278 w 2252546"/>
              <a:gd name="connsiteY38-9046" fmla="*/ 183312 h 1298434"/>
              <a:gd name="connsiteX39-9047" fmla="*/ 2040673 w 2252546"/>
              <a:gd name="connsiteY39-9048" fmla="*/ 82951 h 1298434"/>
              <a:gd name="connsiteX40-9049" fmla="*/ 2038094 w 2252546"/>
              <a:gd name="connsiteY40-9050" fmla="*/ 8569 h 1298434"/>
              <a:gd name="connsiteX41-9051" fmla="*/ 1882255 w 2252546"/>
              <a:gd name="connsiteY41-9052" fmla="*/ 13734 h 1298434"/>
              <a:gd name="connsiteX42-9053" fmla="*/ 1667247 w 2252546"/>
              <a:gd name="connsiteY42-9054" fmla="*/ 0 h 1298434"/>
              <a:gd name="connsiteX43-9055" fmla="*/ 1572322 w 2252546"/>
              <a:gd name="connsiteY43-9056" fmla="*/ 49497 h 1298434"/>
              <a:gd name="connsiteX44-9057" fmla="*/ 1506189 w 2252546"/>
              <a:gd name="connsiteY44-9058" fmla="*/ 268229 h 1298434"/>
              <a:gd name="connsiteX45-9059" fmla="*/ 1433671 w 2252546"/>
              <a:gd name="connsiteY45-9060" fmla="*/ 205631 h 1298434"/>
              <a:gd name="connsiteX46-9061" fmla="*/ 1324400 w 2252546"/>
              <a:gd name="connsiteY46-9062" fmla="*/ 268643 h 1298434"/>
              <a:gd name="connsiteX47-9063" fmla="*/ 1324339 w 2252546"/>
              <a:gd name="connsiteY47-9064" fmla="*/ 393579 h 1298434"/>
              <a:gd name="connsiteX48-9065" fmla="*/ 1311312 w 2252546"/>
              <a:gd name="connsiteY48-9066" fmla="*/ 381010 h 1298434"/>
              <a:gd name="connsiteX49-9067" fmla="*/ 1240170 w 2252546"/>
              <a:gd name="connsiteY49-9068" fmla="*/ 361867 h 1298434"/>
              <a:gd name="connsiteX50-9069" fmla="*/ 1161595 w 2252546"/>
              <a:gd name="connsiteY50-9070" fmla="*/ 297384 h 1298434"/>
              <a:gd name="connsiteX51-9071" fmla="*/ 1113434 w 2252546"/>
              <a:gd name="connsiteY51-9072" fmla="*/ 256814 h 1298434"/>
              <a:gd name="connsiteX52-9073" fmla="*/ 890352 w 2252546"/>
              <a:gd name="connsiteY52-9074" fmla="*/ 303096 h 1298434"/>
              <a:gd name="connsiteX53-9075" fmla="*/ 858705 w 2252546"/>
              <a:gd name="connsiteY53-9076" fmla="*/ 382408 h 1298434"/>
              <a:gd name="connsiteX54-9077" fmla="*/ 784495 w 2252546"/>
              <a:gd name="connsiteY54-9078" fmla="*/ 438918 h 1298434"/>
              <a:gd name="connsiteX55-9079" fmla="*/ 781088 w 2252546"/>
              <a:gd name="connsiteY55-9080" fmla="*/ 430544 h 1298434"/>
              <a:gd name="connsiteX56-9081" fmla="*/ 768152 w 2252546"/>
              <a:gd name="connsiteY56-9082" fmla="*/ 430544 h 1298434"/>
              <a:gd name="connsiteX57-9083" fmla="*/ 723189 w 2252546"/>
              <a:gd name="connsiteY57-9084" fmla="*/ 375134 h 1298434"/>
              <a:gd name="connsiteX58-9085" fmla="*/ 591015 w 2252546"/>
              <a:gd name="connsiteY58-9086" fmla="*/ 261371 h 1298434"/>
              <a:gd name="connsiteX0-9087" fmla="*/ 591015 w 2252546"/>
              <a:gd name="connsiteY0-9088" fmla="*/ 261371 h 1298434"/>
              <a:gd name="connsiteX1-9089" fmla="*/ 446049 w 2252546"/>
              <a:gd name="connsiteY1-9090" fmla="*/ 261371 h 1298434"/>
              <a:gd name="connsiteX2-9091" fmla="*/ 520144 w 2252546"/>
              <a:gd name="connsiteY2-9092" fmla="*/ 334366 h 1298434"/>
              <a:gd name="connsiteX3-9093" fmla="*/ 424915 w 2252546"/>
              <a:gd name="connsiteY3-9094" fmla="*/ 388375 h 1298434"/>
              <a:gd name="connsiteX4-9095" fmla="*/ 234176 w 2252546"/>
              <a:gd name="connsiteY4-9096" fmla="*/ 328278 h 1298434"/>
              <a:gd name="connsiteX5-9097" fmla="*/ 234176 w 2252546"/>
              <a:gd name="connsiteY5-9098" fmla="*/ 406336 h 1298434"/>
              <a:gd name="connsiteX6-9099" fmla="*/ 256478 w 2252546"/>
              <a:gd name="connsiteY6-9100" fmla="*/ 517849 h 1298434"/>
              <a:gd name="connsiteX7-9101" fmla="*/ 178419 w 2252546"/>
              <a:gd name="connsiteY7-9102" fmla="*/ 595907 h 1298434"/>
              <a:gd name="connsiteX8-9103" fmla="*/ 189571 w 2252546"/>
              <a:gd name="connsiteY8-9104" fmla="*/ 662815 h 1298434"/>
              <a:gd name="connsiteX9-9105" fmla="*/ 78058 w 2252546"/>
              <a:gd name="connsiteY9-9106" fmla="*/ 696268 h 1298434"/>
              <a:gd name="connsiteX10-9107" fmla="*/ 0 w 2252546"/>
              <a:gd name="connsiteY10-9108" fmla="*/ 774327 h 1298434"/>
              <a:gd name="connsiteX11-9109" fmla="*/ 91789 w 2252546"/>
              <a:gd name="connsiteY11-9110" fmla="*/ 925005 h 1298434"/>
              <a:gd name="connsiteX12-9111" fmla="*/ 89210 w 2252546"/>
              <a:gd name="connsiteY12-9112" fmla="*/ 1019654 h 1298434"/>
              <a:gd name="connsiteX13-9113" fmla="*/ 144966 w 2252546"/>
              <a:gd name="connsiteY13-9114" fmla="*/ 1041956 h 1298434"/>
              <a:gd name="connsiteX14-9115" fmla="*/ 167547 w 2252546"/>
              <a:gd name="connsiteY14-9116" fmla="*/ 952746 h 1298434"/>
              <a:gd name="connsiteX15-9117" fmla="*/ 267629 w 2252546"/>
              <a:gd name="connsiteY15-9118" fmla="*/ 975049 h 1298434"/>
              <a:gd name="connsiteX16-9119" fmla="*/ 367158 w 2252546"/>
              <a:gd name="connsiteY16-9120" fmla="*/ 993006 h 1298434"/>
              <a:gd name="connsiteX17-9121" fmla="*/ 373396 w 2252546"/>
              <a:gd name="connsiteY17-9122" fmla="*/ 953708 h 1298434"/>
              <a:gd name="connsiteX18-9123" fmla="*/ 430542 w 2252546"/>
              <a:gd name="connsiteY18-9124" fmla="*/ 987982 h 1298434"/>
              <a:gd name="connsiteX19-9125" fmla="*/ 479502 w 2252546"/>
              <a:gd name="connsiteY19-9126" fmla="*/ 1074317 h 1298434"/>
              <a:gd name="connsiteX20-9127" fmla="*/ 479502 w 2252546"/>
              <a:gd name="connsiteY20-9128" fmla="*/ 1253829 h 1298434"/>
              <a:gd name="connsiteX21-9129" fmla="*/ 669073 w 2252546"/>
              <a:gd name="connsiteY21-9130" fmla="*/ 1276132 h 1298434"/>
              <a:gd name="connsiteX22-9131" fmla="*/ 713678 w 2252546"/>
              <a:gd name="connsiteY22-9132" fmla="*/ 1298434 h 1298434"/>
              <a:gd name="connsiteX23-9133" fmla="*/ 970156 w 2252546"/>
              <a:gd name="connsiteY23-9134" fmla="*/ 1041956 h 1298434"/>
              <a:gd name="connsiteX24-9135" fmla="*/ 1315844 w 2252546"/>
              <a:gd name="connsiteY24-9136" fmla="*/ 930444 h 1298434"/>
              <a:gd name="connsiteX25-9137" fmla="*/ 1405054 w 2252546"/>
              <a:gd name="connsiteY25-9138" fmla="*/ 796629 h 1298434"/>
              <a:gd name="connsiteX26-9139" fmla="*/ 1326995 w 2252546"/>
              <a:gd name="connsiteY26-9140" fmla="*/ 740873 h 1298434"/>
              <a:gd name="connsiteX27-9141" fmla="*/ 1371600 w 2252546"/>
              <a:gd name="connsiteY27-9142" fmla="*/ 640512 h 1298434"/>
              <a:gd name="connsiteX28-9143" fmla="*/ 1650380 w 2252546"/>
              <a:gd name="connsiteY28-9144" fmla="*/ 540151 h 1298434"/>
              <a:gd name="connsiteX29-9145" fmla="*/ 1650380 w 2252546"/>
              <a:gd name="connsiteY29-9146" fmla="*/ 484395 h 1298434"/>
              <a:gd name="connsiteX30-9147" fmla="*/ 1806497 w 2252546"/>
              <a:gd name="connsiteY30-9148" fmla="*/ 450941 h 1298434"/>
              <a:gd name="connsiteX31-9149" fmla="*/ 1839951 w 2252546"/>
              <a:gd name="connsiteY31-9150" fmla="*/ 473244 h 1298434"/>
              <a:gd name="connsiteX32-9151" fmla="*/ 1929161 w 2252546"/>
              <a:gd name="connsiteY32-9152" fmla="*/ 439790 h 1298434"/>
              <a:gd name="connsiteX33-9153" fmla="*/ 2241395 w 2252546"/>
              <a:gd name="connsiteY33-9154" fmla="*/ 484395 h 1298434"/>
              <a:gd name="connsiteX34-9155" fmla="*/ 2174488 w 2252546"/>
              <a:gd name="connsiteY34-9156" fmla="*/ 372883 h 1298434"/>
              <a:gd name="connsiteX35-9157" fmla="*/ 2252546 w 2252546"/>
              <a:gd name="connsiteY35-9158" fmla="*/ 328278 h 1298434"/>
              <a:gd name="connsiteX36-9159" fmla="*/ 2062976 w 2252546"/>
              <a:gd name="connsiteY36-9160" fmla="*/ 205615 h 1298434"/>
              <a:gd name="connsiteX37-9161" fmla="*/ 2062976 w 2252546"/>
              <a:gd name="connsiteY37-9162" fmla="*/ 205615 h 1298434"/>
              <a:gd name="connsiteX38-9163" fmla="*/ 2085278 w 2252546"/>
              <a:gd name="connsiteY38-9164" fmla="*/ 183312 h 1298434"/>
              <a:gd name="connsiteX39-9165" fmla="*/ 2040673 w 2252546"/>
              <a:gd name="connsiteY39-9166" fmla="*/ 82951 h 1298434"/>
              <a:gd name="connsiteX40-9167" fmla="*/ 2038094 w 2252546"/>
              <a:gd name="connsiteY40-9168" fmla="*/ 8569 h 1298434"/>
              <a:gd name="connsiteX41-9169" fmla="*/ 1882255 w 2252546"/>
              <a:gd name="connsiteY41-9170" fmla="*/ 13734 h 1298434"/>
              <a:gd name="connsiteX42-9171" fmla="*/ 1667247 w 2252546"/>
              <a:gd name="connsiteY42-9172" fmla="*/ 0 h 1298434"/>
              <a:gd name="connsiteX43-9173" fmla="*/ 1572322 w 2252546"/>
              <a:gd name="connsiteY43-9174" fmla="*/ 49497 h 1298434"/>
              <a:gd name="connsiteX44-9175" fmla="*/ 1506189 w 2252546"/>
              <a:gd name="connsiteY44-9176" fmla="*/ 268229 h 1298434"/>
              <a:gd name="connsiteX45-9177" fmla="*/ 1433671 w 2252546"/>
              <a:gd name="connsiteY45-9178" fmla="*/ 205631 h 1298434"/>
              <a:gd name="connsiteX46-9179" fmla="*/ 1324400 w 2252546"/>
              <a:gd name="connsiteY46-9180" fmla="*/ 268643 h 1298434"/>
              <a:gd name="connsiteX47-9181" fmla="*/ 1324339 w 2252546"/>
              <a:gd name="connsiteY47-9182" fmla="*/ 393579 h 1298434"/>
              <a:gd name="connsiteX48-9183" fmla="*/ 1311312 w 2252546"/>
              <a:gd name="connsiteY48-9184" fmla="*/ 381010 h 1298434"/>
              <a:gd name="connsiteX49-9185" fmla="*/ 1240170 w 2252546"/>
              <a:gd name="connsiteY49-9186" fmla="*/ 361867 h 1298434"/>
              <a:gd name="connsiteX50-9187" fmla="*/ 1161595 w 2252546"/>
              <a:gd name="connsiteY50-9188" fmla="*/ 297384 h 1298434"/>
              <a:gd name="connsiteX51-9189" fmla="*/ 1113434 w 2252546"/>
              <a:gd name="connsiteY51-9190" fmla="*/ 256814 h 1298434"/>
              <a:gd name="connsiteX52-9191" fmla="*/ 890352 w 2252546"/>
              <a:gd name="connsiteY52-9192" fmla="*/ 303096 h 1298434"/>
              <a:gd name="connsiteX53-9193" fmla="*/ 858705 w 2252546"/>
              <a:gd name="connsiteY53-9194" fmla="*/ 382408 h 1298434"/>
              <a:gd name="connsiteX54-9195" fmla="*/ 784495 w 2252546"/>
              <a:gd name="connsiteY54-9196" fmla="*/ 438918 h 1298434"/>
              <a:gd name="connsiteX55-9197" fmla="*/ 781088 w 2252546"/>
              <a:gd name="connsiteY55-9198" fmla="*/ 430544 h 1298434"/>
              <a:gd name="connsiteX56-9199" fmla="*/ 768152 w 2252546"/>
              <a:gd name="connsiteY56-9200" fmla="*/ 430544 h 1298434"/>
              <a:gd name="connsiteX57-9201" fmla="*/ 723189 w 2252546"/>
              <a:gd name="connsiteY57-9202" fmla="*/ 375134 h 1298434"/>
              <a:gd name="connsiteX58-9203" fmla="*/ 591015 w 2252546"/>
              <a:gd name="connsiteY58-9204" fmla="*/ 261371 h 1298434"/>
              <a:gd name="connsiteX0-9205" fmla="*/ 591015 w 2252546"/>
              <a:gd name="connsiteY0-9206" fmla="*/ 261371 h 1298434"/>
              <a:gd name="connsiteX1-9207" fmla="*/ 446049 w 2252546"/>
              <a:gd name="connsiteY1-9208" fmla="*/ 261371 h 1298434"/>
              <a:gd name="connsiteX2-9209" fmla="*/ 520144 w 2252546"/>
              <a:gd name="connsiteY2-9210" fmla="*/ 334366 h 1298434"/>
              <a:gd name="connsiteX3-9211" fmla="*/ 424915 w 2252546"/>
              <a:gd name="connsiteY3-9212" fmla="*/ 388375 h 1298434"/>
              <a:gd name="connsiteX4-9213" fmla="*/ 234176 w 2252546"/>
              <a:gd name="connsiteY4-9214" fmla="*/ 328278 h 1298434"/>
              <a:gd name="connsiteX5-9215" fmla="*/ 234176 w 2252546"/>
              <a:gd name="connsiteY5-9216" fmla="*/ 406336 h 1298434"/>
              <a:gd name="connsiteX6-9217" fmla="*/ 256478 w 2252546"/>
              <a:gd name="connsiteY6-9218" fmla="*/ 517849 h 1298434"/>
              <a:gd name="connsiteX7-9219" fmla="*/ 178419 w 2252546"/>
              <a:gd name="connsiteY7-9220" fmla="*/ 595907 h 1298434"/>
              <a:gd name="connsiteX8-9221" fmla="*/ 189571 w 2252546"/>
              <a:gd name="connsiteY8-9222" fmla="*/ 662815 h 1298434"/>
              <a:gd name="connsiteX9-9223" fmla="*/ 78058 w 2252546"/>
              <a:gd name="connsiteY9-9224" fmla="*/ 696268 h 1298434"/>
              <a:gd name="connsiteX10-9225" fmla="*/ 0 w 2252546"/>
              <a:gd name="connsiteY10-9226" fmla="*/ 774327 h 1298434"/>
              <a:gd name="connsiteX11-9227" fmla="*/ 91789 w 2252546"/>
              <a:gd name="connsiteY11-9228" fmla="*/ 925005 h 1298434"/>
              <a:gd name="connsiteX12-9229" fmla="*/ 89210 w 2252546"/>
              <a:gd name="connsiteY12-9230" fmla="*/ 1019654 h 1298434"/>
              <a:gd name="connsiteX13-9231" fmla="*/ 144966 w 2252546"/>
              <a:gd name="connsiteY13-9232" fmla="*/ 1041956 h 1298434"/>
              <a:gd name="connsiteX14-9233" fmla="*/ 167547 w 2252546"/>
              <a:gd name="connsiteY14-9234" fmla="*/ 952746 h 1298434"/>
              <a:gd name="connsiteX15-9235" fmla="*/ 267629 w 2252546"/>
              <a:gd name="connsiteY15-9236" fmla="*/ 975049 h 1298434"/>
              <a:gd name="connsiteX16-9237" fmla="*/ 367158 w 2252546"/>
              <a:gd name="connsiteY16-9238" fmla="*/ 993006 h 1298434"/>
              <a:gd name="connsiteX17-9239" fmla="*/ 373396 w 2252546"/>
              <a:gd name="connsiteY17-9240" fmla="*/ 953708 h 1298434"/>
              <a:gd name="connsiteX18-9241" fmla="*/ 430542 w 2252546"/>
              <a:gd name="connsiteY18-9242" fmla="*/ 987982 h 1298434"/>
              <a:gd name="connsiteX19-9243" fmla="*/ 479502 w 2252546"/>
              <a:gd name="connsiteY19-9244" fmla="*/ 1074317 h 1298434"/>
              <a:gd name="connsiteX20-9245" fmla="*/ 479502 w 2252546"/>
              <a:gd name="connsiteY20-9246" fmla="*/ 1253829 h 1298434"/>
              <a:gd name="connsiteX21-9247" fmla="*/ 669073 w 2252546"/>
              <a:gd name="connsiteY21-9248" fmla="*/ 1276132 h 1298434"/>
              <a:gd name="connsiteX22-9249" fmla="*/ 713678 w 2252546"/>
              <a:gd name="connsiteY22-9250" fmla="*/ 1298434 h 1298434"/>
              <a:gd name="connsiteX23-9251" fmla="*/ 970156 w 2252546"/>
              <a:gd name="connsiteY23-9252" fmla="*/ 1041956 h 1298434"/>
              <a:gd name="connsiteX24-9253" fmla="*/ 1315844 w 2252546"/>
              <a:gd name="connsiteY24-9254" fmla="*/ 930444 h 1298434"/>
              <a:gd name="connsiteX25-9255" fmla="*/ 1405054 w 2252546"/>
              <a:gd name="connsiteY25-9256" fmla="*/ 796629 h 1298434"/>
              <a:gd name="connsiteX26-9257" fmla="*/ 1326995 w 2252546"/>
              <a:gd name="connsiteY26-9258" fmla="*/ 740873 h 1298434"/>
              <a:gd name="connsiteX27-9259" fmla="*/ 1371600 w 2252546"/>
              <a:gd name="connsiteY27-9260" fmla="*/ 640512 h 1298434"/>
              <a:gd name="connsiteX28-9261" fmla="*/ 1650380 w 2252546"/>
              <a:gd name="connsiteY28-9262" fmla="*/ 540151 h 1298434"/>
              <a:gd name="connsiteX29-9263" fmla="*/ 1650380 w 2252546"/>
              <a:gd name="connsiteY29-9264" fmla="*/ 484395 h 1298434"/>
              <a:gd name="connsiteX30-9265" fmla="*/ 1806497 w 2252546"/>
              <a:gd name="connsiteY30-9266" fmla="*/ 450941 h 1298434"/>
              <a:gd name="connsiteX31-9267" fmla="*/ 1839951 w 2252546"/>
              <a:gd name="connsiteY31-9268" fmla="*/ 473244 h 1298434"/>
              <a:gd name="connsiteX32-9269" fmla="*/ 1929161 w 2252546"/>
              <a:gd name="connsiteY32-9270" fmla="*/ 439790 h 1298434"/>
              <a:gd name="connsiteX33-9271" fmla="*/ 2241395 w 2252546"/>
              <a:gd name="connsiteY33-9272" fmla="*/ 484395 h 1298434"/>
              <a:gd name="connsiteX34-9273" fmla="*/ 2174488 w 2252546"/>
              <a:gd name="connsiteY34-9274" fmla="*/ 372883 h 1298434"/>
              <a:gd name="connsiteX35-9275" fmla="*/ 2252546 w 2252546"/>
              <a:gd name="connsiteY35-9276" fmla="*/ 328278 h 1298434"/>
              <a:gd name="connsiteX36-9277" fmla="*/ 2062976 w 2252546"/>
              <a:gd name="connsiteY36-9278" fmla="*/ 205615 h 1298434"/>
              <a:gd name="connsiteX37-9279" fmla="*/ 2062976 w 2252546"/>
              <a:gd name="connsiteY37-9280" fmla="*/ 205615 h 1298434"/>
              <a:gd name="connsiteX38-9281" fmla="*/ 2085278 w 2252546"/>
              <a:gd name="connsiteY38-9282" fmla="*/ 183312 h 1298434"/>
              <a:gd name="connsiteX39-9283" fmla="*/ 2040673 w 2252546"/>
              <a:gd name="connsiteY39-9284" fmla="*/ 82951 h 1298434"/>
              <a:gd name="connsiteX40-9285" fmla="*/ 2038094 w 2252546"/>
              <a:gd name="connsiteY40-9286" fmla="*/ 8569 h 1298434"/>
              <a:gd name="connsiteX41-9287" fmla="*/ 1882255 w 2252546"/>
              <a:gd name="connsiteY41-9288" fmla="*/ 13734 h 1298434"/>
              <a:gd name="connsiteX42-9289" fmla="*/ 1667247 w 2252546"/>
              <a:gd name="connsiteY42-9290" fmla="*/ 0 h 1298434"/>
              <a:gd name="connsiteX43-9291" fmla="*/ 1572322 w 2252546"/>
              <a:gd name="connsiteY43-9292" fmla="*/ 49497 h 1298434"/>
              <a:gd name="connsiteX44-9293" fmla="*/ 1506189 w 2252546"/>
              <a:gd name="connsiteY44-9294" fmla="*/ 268229 h 1298434"/>
              <a:gd name="connsiteX45-9295" fmla="*/ 1433671 w 2252546"/>
              <a:gd name="connsiteY45-9296" fmla="*/ 205631 h 1298434"/>
              <a:gd name="connsiteX46-9297" fmla="*/ 1324400 w 2252546"/>
              <a:gd name="connsiteY46-9298" fmla="*/ 268643 h 1298434"/>
              <a:gd name="connsiteX47-9299" fmla="*/ 1324339 w 2252546"/>
              <a:gd name="connsiteY47-9300" fmla="*/ 393579 h 1298434"/>
              <a:gd name="connsiteX48-9301" fmla="*/ 1311312 w 2252546"/>
              <a:gd name="connsiteY48-9302" fmla="*/ 381010 h 1298434"/>
              <a:gd name="connsiteX49-9303" fmla="*/ 1240170 w 2252546"/>
              <a:gd name="connsiteY49-9304" fmla="*/ 361867 h 1298434"/>
              <a:gd name="connsiteX50-9305" fmla="*/ 1161595 w 2252546"/>
              <a:gd name="connsiteY50-9306" fmla="*/ 297384 h 1298434"/>
              <a:gd name="connsiteX51-9307" fmla="*/ 1113434 w 2252546"/>
              <a:gd name="connsiteY51-9308" fmla="*/ 256814 h 1298434"/>
              <a:gd name="connsiteX52-9309" fmla="*/ 890352 w 2252546"/>
              <a:gd name="connsiteY52-9310" fmla="*/ 303096 h 1298434"/>
              <a:gd name="connsiteX53-9311" fmla="*/ 858705 w 2252546"/>
              <a:gd name="connsiteY53-9312" fmla="*/ 382408 h 1298434"/>
              <a:gd name="connsiteX54-9313" fmla="*/ 784495 w 2252546"/>
              <a:gd name="connsiteY54-9314" fmla="*/ 438918 h 1298434"/>
              <a:gd name="connsiteX55-9315" fmla="*/ 781088 w 2252546"/>
              <a:gd name="connsiteY55-9316" fmla="*/ 430544 h 1298434"/>
              <a:gd name="connsiteX56-9317" fmla="*/ 768152 w 2252546"/>
              <a:gd name="connsiteY56-9318" fmla="*/ 430544 h 1298434"/>
              <a:gd name="connsiteX57-9319" fmla="*/ 723189 w 2252546"/>
              <a:gd name="connsiteY57-9320" fmla="*/ 375134 h 1298434"/>
              <a:gd name="connsiteX58-9321" fmla="*/ 591015 w 2252546"/>
              <a:gd name="connsiteY58-9322" fmla="*/ 261371 h 1298434"/>
              <a:gd name="connsiteX0-9323" fmla="*/ 591015 w 2252546"/>
              <a:gd name="connsiteY0-9324" fmla="*/ 261371 h 1298434"/>
              <a:gd name="connsiteX1-9325" fmla="*/ 446049 w 2252546"/>
              <a:gd name="connsiteY1-9326" fmla="*/ 261371 h 1298434"/>
              <a:gd name="connsiteX2-9327" fmla="*/ 520144 w 2252546"/>
              <a:gd name="connsiteY2-9328" fmla="*/ 334366 h 1298434"/>
              <a:gd name="connsiteX3-9329" fmla="*/ 424915 w 2252546"/>
              <a:gd name="connsiteY3-9330" fmla="*/ 388375 h 1298434"/>
              <a:gd name="connsiteX4-9331" fmla="*/ 234176 w 2252546"/>
              <a:gd name="connsiteY4-9332" fmla="*/ 328278 h 1298434"/>
              <a:gd name="connsiteX5-9333" fmla="*/ 234176 w 2252546"/>
              <a:gd name="connsiteY5-9334" fmla="*/ 406336 h 1298434"/>
              <a:gd name="connsiteX6-9335" fmla="*/ 256478 w 2252546"/>
              <a:gd name="connsiteY6-9336" fmla="*/ 517849 h 1298434"/>
              <a:gd name="connsiteX7-9337" fmla="*/ 178419 w 2252546"/>
              <a:gd name="connsiteY7-9338" fmla="*/ 595907 h 1298434"/>
              <a:gd name="connsiteX8-9339" fmla="*/ 189571 w 2252546"/>
              <a:gd name="connsiteY8-9340" fmla="*/ 662815 h 1298434"/>
              <a:gd name="connsiteX9-9341" fmla="*/ 78058 w 2252546"/>
              <a:gd name="connsiteY9-9342" fmla="*/ 696268 h 1298434"/>
              <a:gd name="connsiteX10-9343" fmla="*/ 0 w 2252546"/>
              <a:gd name="connsiteY10-9344" fmla="*/ 774327 h 1298434"/>
              <a:gd name="connsiteX11-9345" fmla="*/ 91789 w 2252546"/>
              <a:gd name="connsiteY11-9346" fmla="*/ 925005 h 1298434"/>
              <a:gd name="connsiteX12-9347" fmla="*/ 89210 w 2252546"/>
              <a:gd name="connsiteY12-9348" fmla="*/ 1019654 h 1298434"/>
              <a:gd name="connsiteX13-9349" fmla="*/ 144966 w 2252546"/>
              <a:gd name="connsiteY13-9350" fmla="*/ 1041956 h 1298434"/>
              <a:gd name="connsiteX14-9351" fmla="*/ 167547 w 2252546"/>
              <a:gd name="connsiteY14-9352" fmla="*/ 952746 h 1298434"/>
              <a:gd name="connsiteX15-9353" fmla="*/ 267629 w 2252546"/>
              <a:gd name="connsiteY15-9354" fmla="*/ 975049 h 1298434"/>
              <a:gd name="connsiteX16-9355" fmla="*/ 367158 w 2252546"/>
              <a:gd name="connsiteY16-9356" fmla="*/ 993006 h 1298434"/>
              <a:gd name="connsiteX17-9357" fmla="*/ 373396 w 2252546"/>
              <a:gd name="connsiteY17-9358" fmla="*/ 953708 h 1298434"/>
              <a:gd name="connsiteX18-9359" fmla="*/ 430542 w 2252546"/>
              <a:gd name="connsiteY18-9360" fmla="*/ 987982 h 1298434"/>
              <a:gd name="connsiteX19-9361" fmla="*/ 479502 w 2252546"/>
              <a:gd name="connsiteY19-9362" fmla="*/ 1074317 h 1298434"/>
              <a:gd name="connsiteX20-9363" fmla="*/ 479502 w 2252546"/>
              <a:gd name="connsiteY20-9364" fmla="*/ 1253829 h 1298434"/>
              <a:gd name="connsiteX21-9365" fmla="*/ 669073 w 2252546"/>
              <a:gd name="connsiteY21-9366" fmla="*/ 1276132 h 1298434"/>
              <a:gd name="connsiteX22-9367" fmla="*/ 713678 w 2252546"/>
              <a:gd name="connsiteY22-9368" fmla="*/ 1298434 h 1298434"/>
              <a:gd name="connsiteX23-9369" fmla="*/ 970156 w 2252546"/>
              <a:gd name="connsiteY23-9370" fmla="*/ 1041956 h 1298434"/>
              <a:gd name="connsiteX24-9371" fmla="*/ 1315844 w 2252546"/>
              <a:gd name="connsiteY24-9372" fmla="*/ 930444 h 1298434"/>
              <a:gd name="connsiteX25-9373" fmla="*/ 1405054 w 2252546"/>
              <a:gd name="connsiteY25-9374" fmla="*/ 796629 h 1298434"/>
              <a:gd name="connsiteX26-9375" fmla="*/ 1326995 w 2252546"/>
              <a:gd name="connsiteY26-9376" fmla="*/ 740873 h 1298434"/>
              <a:gd name="connsiteX27-9377" fmla="*/ 1371600 w 2252546"/>
              <a:gd name="connsiteY27-9378" fmla="*/ 640512 h 1298434"/>
              <a:gd name="connsiteX28-9379" fmla="*/ 1650380 w 2252546"/>
              <a:gd name="connsiteY28-9380" fmla="*/ 540151 h 1298434"/>
              <a:gd name="connsiteX29-9381" fmla="*/ 1650380 w 2252546"/>
              <a:gd name="connsiteY29-9382" fmla="*/ 484395 h 1298434"/>
              <a:gd name="connsiteX30-9383" fmla="*/ 1806497 w 2252546"/>
              <a:gd name="connsiteY30-9384" fmla="*/ 450941 h 1298434"/>
              <a:gd name="connsiteX31-9385" fmla="*/ 1839951 w 2252546"/>
              <a:gd name="connsiteY31-9386" fmla="*/ 473244 h 1298434"/>
              <a:gd name="connsiteX32-9387" fmla="*/ 1929161 w 2252546"/>
              <a:gd name="connsiteY32-9388" fmla="*/ 439790 h 1298434"/>
              <a:gd name="connsiteX33-9389" fmla="*/ 2241395 w 2252546"/>
              <a:gd name="connsiteY33-9390" fmla="*/ 484395 h 1298434"/>
              <a:gd name="connsiteX34-9391" fmla="*/ 2174488 w 2252546"/>
              <a:gd name="connsiteY34-9392" fmla="*/ 372883 h 1298434"/>
              <a:gd name="connsiteX35-9393" fmla="*/ 2252546 w 2252546"/>
              <a:gd name="connsiteY35-9394" fmla="*/ 328278 h 1298434"/>
              <a:gd name="connsiteX36-9395" fmla="*/ 2062976 w 2252546"/>
              <a:gd name="connsiteY36-9396" fmla="*/ 205615 h 1298434"/>
              <a:gd name="connsiteX37-9397" fmla="*/ 2062976 w 2252546"/>
              <a:gd name="connsiteY37-9398" fmla="*/ 205615 h 1298434"/>
              <a:gd name="connsiteX38-9399" fmla="*/ 2085278 w 2252546"/>
              <a:gd name="connsiteY38-9400" fmla="*/ 183312 h 1298434"/>
              <a:gd name="connsiteX39-9401" fmla="*/ 2040673 w 2252546"/>
              <a:gd name="connsiteY39-9402" fmla="*/ 82951 h 1298434"/>
              <a:gd name="connsiteX40-9403" fmla="*/ 2038094 w 2252546"/>
              <a:gd name="connsiteY40-9404" fmla="*/ 8569 h 1298434"/>
              <a:gd name="connsiteX41-9405" fmla="*/ 1882255 w 2252546"/>
              <a:gd name="connsiteY41-9406" fmla="*/ 13734 h 1298434"/>
              <a:gd name="connsiteX42-9407" fmla="*/ 1667247 w 2252546"/>
              <a:gd name="connsiteY42-9408" fmla="*/ 0 h 1298434"/>
              <a:gd name="connsiteX43-9409" fmla="*/ 1572322 w 2252546"/>
              <a:gd name="connsiteY43-9410" fmla="*/ 49497 h 1298434"/>
              <a:gd name="connsiteX44-9411" fmla="*/ 1506189 w 2252546"/>
              <a:gd name="connsiteY44-9412" fmla="*/ 268229 h 1298434"/>
              <a:gd name="connsiteX45-9413" fmla="*/ 1433671 w 2252546"/>
              <a:gd name="connsiteY45-9414" fmla="*/ 205631 h 1298434"/>
              <a:gd name="connsiteX46-9415" fmla="*/ 1324400 w 2252546"/>
              <a:gd name="connsiteY46-9416" fmla="*/ 268643 h 1298434"/>
              <a:gd name="connsiteX47-9417" fmla="*/ 1324339 w 2252546"/>
              <a:gd name="connsiteY47-9418" fmla="*/ 393579 h 1298434"/>
              <a:gd name="connsiteX48-9419" fmla="*/ 1311312 w 2252546"/>
              <a:gd name="connsiteY48-9420" fmla="*/ 381010 h 1298434"/>
              <a:gd name="connsiteX49-9421" fmla="*/ 1240170 w 2252546"/>
              <a:gd name="connsiteY49-9422" fmla="*/ 361867 h 1298434"/>
              <a:gd name="connsiteX50-9423" fmla="*/ 1161595 w 2252546"/>
              <a:gd name="connsiteY50-9424" fmla="*/ 297384 h 1298434"/>
              <a:gd name="connsiteX51-9425" fmla="*/ 1113434 w 2252546"/>
              <a:gd name="connsiteY51-9426" fmla="*/ 256814 h 1298434"/>
              <a:gd name="connsiteX52-9427" fmla="*/ 890352 w 2252546"/>
              <a:gd name="connsiteY52-9428" fmla="*/ 303096 h 1298434"/>
              <a:gd name="connsiteX53-9429" fmla="*/ 861563 w 2252546"/>
              <a:gd name="connsiteY53-9430" fmla="*/ 390976 h 1298434"/>
              <a:gd name="connsiteX54-9431" fmla="*/ 784495 w 2252546"/>
              <a:gd name="connsiteY54-9432" fmla="*/ 438918 h 1298434"/>
              <a:gd name="connsiteX55-9433" fmla="*/ 781088 w 2252546"/>
              <a:gd name="connsiteY55-9434" fmla="*/ 430544 h 1298434"/>
              <a:gd name="connsiteX56-9435" fmla="*/ 768152 w 2252546"/>
              <a:gd name="connsiteY56-9436" fmla="*/ 430544 h 1298434"/>
              <a:gd name="connsiteX57-9437" fmla="*/ 723189 w 2252546"/>
              <a:gd name="connsiteY57-9438" fmla="*/ 375134 h 1298434"/>
              <a:gd name="connsiteX58-9439" fmla="*/ 591015 w 2252546"/>
              <a:gd name="connsiteY58-9440" fmla="*/ 261371 h 129843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109" y="connsiteY54-110"/>
              </a:cxn>
              <a:cxn ang="0">
                <a:pos x="connsiteX55-221" y="connsiteY55-222"/>
              </a:cxn>
              <a:cxn ang="0">
                <a:pos x="connsiteX56-335" y="connsiteY56-336"/>
              </a:cxn>
              <a:cxn ang="0">
                <a:pos x="connsiteX57-451" y="connsiteY57-452"/>
              </a:cxn>
              <a:cxn ang="0">
                <a:pos x="connsiteX58-685" y="connsiteY58-686"/>
              </a:cxn>
            </a:cxnLst>
            <a:rect l="l" t="t" r="r" b="b"/>
            <a:pathLst>
              <a:path w="2252546" h="1298434">
                <a:moveTo>
                  <a:pt x="591015" y="261371"/>
                </a:moveTo>
                <a:lnTo>
                  <a:pt x="446049" y="261371"/>
                </a:lnTo>
                <a:lnTo>
                  <a:pt x="520144" y="334366"/>
                </a:lnTo>
                <a:lnTo>
                  <a:pt x="424915" y="388375"/>
                </a:lnTo>
                <a:lnTo>
                  <a:pt x="234176" y="328278"/>
                </a:lnTo>
                <a:lnTo>
                  <a:pt x="234176" y="406336"/>
                </a:lnTo>
                <a:lnTo>
                  <a:pt x="256478" y="517849"/>
                </a:lnTo>
                <a:lnTo>
                  <a:pt x="178419" y="595907"/>
                </a:lnTo>
                <a:lnTo>
                  <a:pt x="189571" y="662815"/>
                </a:lnTo>
                <a:lnTo>
                  <a:pt x="78058" y="696268"/>
                </a:lnTo>
                <a:lnTo>
                  <a:pt x="0" y="774327"/>
                </a:lnTo>
                <a:lnTo>
                  <a:pt x="91789" y="925005"/>
                </a:lnTo>
                <a:cubicBezTo>
                  <a:pt x="90929" y="956555"/>
                  <a:pt x="90070" y="988104"/>
                  <a:pt x="89210" y="1019654"/>
                </a:cubicBezTo>
                <a:lnTo>
                  <a:pt x="144966" y="1041956"/>
                </a:lnTo>
                <a:lnTo>
                  <a:pt x="167547" y="952746"/>
                </a:lnTo>
                <a:lnTo>
                  <a:pt x="267629" y="975049"/>
                </a:lnTo>
                <a:lnTo>
                  <a:pt x="367158" y="993006"/>
                </a:lnTo>
                <a:lnTo>
                  <a:pt x="373396" y="953708"/>
                </a:lnTo>
                <a:lnTo>
                  <a:pt x="430542" y="987982"/>
                </a:lnTo>
                <a:lnTo>
                  <a:pt x="479502" y="1074317"/>
                </a:lnTo>
                <a:lnTo>
                  <a:pt x="479502" y="1253829"/>
                </a:lnTo>
                <a:lnTo>
                  <a:pt x="669073" y="1276132"/>
                </a:lnTo>
                <a:lnTo>
                  <a:pt x="713678" y="1298434"/>
                </a:lnTo>
                <a:lnTo>
                  <a:pt x="970156" y="1041956"/>
                </a:lnTo>
                <a:lnTo>
                  <a:pt x="1315844" y="930444"/>
                </a:lnTo>
                <a:lnTo>
                  <a:pt x="1405054" y="796629"/>
                </a:lnTo>
                <a:lnTo>
                  <a:pt x="1326995" y="740873"/>
                </a:lnTo>
                <a:lnTo>
                  <a:pt x="1371600" y="640512"/>
                </a:lnTo>
                <a:lnTo>
                  <a:pt x="1650380" y="540151"/>
                </a:lnTo>
                <a:lnTo>
                  <a:pt x="1650380" y="484395"/>
                </a:lnTo>
                <a:lnTo>
                  <a:pt x="1806497" y="450941"/>
                </a:lnTo>
                <a:lnTo>
                  <a:pt x="1839951" y="473244"/>
                </a:lnTo>
                <a:lnTo>
                  <a:pt x="1929161" y="439790"/>
                </a:lnTo>
                <a:lnTo>
                  <a:pt x="2241395" y="484395"/>
                </a:lnTo>
                <a:lnTo>
                  <a:pt x="2174488" y="372883"/>
                </a:lnTo>
                <a:lnTo>
                  <a:pt x="2252546" y="328278"/>
                </a:lnTo>
                <a:lnTo>
                  <a:pt x="2062976" y="205615"/>
                </a:lnTo>
                <a:lnTo>
                  <a:pt x="2062976" y="205615"/>
                </a:lnTo>
                <a:lnTo>
                  <a:pt x="2085278" y="183312"/>
                </a:lnTo>
                <a:lnTo>
                  <a:pt x="2040673" y="82951"/>
                </a:lnTo>
                <a:cubicBezTo>
                  <a:pt x="2039813" y="58157"/>
                  <a:pt x="2038954" y="33363"/>
                  <a:pt x="2038094" y="8569"/>
                </a:cubicBezTo>
                <a:lnTo>
                  <a:pt x="1882255" y="13734"/>
                </a:lnTo>
                <a:lnTo>
                  <a:pt x="1667247" y="0"/>
                </a:lnTo>
                <a:lnTo>
                  <a:pt x="1572322" y="49497"/>
                </a:lnTo>
                <a:lnTo>
                  <a:pt x="1506189" y="268229"/>
                </a:lnTo>
                <a:lnTo>
                  <a:pt x="1433671" y="205631"/>
                </a:lnTo>
                <a:lnTo>
                  <a:pt x="1324400" y="268643"/>
                </a:lnTo>
                <a:cubicBezTo>
                  <a:pt x="1323957" y="331565"/>
                  <a:pt x="1326520" y="333203"/>
                  <a:pt x="1324339" y="393579"/>
                </a:cubicBezTo>
                <a:lnTo>
                  <a:pt x="1311312" y="381010"/>
                </a:lnTo>
                <a:lnTo>
                  <a:pt x="1240170" y="361867"/>
                </a:lnTo>
                <a:lnTo>
                  <a:pt x="1161595" y="297384"/>
                </a:lnTo>
                <a:lnTo>
                  <a:pt x="1113434" y="256814"/>
                </a:lnTo>
                <a:cubicBezTo>
                  <a:pt x="1039654" y="183507"/>
                  <a:pt x="915663" y="250747"/>
                  <a:pt x="890352" y="303096"/>
                </a:cubicBezTo>
                <a:lnTo>
                  <a:pt x="861563" y="390976"/>
                </a:lnTo>
                <a:lnTo>
                  <a:pt x="784495" y="438918"/>
                </a:lnTo>
                <a:lnTo>
                  <a:pt x="781088" y="430544"/>
                </a:lnTo>
                <a:lnTo>
                  <a:pt x="768152" y="430544"/>
                </a:lnTo>
                <a:lnTo>
                  <a:pt x="723189" y="375134"/>
                </a:lnTo>
                <a:cubicBezTo>
                  <a:pt x="653416" y="297227"/>
                  <a:pt x="635073" y="299292"/>
                  <a:pt x="591015" y="261371"/>
                </a:cubicBezTo>
                <a:close/>
              </a:path>
            </a:pathLst>
          </a:custGeom>
        </p:spPr>
        <p:style>
          <a:lnRef idx="1">
            <a:schemeClr val="accent3"/>
          </a:lnRef>
          <a:fillRef idx="2">
            <a:schemeClr val="accent3"/>
          </a:fillRef>
          <a:effectRef idx="1">
            <a:schemeClr val="accent3"/>
          </a:effectRef>
          <a:fontRef idx="minor">
            <a:schemeClr val="dk1"/>
          </a:fontRef>
        </p:style>
        <p:txBody>
          <a:bodyPr lIns="45710" tIns="45710" rIns="45710" bIns="45710" anchor="ctr"/>
          <a:lstStyle/>
          <a:p>
            <a:pPr algn="ctr">
              <a:spcBef>
                <a:spcPts val="400"/>
              </a:spcBef>
              <a:defRPr/>
            </a:pPr>
            <a:endParaRPr lang="en-US" sz="1200" kern="0">
              <a:solidFill>
                <a:srgbClr val="FFFFFF"/>
              </a:solidFill>
              <a:latin typeface="+mj-lt"/>
              <a:cs typeface="Arial" panose="020B0604020202020204" pitchFamily="34" charset="0"/>
            </a:endParaRPr>
          </a:p>
        </p:txBody>
      </p:sp>
      <p:sp>
        <p:nvSpPr>
          <p:cNvPr id="11" name="Freeform 42"/>
          <p:cNvSpPr/>
          <p:nvPr>
            <p:custDataLst>
              <p:tags r:id="rId6"/>
            </p:custDataLst>
          </p:nvPr>
        </p:nvSpPr>
        <p:spPr bwMode="gray">
          <a:xfrm>
            <a:off x="6297379" y="1806271"/>
            <a:ext cx="1130442" cy="855458"/>
          </a:xfrm>
          <a:custGeom>
            <a:avLst/>
            <a:gdLst>
              <a:gd name="connsiteX0" fmla="*/ 0 w 914400"/>
              <a:gd name="connsiteY0" fmla="*/ 234176 h 613318"/>
              <a:gd name="connsiteX1" fmla="*/ 55756 w 914400"/>
              <a:gd name="connsiteY1" fmla="*/ 323386 h 613318"/>
              <a:gd name="connsiteX2" fmla="*/ 33454 w 914400"/>
              <a:gd name="connsiteY2" fmla="*/ 468352 h 613318"/>
              <a:gd name="connsiteX3" fmla="*/ 144966 w 914400"/>
              <a:gd name="connsiteY3" fmla="*/ 535259 h 613318"/>
              <a:gd name="connsiteX4" fmla="*/ 178419 w 914400"/>
              <a:gd name="connsiteY4" fmla="*/ 613318 h 613318"/>
              <a:gd name="connsiteX5" fmla="*/ 312234 w 914400"/>
              <a:gd name="connsiteY5" fmla="*/ 535259 h 613318"/>
              <a:gd name="connsiteX6" fmla="*/ 267629 w 914400"/>
              <a:gd name="connsiteY6" fmla="*/ 446049 h 613318"/>
              <a:gd name="connsiteX7" fmla="*/ 379141 w 914400"/>
              <a:gd name="connsiteY7" fmla="*/ 401444 h 613318"/>
              <a:gd name="connsiteX8" fmla="*/ 457200 w 914400"/>
              <a:gd name="connsiteY8" fmla="*/ 401444 h 613318"/>
              <a:gd name="connsiteX9" fmla="*/ 535258 w 914400"/>
              <a:gd name="connsiteY9" fmla="*/ 401444 h 613318"/>
              <a:gd name="connsiteX10" fmla="*/ 613317 w 914400"/>
              <a:gd name="connsiteY10" fmla="*/ 412596 h 613318"/>
              <a:gd name="connsiteX11" fmla="*/ 747132 w 914400"/>
              <a:gd name="connsiteY11" fmla="*/ 278781 h 613318"/>
              <a:gd name="connsiteX12" fmla="*/ 914400 w 914400"/>
              <a:gd name="connsiteY12" fmla="*/ 323386 h 613318"/>
              <a:gd name="connsiteX13" fmla="*/ 836341 w 914400"/>
              <a:gd name="connsiteY13" fmla="*/ 223025 h 613318"/>
              <a:gd name="connsiteX14" fmla="*/ 914400 w 914400"/>
              <a:gd name="connsiteY14" fmla="*/ 211874 h 613318"/>
              <a:gd name="connsiteX15" fmla="*/ 814039 w 914400"/>
              <a:gd name="connsiteY15" fmla="*/ 144966 h 613318"/>
              <a:gd name="connsiteX16" fmla="*/ 903249 w 914400"/>
              <a:gd name="connsiteY16" fmla="*/ 55757 h 613318"/>
              <a:gd name="connsiteX17" fmla="*/ 903249 w 914400"/>
              <a:gd name="connsiteY17" fmla="*/ 55757 h 613318"/>
              <a:gd name="connsiteX18" fmla="*/ 780585 w 914400"/>
              <a:gd name="connsiteY18" fmla="*/ 78059 h 613318"/>
              <a:gd name="connsiteX19" fmla="*/ 680224 w 914400"/>
              <a:gd name="connsiteY19" fmla="*/ 78059 h 613318"/>
              <a:gd name="connsiteX20" fmla="*/ 680224 w 914400"/>
              <a:gd name="connsiteY20" fmla="*/ 0 h 613318"/>
              <a:gd name="connsiteX21" fmla="*/ 557561 w 914400"/>
              <a:gd name="connsiteY21" fmla="*/ 44605 h 613318"/>
              <a:gd name="connsiteX22" fmla="*/ 423746 w 914400"/>
              <a:gd name="connsiteY22" fmla="*/ 78059 h 613318"/>
              <a:gd name="connsiteX23" fmla="*/ 323385 w 914400"/>
              <a:gd name="connsiteY23" fmla="*/ 22303 h 613318"/>
              <a:gd name="connsiteX24" fmla="*/ 234175 w 914400"/>
              <a:gd name="connsiteY24" fmla="*/ 89210 h 613318"/>
              <a:gd name="connsiteX25" fmla="*/ 156117 w 914400"/>
              <a:gd name="connsiteY25" fmla="*/ 167269 h 613318"/>
              <a:gd name="connsiteX26" fmla="*/ 111512 w 914400"/>
              <a:gd name="connsiteY26" fmla="*/ 289932 h 613318"/>
              <a:gd name="connsiteX27" fmla="*/ 0 w 914400"/>
              <a:gd name="connsiteY27" fmla="*/ 234176 h 613318"/>
              <a:gd name="connsiteX0-1" fmla="*/ 0 w 914400"/>
              <a:gd name="connsiteY0-2" fmla="*/ 234176 h 613318"/>
              <a:gd name="connsiteX1-3" fmla="*/ 55756 w 914400"/>
              <a:gd name="connsiteY1-4" fmla="*/ 323386 h 613318"/>
              <a:gd name="connsiteX2-5" fmla="*/ 33454 w 914400"/>
              <a:gd name="connsiteY2-6" fmla="*/ 468352 h 613318"/>
              <a:gd name="connsiteX3-7" fmla="*/ 33582 w 914400"/>
              <a:gd name="connsiteY3-8" fmla="*/ 474231 h 613318"/>
              <a:gd name="connsiteX4-9" fmla="*/ 144966 w 914400"/>
              <a:gd name="connsiteY4-10" fmla="*/ 535259 h 613318"/>
              <a:gd name="connsiteX5-11" fmla="*/ 178419 w 914400"/>
              <a:gd name="connsiteY5-12" fmla="*/ 613318 h 613318"/>
              <a:gd name="connsiteX6-13" fmla="*/ 312234 w 914400"/>
              <a:gd name="connsiteY6-14" fmla="*/ 535259 h 613318"/>
              <a:gd name="connsiteX7-15" fmla="*/ 267629 w 914400"/>
              <a:gd name="connsiteY7-16" fmla="*/ 446049 h 613318"/>
              <a:gd name="connsiteX8-17" fmla="*/ 379141 w 914400"/>
              <a:gd name="connsiteY8-18" fmla="*/ 401444 h 613318"/>
              <a:gd name="connsiteX9-19" fmla="*/ 457200 w 914400"/>
              <a:gd name="connsiteY9-20" fmla="*/ 401444 h 613318"/>
              <a:gd name="connsiteX10-21" fmla="*/ 535258 w 914400"/>
              <a:gd name="connsiteY10-22" fmla="*/ 401444 h 613318"/>
              <a:gd name="connsiteX11-23" fmla="*/ 613317 w 914400"/>
              <a:gd name="connsiteY11-24" fmla="*/ 412596 h 613318"/>
              <a:gd name="connsiteX12-25" fmla="*/ 747132 w 914400"/>
              <a:gd name="connsiteY12-26" fmla="*/ 278781 h 613318"/>
              <a:gd name="connsiteX13-27" fmla="*/ 914400 w 914400"/>
              <a:gd name="connsiteY13-28" fmla="*/ 323386 h 613318"/>
              <a:gd name="connsiteX14-29" fmla="*/ 836341 w 914400"/>
              <a:gd name="connsiteY14-30" fmla="*/ 223025 h 613318"/>
              <a:gd name="connsiteX15-31" fmla="*/ 914400 w 914400"/>
              <a:gd name="connsiteY15-32" fmla="*/ 211874 h 613318"/>
              <a:gd name="connsiteX16-33" fmla="*/ 814039 w 914400"/>
              <a:gd name="connsiteY16-34" fmla="*/ 144966 h 613318"/>
              <a:gd name="connsiteX17-35" fmla="*/ 903249 w 914400"/>
              <a:gd name="connsiteY17-36" fmla="*/ 55757 h 613318"/>
              <a:gd name="connsiteX18-37" fmla="*/ 903249 w 914400"/>
              <a:gd name="connsiteY18-38" fmla="*/ 55757 h 613318"/>
              <a:gd name="connsiteX19-39" fmla="*/ 780585 w 914400"/>
              <a:gd name="connsiteY19-40" fmla="*/ 78059 h 613318"/>
              <a:gd name="connsiteX20-41" fmla="*/ 680224 w 914400"/>
              <a:gd name="connsiteY20-42" fmla="*/ 78059 h 613318"/>
              <a:gd name="connsiteX21-43" fmla="*/ 680224 w 914400"/>
              <a:gd name="connsiteY21-44" fmla="*/ 0 h 613318"/>
              <a:gd name="connsiteX22-45" fmla="*/ 557561 w 914400"/>
              <a:gd name="connsiteY22-46" fmla="*/ 44605 h 613318"/>
              <a:gd name="connsiteX23-47" fmla="*/ 423746 w 914400"/>
              <a:gd name="connsiteY23-48" fmla="*/ 78059 h 613318"/>
              <a:gd name="connsiteX24-49" fmla="*/ 323385 w 914400"/>
              <a:gd name="connsiteY24-50" fmla="*/ 22303 h 613318"/>
              <a:gd name="connsiteX25-51" fmla="*/ 234175 w 914400"/>
              <a:gd name="connsiteY25-52" fmla="*/ 89210 h 613318"/>
              <a:gd name="connsiteX26-53" fmla="*/ 156117 w 914400"/>
              <a:gd name="connsiteY26-54" fmla="*/ 167269 h 613318"/>
              <a:gd name="connsiteX27-55" fmla="*/ 111512 w 914400"/>
              <a:gd name="connsiteY27-56" fmla="*/ 289932 h 613318"/>
              <a:gd name="connsiteX28" fmla="*/ 0 w 914400"/>
              <a:gd name="connsiteY28" fmla="*/ 234176 h 613318"/>
              <a:gd name="connsiteX0-57" fmla="*/ 89082 w 1003482"/>
              <a:gd name="connsiteY0-58" fmla="*/ 234176 h 613318"/>
              <a:gd name="connsiteX1-59" fmla="*/ 144838 w 1003482"/>
              <a:gd name="connsiteY1-60" fmla="*/ 323386 h 613318"/>
              <a:gd name="connsiteX2-61" fmla="*/ 122536 w 1003482"/>
              <a:gd name="connsiteY2-62" fmla="*/ 468352 h 613318"/>
              <a:gd name="connsiteX3-63" fmla="*/ 122664 w 1003482"/>
              <a:gd name="connsiteY3-64" fmla="*/ 474231 h 613318"/>
              <a:gd name="connsiteX4-65" fmla="*/ 234048 w 1003482"/>
              <a:gd name="connsiteY4-66" fmla="*/ 535259 h 613318"/>
              <a:gd name="connsiteX5-67" fmla="*/ 267501 w 1003482"/>
              <a:gd name="connsiteY5-68" fmla="*/ 613318 h 613318"/>
              <a:gd name="connsiteX6-69" fmla="*/ 401316 w 1003482"/>
              <a:gd name="connsiteY6-70" fmla="*/ 535259 h 613318"/>
              <a:gd name="connsiteX7-71" fmla="*/ 356711 w 1003482"/>
              <a:gd name="connsiteY7-72" fmla="*/ 446049 h 613318"/>
              <a:gd name="connsiteX8-73" fmla="*/ 468223 w 1003482"/>
              <a:gd name="connsiteY8-74" fmla="*/ 401444 h 613318"/>
              <a:gd name="connsiteX9-75" fmla="*/ 546282 w 1003482"/>
              <a:gd name="connsiteY9-76" fmla="*/ 401444 h 613318"/>
              <a:gd name="connsiteX10-77" fmla="*/ 624340 w 1003482"/>
              <a:gd name="connsiteY10-78" fmla="*/ 401444 h 613318"/>
              <a:gd name="connsiteX11-79" fmla="*/ 702399 w 1003482"/>
              <a:gd name="connsiteY11-80" fmla="*/ 412596 h 613318"/>
              <a:gd name="connsiteX12-81" fmla="*/ 836214 w 1003482"/>
              <a:gd name="connsiteY12-82" fmla="*/ 278781 h 613318"/>
              <a:gd name="connsiteX13-83" fmla="*/ 1003482 w 1003482"/>
              <a:gd name="connsiteY13-84" fmla="*/ 323386 h 613318"/>
              <a:gd name="connsiteX14-85" fmla="*/ 925423 w 1003482"/>
              <a:gd name="connsiteY14-86" fmla="*/ 223025 h 613318"/>
              <a:gd name="connsiteX15-87" fmla="*/ 1003482 w 1003482"/>
              <a:gd name="connsiteY15-88" fmla="*/ 211874 h 613318"/>
              <a:gd name="connsiteX16-89" fmla="*/ 903121 w 1003482"/>
              <a:gd name="connsiteY16-90" fmla="*/ 144966 h 613318"/>
              <a:gd name="connsiteX17-91" fmla="*/ 992331 w 1003482"/>
              <a:gd name="connsiteY17-92" fmla="*/ 55757 h 613318"/>
              <a:gd name="connsiteX18-93" fmla="*/ 992331 w 1003482"/>
              <a:gd name="connsiteY18-94" fmla="*/ 55757 h 613318"/>
              <a:gd name="connsiteX19-95" fmla="*/ 869667 w 1003482"/>
              <a:gd name="connsiteY19-96" fmla="*/ 78059 h 613318"/>
              <a:gd name="connsiteX20-97" fmla="*/ 769306 w 1003482"/>
              <a:gd name="connsiteY20-98" fmla="*/ 78059 h 613318"/>
              <a:gd name="connsiteX21-99" fmla="*/ 769306 w 1003482"/>
              <a:gd name="connsiteY21-100" fmla="*/ 0 h 613318"/>
              <a:gd name="connsiteX22-101" fmla="*/ 646643 w 1003482"/>
              <a:gd name="connsiteY22-102" fmla="*/ 44605 h 613318"/>
              <a:gd name="connsiteX23-103" fmla="*/ 512828 w 1003482"/>
              <a:gd name="connsiteY23-104" fmla="*/ 78059 h 613318"/>
              <a:gd name="connsiteX24-105" fmla="*/ 412467 w 1003482"/>
              <a:gd name="connsiteY24-106" fmla="*/ 22303 h 613318"/>
              <a:gd name="connsiteX25-107" fmla="*/ 323257 w 1003482"/>
              <a:gd name="connsiteY25-108" fmla="*/ 89210 h 613318"/>
              <a:gd name="connsiteX26-109" fmla="*/ 245199 w 1003482"/>
              <a:gd name="connsiteY26-110" fmla="*/ 167269 h 613318"/>
              <a:gd name="connsiteX27-111" fmla="*/ 200594 w 1003482"/>
              <a:gd name="connsiteY27-112" fmla="*/ 289932 h 613318"/>
              <a:gd name="connsiteX28-113" fmla="*/ 89082 w 1003482"/>
              <a:gd name="connsiteY28-114" fmla="*/ 234176 h 613318"/>
              <a:gd name="connsiteX0-115" fmla="*/ 89082 w 1003482"/>
              <a:gd name="connsiteY0-116" fmla="*/ 234176 h 657091"/>
              <a:gd name="connsiteX1-117" fmla="*/ 144838 w 1003482"/>
              <a:gd name="connsiteY1-118" fmla="*/ 323386 h 657091"/>
              <a:gd name="connsiteX2-119" fmla="*/ 122536 w 1003482"/>
              <a:gd name="connsiteY2-120" fmla="*/ 468352 h 657091"/>
              <a:gd name="connsiteX3-121" fmla="*/ 122664 w 1003482"/>
              <a:gd name="connsiteY3-122" fmla="*/ 474231 h 657091"/>
              <a:gd name="connsiteX4-123" fmla="*/ 104418 w 1003482"/>
              <a:gd name="connsiteY4-124" fmla="*/ 657091 h 657091"/>
              <a:gd name="connsiteX5-125" fmla="*/ 267501 w 1003482"/>
              <a:gd name="connsiteY5-126" fmla="*/ 613318 h 657091"/>
              <a:gd name="connsiteX6-127" fmla="*/ 401316 w 1003482"/>
              <a:gd name="connsiteY6-128" fmla="*/ 535259 h 657091"/>
              <a:gd name="connsiteX7-129" fmla="*/ 356711 w 1003482"/>
              <a:gd name="connsiteY7-130" fmla="*/ 446049 h 657091"/>
              <a:gd name="connsiteX8-131" fmla="*/ 468223 w 1003482"/>
              <a:gd name="connsiteY8-132" fmla="*/ 401444 h 657091"/>
              <a:gd name="connsiteX9-133" fmla="*/ 546282 w 1003482"/>
              <a:gd name="connsiteY9-134" fmla="*/ 401444 h 657091"/>
              <a:gd name="connsiteX10-135" fmla="*/ 624340 w 1003482"/>
              <a:gd name="connsiteY10-136" fmla="*/ 401444 h 657091"/>
              <a:gd name="connsiteX11-137" fmla="*/ 702399 w 1003482"/>
              <a:gd name="connsiteY11-138" fmla="*/ 412596 h 657091"/>
              <a:gd name="connsiteX12-139" fmla="*/ 836214 w 1003482"/>
              <a:gd name="connsiteY12-140" fmla="*/ 278781 h 657091"/>
              <a:gd name="connsiteX13-141" fmla="*/ 1003482 w 1003482"/>
              <a:gd name="connsiteY13-142" fmla="*/ 323386 h 657091"/>
              <a:gd name="connsiteX14-143" fmla="*/ 925423 w 1003482"/>
              <a:gd name="connsiteY14-144" fmla="*/ 223025 h 657091"/>
              <a:gd name="connsiteX15-145" fmla="*/ 1003482 w 1003482"/>
              <a:gd name="connsiteY15-146" fmla="*/ 211874 h 657091"/>
              <a:gd name="connsiteX16-147" fmla="*/ 903121 w 1003482"/>
              <a:gd name="connsiteY16-148" fmla="*/ 144966 h 657091"/>
              <a:gd name="connsiteX17-149" fmla="*/ 992331 w 1003482"/>
              <a:gd name="connsiteY17-150" fmla="*/ 55757 h 657091"/>
              <a:gd name="connsiteX18-151" fmla="*/ 992331 w 1003482"/>
              <a:gd name="connsiteY18-152" fmla="*/ 55757 h 657091"/>
              <a:gd name="connsiteX19-153" fmla="*/ 869667 w 1003482"/>
              <a:gd name="connsiteY19-154" fmla="*/ 78059 h 657091"/>
              <a:gd name="connsiteX20-155" fmla="*/ 769306 w 1003482"/>
              <a:gd name="connsiteY20-156" fmla="*/ 78059 h 657091"/>
              <a:gd name="connsiteX21-157" fmla="*/ 769306 w 1003482"/>
              <a:gd name="connsiteY21-158" fmla="*/ 0 h 657091"/>
              <a:gd name="connsiteX22-159" fmla="*/ 646643 w 1003482"/>
              <a:gd name="connsiteY22-160" fmla="*/ 44605 h 657091"/>
              <a:gd name="connsiteX23-161" fmla="*/ 512828 w 1003482"/>
              <a:gd name="connsiteY23-162" fmla="*/ 78059 h 657091"/>
              <a:gd name="connsiteX24-163" fmla="*/ 412467 w 1003482"/>
              <a:gd name="connsiteY24-164" fmla="*/ 22303 h 657091"/>
              <a:gd name="connsiteX25-165" fmla="*/ 323257 w 1003482"/>
              <a:gd name="connsiteY25-166" fmla="*/ 89210 h 657091"/>
              <a:gd name="connsiteX26-167" fmla="*/ 245199 w 1003482"/>
              <a:gd name="connsiteY26-168" fmla="*/ 167269 h 657091"/>
              <a:gd name="connsiteX27-169" fmla="*/ 200594 w 1003482"/>
              <a:gd name="connsiteY27-170" fmla="*/ 289932 h 657091"/>
              <a:gd name="connsiteX28-171" fmla="*/ 89082 w 1003482"/>
              <a:gd name="connsiteY28-172" fmla="*/ 234176 h 657091"/>
              <a:gd name="connsiteX0-173" fmla="*/ 89082 w 1003482"/>
              <a:gd name="connsiteY0-174" fmla="*/ 234176 h 748715"/>
              <a:gd name="connsiteX1-175" fmla="*/ 144838 w 1003482"/>
              <a:gd name="connsiteY1-176" fmla="*/ 323386 h 748715"/>
              <a:gd name="connsiteX2-177" fmla="*/ 122536 w 1003482"/>
              <a:gd name="connsiteY2-178" fmla="*/ 468352 h 748715"/>
              <a:gd name="connsiteX3-179" fmla="*/ 122664 w 1003482"/>
              <a:gd name="connsiteY3-180" fmla="*/ 474231 h 748715"/>
              <a:gd name="connsiteX4-181" fmla="*/ 104418 w 1003482"/>
              <a:gd name="connsiteY4-182" fmla="*/ 657091 h 748715"/>
              <a:gd name="connsiteX5-183" fmla="*/ 267501 w 1003482"/>
              <a:gd name="connsiteY5-184" fmla="*/ 613318 h 748715"/>
              <a:gd name="connsiteX6-185" fmla="*/ 401316 w 1003482"/>
              <a:gd name="connsiteY6-186" fmla="*/ 535259 h 748715"/>
              <a:gd name="connsiteX7-187" fmla="*/ 356711 w 1003482"/>
              <a:gd name="connsiteY7-188" fmla="*/ 446049 h 748715"/>
              <a:gd name="connsiteX8-189" fmla="*/ 468223 w 1003482"/>
              <a:gd name="connsiteY8-190" fmla="*/ 401444 h 748715"/>
              <a:gd name="connsiteX9-191" fmla="*/ 546282 w 1003482"/>
              <a:gd name="connsiteY9-192" fmla="*/ 401444 h 748715"/>
              <a:gd name="connsiteX10-193" fmla="*/ 624340 w 1003482"/>
              <a:gd name="connsiteY10-194" fmla="*/ 401444 h 748715"/>
              <a:gd name="connsiteX11-195" fmla="*/ 702399 w 1003482"/>
              <a:gd name="connsiteY11-196" fmla="*/ 412596 h 748715"/>
              <a:gd name="connsiteX12-197" fmla="*/ 836214 w 1003482"/>
              <a:gd name="connsiteY12-198" fmla="*/ 278781 h 748715"/>
              <a:gd name="connsiteX13-199" fmla="*/ 1003482 w 1003482"/>
              <a:gd name="connsiteY13-200" fmla="*/ 323386 h 748715"/>
              <a:gd name="connsiteX14-201" fmla="*/ 925423 w 1003482"/>
              <a:gd name="connsiteY14-202" fmla="*/ 223025 h 748715"/>
              <a:gd name="connsiteX15-203" fmla="*/ 1003482 w 1003482"/>
              <a:gd name="connsiteY15-204" fmla="*/ 211874 h 748715"/>
              <a:gd name="connsiteX16-205" fmla="*/ 903121 w 1003482"/>
              <a:gd name="connsiteY16-206" fmla="*/ 144966 h 748715"/>
              <a:gd name="connsiteX17-207" fmla="*/ 992331 w 1003482"/>
              <a:gd name="connsiteY17-208" fmla="*/ 55757 h 748715"/>
              <a:gd name="connsiteX18-209" fmla="*/ 992331 w 1003482"/>
              <a:gd name="connsiteY18-210" fmla="*/ 55757 h 748715"/>
              <a:gd name="connsiteX19-211" fmla="*/ 869667 w 1003482"/>
              <a:gd name="connsiteY19-212" fmla="*/ 78059 h 748715"/>
              <a:gd name="connsiteX20-213" fmla="*/ 769306 w 1003482"/>
              <a:gd name="connsiteY20-214" fmla="*/ 78059 h 748715"/>
              <a:gd name="connsiteX21-215" fmla="*/ 769306 w 1003482"/>
              <a:gd name="connsiteY21-216" fmla="*/ 0 h 748715"/>
              <a:gd name="connsiteX22-217" fmla="*/ 646643 w 1003482"/>
              <a:gd name="connsiteY22-218" fmla="*/ 44605 h 748715"/>
              <a:gd name="connsiteX23-219" fmla="*/ 512828 w 1003482"/>
              <a:gd name="connsiteY23-220" fmla="*/ 78059 h 748715"/>
              <a:gd name="connsiteX24-221" fmla="*/ 412467 w 1003482"/>
              <a:gd name="connsiteY24-222" fmla="*/ 22303 h 748715"/>
              <a:gd name="connsiteX25-223" fmla="*/ 323257 w 1003482"/>
              <a:gd name="connsiteY25-224" fmla="*/ 89210 h 748715"/>
              <a:gd name="connsiteX26-225" fmla="*/ 245199 w 1003482"/>
              <a:gd name="connsiteY26-226" fmla="*/ 167269 h 748715"/>
              <a:gd name="connsiteX27-227" fmla="*/ 200594 w 1003482"/>
              <a:gd name="connsiteY27-228" fmla="*/ 289932 h 748715"/>
              <a:gd name="connsiteX28-229" fmla="*/ 89082 w 1003482"/>
              <a:gd name="connsiteY28-230" fmla="*/ 234176 h 748715"/>
              <a:gd name="connsiteX0-231" fmla="*/ 89082 w 1003482"/>
              <a:gd name="connsiteY0-232" fmla="*/ 234176 h 749741"/>
              <a:gd name="connsiteX1-233" fmla="*/ 144838 w 1003482"/>
              <a:gd name="connsiteY1-234" fmla="*/ 323386 h 749741"/>
              <a:gd name="connsiteX2-235" fmla="*/ 122536 w 1003482"/>
              <a:gd name="connsiteY2-236" fmla="*/ 468352 h 749741"/>
              <a:gd name="connsiteX3-237" fmla="*/ 122664 w 1003482"/>
              <a:gd name="connsiteY3-238" fmla="*/ 474231 h 749741"/>
              <a:gd name="connsiteX4-239" fmla="*/ 104418 w 1003482"/>
              <a:gd name="connsiteY4-240" fmla="*/ 657091 h 749741"/>
              <a:gd name="connsiteX5-241" fmla="*/ 267501 w 1003482"/>
              <a:gd name="connsiteY5-242" fmla="*/ 735150 h 749741"/>
              <a:gd name="connsiteX6-243" fmla="*/ 401316 w 1003482"/>
              <a:gd name="connsiteY6-244" fmla="*/ 535259 h 749741"/>
              <a:gd name="connsiteX7-245" fmla="*/ 356711 w 1003482"/>
              <a:gd name="connsiteY7-246" fmla="*/ 446049 h 749741"/>
              <a:gd name="connsiteX8-247" fmla="*/ 468223 w 1003482"/>
              <a:gd name="connsiteY8-248" fmla="*/ 401444 h 749741"/>
              <a:gd name="connsiteX9-249" fmla="*/ 546282 w 1003482"/>
              <a:gd name="connsiteY9-250" fmla="*/ 401444 h 749741"/>
              <a:gd name="connsiteX10-251" fmla="*/ 624340 w 1003482"/>
              <a:gd name="connsiteY10-252" fmla="*/ 401444 h 749741"/>
              <a:gd name="connsiteX11-253" fmla="*/ 702399 w 1003482"/>
              <a:gd name="connsiteY11-254" fmla="*/ 412596 h 749741"/>
              <a:gd name="connsiteX12-255" fmla="*/ 836214 w 1003482"/>
              <a:gd name="connsiteY12-256" fmla="*/ 278781 h 749741"/>
              <a:gd name="connsiteX13-257" fmla="*/ 1003482 w 1003482"/>
              <a:gd name="connsiteY13-258" fmla="*/ 323386 h 749741"/>
              <a:gd name="connsiteX14-259" fmla="*/ 925423 w 1003482"/>
              <a:gd name="connsiteY14-260" fmla="*/ 223025 h 749741"/>
              <a:gd name="connsiteX15-261" fmla="*/ 1003482 w 1003482"/>
              <a:gd name="connsiteY15-262" fmla="*/ 211874 h 749741"/>
              <a:gd name="connsiteX16-263" fmla="*/ 903121 w 1003482"/>
              <a:gd name="connsiteY16-264" fmla="*/ 144966 h 749741"/>
              <a:gd name="connsiteX17-265" fmla="*/ 992331 w 1003482"/>
              <a:gd name="connsiteY17-266" fmla="*/ 55757 h 749741"/>
              <a:gd name="connsiteX18-267" fmla="*/ 992331 w 1003482"/>
              <a:gd name="connsiteY18-268" fmla="*/ 55757 h 749741"/>
              <a:gd name="connsiteX19-269" fmla="*/ 869667 w 1003482"/>
              <a:gd name="connsiteY19-270" fmla="*/ 78059 h 749741"/>
              <a:gd name="connsiteX20-271" fmla="*/ 769306 w 1003482"/>
              <a:gd name="connsiteY20-272" fmla="*/ 78059 h 749741"/>
              <a:gd name="connsiteX21-273" fmla="*/ 769306 w 1003482"/>
              <a:gd name="connsiteY21-274" fmla="*/ 0 h 749741"/>
              <a:gd name="connsiteX22-275" fmla="*/ 646643 w 1003482"/>
              <a:gd name="connsiteY22-276" fmla="*/ 44605 h 749741"/>
              <a:gd name="connsiteX23-277" fmla="*/ 512828 w 1003482"/>
              <a:gd name="connsiteY23-278" fmla="*/ 78059 h 749741"/>
              <a:gd name="connsiteX24-279" fmla="*/ 412467 w 1003482"/>
              <a:gd name="connsiteY24-280" fmla="*/ 22303 h 749741"/>
              <a:gd name="connsiteX25-281" fmla="*/ 323257 w 1003482"/>
              <a:gd name="connsiteY25-282" fmla="*/ 89210 h 749741"/>
              <a:gd name="connsiteX26-283" fmla="*/ 245199 w 1003482"/>
              <a:gd name="connsiteY26-284" fmla="*/ 167269 h 749741"/>
              <a:gd name="connsiteX27-285" fmla="*/ 200594 w 1003482"/>
              <a:gd name="connsiteY27-286" fmla="*/ 289932 h 749741"/>
              <a:gd name="connsiteX28-287" fmla="*/ 89082 w 1003482"/>
              <a:gd name="connsiteY28-288" fmla="*/ 234176 h 749741"/>
              <a:gd name="connsiteX0-289" fmla="*/ 31357 w 945757"/>
              <a:gd name="connsiteY0-290" fmla="*/ 234176 h 749741"/>
              <a:gd name="connsiteX1-291" fmla="*/ 87113 w 945757"/>
              <a:gd name="connsiteY1-292" fmla="*/ 323386 h 749741"/>
              <a:gd name="connsiteX2-293" fmla="*/ 64811 w 945757"/>
              <a:gd name="connsiteY2-294" fmla="*/ 468352 h 749741"/>
              <a:gd name="connsiteX3-295" fmla="*/ 64939 w 945757"/>
              <a:gd name="connsiteY3-296" fmla="*/ 474231 h 749741"/>
              <a:gd name="connsiteX4-297" fmla="*/ 3041 w 945757"/>
              <a:gd name="connsiteY4-298" fmla="*/ 544068 h 749741"/>
              <a:gd name="connsiteX5-299" fmla="*/ 46693 w 945757"/>
              <a:gd name="connsiteY5-300" fmla="*/ 657091 h 749741"/>
              <a:gd name="connsiteX6-301" fmla="*/ 209776 w 945757"/>
              <a:gd name="connsiteY6-302" fmla="*/ 735150 h 749741"/>
              <a:gd name="connsiteX7-303" fmla="*/ 343591 w 945757"/>
              <a:gd name="connsiteY7-304" fmla="*/ 535259 h 749741"/>
              <a:gd name="connsiteX8-305" fmla="*/ 298986 w 945757"/>
              <a:gd name="connsiteY8-306" fmla="*/ 446049 h 749741"/>
              <a:gd name="connsiteX9-307" fmla="*/ 410498 w 945757"/>
              <a:gd name="connsiteY9-308" fmla="*/ 401444 h 749741"/>
              <a:gd name="connsiteX10-309" fmla="*/ 488557 w 945757"/>
              <a:gd name="connsiteY10-310" fmla="*/ 401444 h 749741"/>
              <a:gd name="connsiteX11-311" fmla="*/ 566615 w 945757"/>
              <a:gd name="connsiteY11-312" fmla="*/ 401444 h 749741"/>
              <a:gd name="connsiteX12-313" fmla="*/ 644674 w 945757"/>
              <a:gd name="connsiteY12-314" fmla="*/ 412596 h 749741"/>
              <a:gd name="connsiteX13-315" fmla="*/ 778489 w 945757"/>
              <a:gd name="connsiteY13-316" fmla="*/ 278781 h 749741"/>
              <a:gd name="connsiteX14-317" fmla="*/ 945757 w 945757"/>
              <a:gd name="connsiteY14-318" fmla="*/ 323386 h 749741"/>
              <a:gd name="connsiteX15-319" fmla="*/ 867698 w 945757"/>
              <a:gd name="connsiteY15-320" fmla="*/ 223025 h 749741"/>
              <a:gd name="connsiteX16-321" fmla="*/ 945757 w 945757"/>
              <a:gd name="connsiteY16-322" fmla="*/ 211874 h 749741"/>
              <a:gd name="connsiteX17-323" fmla="*/ 845396 w 945757"/>
              <a:gd name="connsiteY17-324" fmla="*/ 144966 h 749741"/>
              <a:gd name="connsiteX18-325" fmla="*/ 934606 w 945757"/>
              <a:gd name="connsiteY18-326" fmla="*/ 55757 h 749741"/>
              <a:gd name="connsiteX19-327" fmla="*/ 934606 w 945757"/>
              <a:gd name="connsiteY19-328" fmla="*/ 55757 h 749741"/>
              <a:gd name="connsiteX20-329" fmla="*/ 811942 w 945757"/>
              <a:gd name="connsiteY20-330" fmla="*/ 78059 h 749741"/>
              <a:gd name="connsiteX21-331" fmla="*/ 711581 w 945757"/>
              <a:gd name="connsiteY21-332" fmla="*/ 78059 h 749741"/>
              <a:gd name="connsiteX22-333" fmla="*/ 711581 w 945757"/>
              <a:gd name="connsiteY22-334" fmla="*/ 0 h 749741"/>
              <a:gd name="connsiteX23-335" fmla="*/ 588918 w 945757"/>
              <a:gd name="connsiteY23-336" fmla="*/ 44605 h 749741"/>
              <a:gd name="connsiteX24-337" fmla="*/ 455103 w 945757"/>
              <a:gd name="connsiteY24-338" fmla="*/ 78059 h 749741"/>
              <a:gd name="connsiteX25-339" fmla="*/ 354742 w 945757"/>
              <a:gd name="connsiteY25-340" fmla="*/ 22303 h 749741"/>
              <a:gd name="connsiteX26-341" fmla="*/ 265532 w 945757"/>
              <a:gd name="connsiteY26-342" fmla="*/ 89210 h 749741"/>
              <a:gd name="connsiteX27-343" fmla="*/ 187474 w 945757"/>
              <a:gd name="connsiteY27-344" fmla="*/ 167269 h 749741"/>
              <a:gd name="connsiteX28-345" fmla="*/ 142869 w 945757"/>
              <a:gd name="connsiteY28-346" fmla="*/ 289932 h 749741"/>
              <a:gd name="connsiteX29" fmla="*/ 31357 w 945757"/>
              <a:gd name="connsiteY29" fmla="*/ 234176 h 749741"/>
              <a:gd name="connsiteX0-347" fmla="*/ 135827 w 1050227"/>
              <a:gd name="connsiteY0-348" fmla="*/ 234176 h 749741"/>
              <a:gd name="connsiteX1-349" fmla="*/ 191583 w 1050227"/>
              <a:gd name="connsiteY1-350" fmla="*/ 323386 h 749741"/>
              <a:gd name="connsiteX2-351" fmla="*/ 169281 w 1050227"/>
              <a:gd name="connsiteY2-352" fmla="*/ 468352 h 749741"/>
              <a:gd name="connsiteX3-353" fmla="*/ 169409 w 1050227"/>
              <a:gd name="connsiteY3-354" fmla="*/ 474231 h 749741"/>
              <a:gd name="connsiteX4-355" fmla="*/ 107511 w 1050227"/>
              <a:gd name="connsiteY4-356" fmla="*/ 544068 h 749741"/>
              <a:gd name="connsiteX5-357" fmla="*/ 151163 w 1050227"/>
              <a:gd name="connsiteY5-358" fmla="*/ 657091 h 749741"/>
              <a:gd name="connsiteX6-359" fmla="*/ 314246 w 1050227"/>
              <a:gd name="connsiteY6-360" fmla="*/ 735150 h 749741"/>
              <a:gd name="connsiteX7-361" fmla="*/ 448061 w 1050227"/>
              <a:gd name="connsiteY7-362" fmla="*/ 535259 h 749741"/>
              <a:gd name="connsiteX8-363" fmla="*/ 403456 w 1050227"/>
              <a:gd name="connsiteY8-364" fmla="*/ 446049 h 749741"/>
              <a:gd name="connsiteX9-365" fmla="*/ 514968 w 1050227"/>
              <a:gd name="connsiteY9-366" fmla="*/ 401444 h 749741"/>
              <a:gd name="connsiteX10-367" fmla="*/ 593027 w 1050227"/>
              <a:gd name="connsiteY10-368" fmla="*/ 401444 h 749741"/>
              <a:gd name="connsiteX11-369" fmla="*/ 671085 w 1050227"/>
              <a:gd name="connsiteY11-370" fmla="*/ 401444 h 749741"/>
              <a:gd name="connsiteX12-371" fmla="*/ 749144 w 1050227"/>
              <a:gd name="connsiteY12-372" fmla="*/ 412596 h 749741"/>
              <a:gd name="connsiteX13-373" fmla="*/ 882959 w 1050227"/>
              <a:gd name="connsiteY13-374" fmla="*/ 278781 h 749741"/>
              <a:gd name="connsiteX14-375" fmla="*/ 1050227 w 1050227"/>
              <a:gd name="connsiteY14-376" fmla="*/ 323386 h 749741"/>
              <a:gd name="connsiteX15-377" fmla="*/ 972168 w 1050227"/>
              <a:gd name="connsiteY15-378" fmla="*/ 223025 h 749741"/>
              <a:gd name="connsiteX16-379" fmla="*/ 1050227 w 1050227"/>
              <a:gd name="connsiteY16-380" fmla="*/ 211874 h 749741"/>
              <a:gd name="connsiteX17-381" fmla="*/ 949866 w 1050227"/>
              <a:gd name="connsiteY17-382" fmla="*/ 144966 h 749741"/>
              <a:gd name="connsiteX18-383" fmla="*/ 1039076 w 1050227"/>
              <a:gd name="connsiteY18-384" fmla="*/ 55757 h 749741"/>
              <a:gd name="connsiteX19-385" fmla="*/ 1039076 w 1050227"/>
              <a:gd name="connsiteY19-386" fmla="*/ 55757 h 749741"/>
              <a:gd name="connsiteX20-387" fmla="*/ 916412 w 1050227"/>
              <a:gd name="connsiteY20-388" fmla="*/ 78059 h 749741"/>
              <a:gd name="connsiteX21-389" fmla="*/ 816051 w 1050227"/>
              <a:gd name="connsiteY21-390" fmla="*/ 78059 h 749741"/>
              <a:gd name="connsiteX22-391" fmla="*/ 816051 w 1050227"/>
              <a:gd name="connsiteY22-392" fmla="*/ 0 h 749741"/>
              <a:gd name="connsiteX23-393" fmla="*/ 693388 w 1050227"/>
              <a:gd name="connsiteY23-394" fmla="*/ 44605 h 749741"/>
              <a:gd name="connsiteX24-395" fmla="*/ 559573 w 1050227"/>
              <a:gd name="connsiteY24-396" fmla="*/ 78059 h 749741"/>
              <a:gd name="connsiteX25-397" fmla="*/ 459212 w 1050227"/>
              <a:gd name="connsiteY25-398" fmla="*/ 22303 h 749741"/>
              <a:gd name="connsiteX26-399" fmla="*/ 370002 w 1050227"/>
              <a:gd name="connsiteY26-400" fmla="*/ 89210 h 749741"/>
              <a:gd name="connsiteX27-401" fmla="*/ 291944 w 1050227"/>
              <a:gd name="connsiteY27-402" fmla="*/ 167269 h 749741"/>
              <a:gd name="connsiteX28-403" fmla="*/ 247339 w 1050227"/>
              <a:gd name="connsiteY28-404" fmla="*/ 289932 h 749741"/>
              <a:gd name="connsiteX29-405" fmla="*/ 135827 w 1050227"/>
              <a:gd name="connsiteY29-406" fmla="*/ 234176 h 749741"/>
              <a:gd name="connsiteX0-407" fmla="*/ 278301 w 1192701"/>
              <a:gd name="connsiteY0-408" fmla="*/ 234176 h 749741"/>
              <a:gd name="connsiteX1-409" fmla="*/ 334057 w 1192701"/>
              <a:gd name="connsiteY1-410" fmla="*/ 323386 h 749741"/>
              <a:gd name="connsiteX2-411" fmla="*/ 311755 w 1192701"/>
              <a:gd name="connsiteY2-412" fmla="*/ 468352 h 749741"/>
              <a:gd name="connsiteX3-413" fmla="*/ 311883 w 1192701"/>
              <a:gd name="connsiteY3-414" fmla="*/ 474231 h 749741"/>
              <a:gd name="connsiteX4-415" fmla="*/ 249985 w 1192701"/>
              <a:gd name="connsiteY4-416" fmla="*/ 544068 h 749741"/>
              <a:gd name="connsiteX5-417" fmla="*/ 293637 w 1192701"/>
              <a:gd name="connsiteY5-418" fmla="*/ 657091 h 749741"/>
              <a:gd name="connsiteX6-419" fmla="*/ 456720 w 1192701"/>
              <a:gd name="connsiteY6-420" fmla="*/ 735150 h 749741"/>
              <a:gd name="connsiteX7-421" fmla="*/ 590535 w 1192701"/>
              <a:gd name="connsiteY7-422" fmla="*/ 535259 h 749741"/>
              <a:gd name="connsiteX8-423" fmla="*/ 545930 w 1192701"/>
              <a:gd name="connsiteY8-424" fmla="*/ 446049 h 749741"/>
              <a:gd name="connsiteX9-425" fmla="*/ 657442 w 1192701"/>
              <a:gd name="connsiteY9-426" fmla="*/ 401444 h 749741"/>
              <a:gd name="connsiteX10-427" fmla="*/ 735501 w 1192701"/>
              <a:gd name="connsiteY10-428" fmla="*/ 401444 h 749741"/>
              <a:gd name="connsiteX11-429" fmla="*/ 813559 w 1192701"/>
              <a:gd name="connsiteY11-430" fmla="*/ 401444 h 749741"/>
              <a:gd name="connsiteX12-431" fmla="*/ 891618 w 1192701"/>
              <a:gd name="connsiteY12-432" fmla="*/ 412596 h 749741"/>
              <a:gd name="connsiteX13-433" fmla="*/ 1025433 w 1192701"/>
              <a:gd name="connsiteY13-434" fmla="*/ 278781 h 749741"/>
              <a:gd name="connsiteX14-435" fmla="*/ 1192701 w 1192701"/>
              <a:gd name="connsiteY14-436" fmla="*/ 323386 h 749741"/>
              <a:gd name="connsiteX15-437" fmla="*/ 1114642 w 1192701"/>
              <a:gd name="connsiteY15-438" fmla="*/ 223025 h 749741"/>
              <a:gd name="connsiteX16-439" fmla="*/ 1192701 w 1192701"/>
              <a:gd name="connsiteY16-440" fmla="*/ 211874 h 749741"/>
              <a:gd name="connsiteX17-441" fmla="*/ 1092340 w 1192701"/>
              <a:gd name="connsiteY17-442" fmla="*/ 144966 h 749741"/>
              <a:gd name="connsiteX18-443" fmla="*/ 1181550 w 1192701"/>
              <a:gd name="connsiteY18-444" fmla="*/ 55757 h 749741"/>
              <a:gd name="connsiteX19-445" fmla="*/ 1181550 w 1192701"/>
              <a:gd name="connsiteY19-446" fmla="*/ 55757 h 749741"/>
              <a:gd name="connsiteX20-447" fmla="*/ 1058886 w 1192701"/>
              <a:gd name="connsiteY20-448" fmla="*/ 78059 h 749741"/>
              <a:gd name="connsiteX21-449" fmla="*/ 958525 w 1192701"/>
              <a:gd name="connsiteY21-450" fmla="*/ 78059 h 749741"/>
              <a:gd name="connsiteX22-451" fmla="*/ 958525 w 1192701"/>
              <a:gd name="connsiteY22-452" fmla="*/ 0 h 749741"/>
              <a:gd name="connsiteX23-453" fmla="*/ 835862 w 1192701"/>
              <a:gd name="connsiteY23-454" fmla="*/ 44605 h 749741"/>
              <a:gd name="connsiteX24-455" fmla="*/ 702047 w 1192701"/>
              <a:gd name="connsiteY24-456" fmla="*/ 78059 h 749741"/>
              <a:gd name="connsiteX25-457" fmla="*/ 601686 w 1192701"/>
              <a:gd name="connsiteY25-458" fmla="*/ 22303 h 749741"/>
              <a:gd name="connsiteX26-459" fmla="*/ 512476 w 1192701"/>
              <a:gd name="connsiteY26-460" fmla="*/ 89210 h 749741"/>
              <a:gd name="connsiteX27-461" fmla="*/ 434418 w 1192701"/>
              <a:gd name="connsiteY27-462" fmla="*/ 167269 h 749741"/>
              <a:gd name="connsiteX28-463" fmla="*/ 389813 w 1192701"/>
              <a:gd name="connsiteY28-464" fmla="*/ 289932 h 749741"/>
              <a:gd name="connsiteX29-465" fmla="*/ 278301 w 1192701"/>
              <a:gd name="connsiteY29-466" fmla="*/ 234176 h 749741"/>
              <a:gd name="connsiteX0-467" fmla="*/ 278300 w 1192700"/>
              <a:gd name="connsiteY0-468" fmla="*/ 234176 h 749741"/>
              <a:gd name="connsiteX1-469" fmla="*/ 334056 w 1192700"/>
              <a:gd name="connsiteY1-470" fmla="*/ 323386 h 749741"/>
              <a:gd name="connsiteX2-471" fmla="*/ 311754 w 1192700"/>
              <a:gd name="connsiteY2-472" fmla="*/ 468352 h 749741"/>
              <a:gd name="connsiteX3-473" fmla="*/ 311882 w 1192700"/>
              <a:gd name="connsiteY3-474" fmla="*/ 474231 h 749741"/>
              <a:gd name="connsiteX4-475" fmla="*/ 249985 w 1192700"/>
              <a:gd name="connsiteY4-476" fmla="*/ 544068 h 749741"/>
              <a:gd name="connsiteX5-477" fmla="*/ 293636 w 1192700"/>
              <a:gd name="connsiteY5-478" fmla="*/ 657091 h 749741"/>
              <a:gd name="connsiteX6-479" fmla="*/ 456719 w 1192700"/>
              <a:gd name="connsiteY6-480" fmla="*/ 735150 h 749741"/>
              <a:gd name="connsiteX7-481" fmla="*/ 590534 w 1192700"/>
              <a:gd name="connsiteY7-482" fmla="*/ 535259 h 749741"/>
              <a:gd name="connsiteX8-483" fmla="*/ 545929 w 1192700"/>
              <a:gd name="connsiteY8-484" fmla="*/ 446049 h 749741"/>
              <a:gd name="connsiteX9-485" fmla="*/ 657441 w 1192700"/>
              <a:gd name="connsiteY9-486" fmla="*/ 401444 h 749741"/>
              <a:gd name="connsiteX10-487" fmla="*/ 735500 w 1192700"/>
              <a:gd name="connsiteY10-488" fmla="*/ 401444 h 749741"/>
              <a:gd name="connsiteX11-489" fmla="*/ 813558 w 1192700"/>
              <a:gd name="connsiteY11-490" fmla="*/ 401444 h 749741"/>
              <a:gd name="connsiteX12-491" fmla="*/ 891617 w 1192700"/>
              <a:gd name="connsiteY12-492" fmla="*/ 412596 h 749741"/>
              <a:gd name="connsiteX13-493" fmla="*/ 1025432 w 1192700"/>
              <a:gd name="connsiteY13-494" fmla="*/ 278781 h 749741"/>
              <a:gd name="connsiteX14-495" fmla="*/ 1192700 w 1192700"/>
              <a:gd name="connsiteY14-496" fmla="*/ 323386 h 749741"/>
              <a:gd name="connsiteX15-497" fmla="*/ 1114641 w 1192700"/>
              <a:gd name="connsiteY15-498" fmla="*/ 223025 h 749741"/>
              <a:gd name="connsiteX16-499" fmla="*/ 1192700 w 1192700"/>
              <a:gd name="connsiteY16-500" fmla="*/ 211874 h 749741"/>
              <a:gd name="connsiteX17-501" fmla="*/ 1092339 w 1192700"/>
              <a:gd name="connsiteY17-502" fmla="*/ 144966 h 749741"/>
              <a:gd name="connsiteX18-503" fmla="*/ 1181549 w 1192700"/>
              <a:gd name="connsiteY18-504" fmla="*/ 55757 h 749741"/>
              <a:gd name="connsiteX19-505" fmla="*/ 1181549 w 1192700"/>
              <a:gd name="connsiteY19-506" fmla="*/ 55757 h 749741"/>
              <a:gd name="connsiteX20-507" fmla="*/ 1058885 w 1192700"/>
              <a:gd name="connsiteY20-508" fmla="*/ 78059 h 749741"/>
              <a:gd name="connsiteX21-509" fmla="*/ 958524 w 1192700"/>
              <a:gd name="connsiteY21-510" fmla="*/ 78059 h 749741"/>
              <a:gd name="connsiteX22-511" fmla="*/ 958524 w 1192700"/>
              <a:gd name="connsiteY22-512" fmla="*/ 0 h 749741"/>
              <a:gd name="connsiteX23-513" fmla="*/ 835861 w 1192700"/>
              <a:gd name="connsiteY23-514" fmla="*/ 44605 h 749741"/>
              <a:gd name="connsiteX24-515" fmla="*/ 702046 w 1192700"/>
              <a:gd name="connsiteY24-516" fmla="*/ 78059 h 749741"/>
              <a:gd name="connsiteX25-517" fmla="*/ 601685 w 1192700"/>
              <a:gd name="connsiteY25-518" fmla="*/ 22303 h 749741"/>
              <a:gd name="connsiteX26-519" fmla="*/ 512475 w 1192700"/>
              <a:gd name="connsiteY26-520" fmla="*/ 89210 h 749741"/>
              <a:gd name="connsiteX27-521" fmla="*/ 434417 w 1192700"/>
              <a:gd name="connsiteY27-522" fmla="*/ 167269 h 749741"/>
              <a:gd name="connsiteX28-523" fmla="*/ 389812 w 1192700"/>
              <a:gd name="connsiteY28-524" fmla="*/ 289932 h 749741"/>
              <a:gd name="connsiteX29-525" fmla="*/ 278300 w 1192700"/>
              <a:gd name="connsiteY29-526" fmla="*/ 234176 h 749741"/>
              <a:gd name="connsiteX0-527" fmla="*/ 278300 w 1192700"/>
              <a:gd name="connsiteY0-528" fmla="*/ 234176 h 749741"/>
              <a:gd name="connsiteX1-529" fmla="*/ 334056 w 1192700"/>
              <a:gd name="connsiteY1-530" fmla="*/ 323386 h 749741"/>
              <a:gd name="connsiteX2-531" fmla="*/ 311754 w 1192700"/>
              <a:gd name="connsiteY2-532" fmla="*/ 468352 h 749741"/>
              <a:gd name="connsiteX3-533" fmla="*/ 311882 w 1192700"/>
              <a:gd name="connsiteY3-534" fmla="*/ 474231 h 749741"/>
              <a:gd name="connsiteX4-535" fmla="*/ 249985 w 1192700"/>
              <a:gd name="connsiteY4-536" fmla="*/ 544068 h 749741"/>
              <a:gd name="connsiteX5-537" fmla="*/ 293636 w 1192700"/>
              <a:gd name="connsiteY5-538" fmla="*/ 657091 h 749741"/>
              <a:gd name="connsiteX6-539" fmla="*/ 456719 w 1192700"/>
              <a:gd name="connsiteY6-540" fmla="*/ 735150 h 749741"/>
              <a:gd name="connsiteX7-541" fmla="*/ 590534 w 1192700"/>
              <a:gd name="connsiteY7-542" fmla="*/ 535259 h 749741"/>
              <a:gd name="connsiteX8-543" fmla="*/ 545929 w 1192700"/>
              <a:gd name="connsiteY8-544" fmla="*/ 446049 h 749741"/>
              <a:gd name="connsiteX9-545" fmla="*/ 753848 w 1192700"/>
              <a:gd name="connsiteY9-546" fmla="*/ 549504 h 749741"/>
              <a:gd name="connsiteX10-547" fmla="*/ 657441 w 1192700"/>
              <a:gd name="connsiteY10-548" fmla="*/ 401444 h 749741"/>
              <a:gd name="connsiteX11-549" fmla="*/ 735500 w 1192700"/>
              <a:gd name="connsiteY11-550" fmla="*/ 401444 h 749741"/>
              <a:gd name="connsiteX12-551" fmla="*/ 813558 w 1192700"/>
              <a:gd name="connsiteY12-552" fmla="*/ 401444 h 749741"/>
              <a:gd name="connsiteX13-553" fmla="*/ 891617 w 1192700"/>
              <a:gd name="connsiteY13-554" fmla="*/ 412596 h 749741"/>
              <a:gd name="connsiteX14-555" fmla="*/ 1025432 w 1192700"/>
              <a:gd name="connsiteY14-556" fmla="*/ 278781 h 749741"/>
              <a:gd name="connsiteX15-557" fmla="*/ 1192700 w 1192700"/>
              <a:gd name="connsiteY15-558" fmla="*/ 323386 h 749741"/>
              <a:gd name="connsiteX16-559" fmla="*/ 1114641 w 1192700"/>
              <a:gd name="connsiteY16-560" fmla="*/ 223025 h 749741"/>
              <a:gd name="connsiteX17-561" fmla="*/ 1192700 w 1192700"/>
              <a:gd name="connsiteY17-562" fmla="*/ 211874 h 749741"/>
              <a:gd name="connsiteX18-563" fmla="*/ 1092339 w 1192700"/>
              <a:gd name="connsiteY18-564" fmla="*/ 144966 h 749741"/>
              <a:gd name="connsiteX19-565" fmla="*/ 1181549 w 1192700"/>
              <a:gd name="connsiteY19-566" fmla="*/ 55757 h 749741"/>
              <a:gd name="connsiteX20-567" fmla="*/ 1181549 w 1192700"/>
              <a:gd name="connsiteY20-568" fmla="*/ 55757 h 749741"/>
              <a:gd name="connsiteX21-569" fmla="*/ 1058885 w 1192700"/>
              <a:gd name="connsiteY21-570" fmla="*/ 78059 h 749741"/>
              <a:gd name="connsiteX22-571" fmla="*/ 958524 w 1192700"/>
              <a:gd name="connsiteY22-572" fmla="*/ 78059 h 749741"/>
              <a:gd name="connsiteX23-573" fmla="*/ 958524 w 1192700"/>
              <a:gd name="connsiteY23-574" fmla="*/ 0 h 749741"/>
              <a:gd name="connsiteX24-575" fmla="*/ 835861 w 1192700"/>
              <a:gd name="connsiteY24-576" fmla="*/ 44605 h 749741"/>
              <a:gd name="connsiteX25-577" fmla="*/ 702046 w 1192700"/>
              <a:gd name="connsiteY25-578" fmla="*/ 78059 h 749741"/>
              <a:gd name="connsiteX26-579" fmla="*/ 601685 w 1192700"/>
              <a:gd name="connsiteY26-580" fmla="*/ 22303 h 749741"/>
              <a:gd name="connsiteX27-581" fmla="*/ 512475 w 1192700"/>
              <a:gd name="connsiteY27-582" fmla="*/ 89210 h 749741"/>
              <a:gd name="connsiteX28-583" fmla="*/ 434417 w 1192700"/>
              <a:gd name="connsiteY28-584" fmla="*/ 167269 h 749741"/>
              <a:gd name="connsiteX29-585" fmla="*/ 389812 w 1192700"/>
              <a:gd name="connsiteY29-586" fmla="*/ 289932 h 749741"/>
              <a:gd name="connsiteX30" fmla="*/ 278300 w 1192700"/>
              <a:gd name="connsiteY30" fmla="*/ 234176 h 749741"/>
              <a:gd name="connsiteX0-587" fmla="*/ 278300 w 1192700"/>
              <a:gd name="connsiteY0-588" fmla="*/ 234176 h 749741"/>
              <a:gd name="connsiteX1-589" fmla="*/ 334056 w 1192700"/>
              <a:gd name="connsiteY1-590" fmla="*/ 323386 h 749741"/>
              <a:gd name="connsiteX2-591" fmla="*/ 311754 w 1192700"/>
              <a:gd name="connsiteY2-592" fmla="*/ 468352 h 749741"/>
              <a:gd name="connsiteX3-593" fmla="*/ 311882 w 1192700"/>
              <a:gd name="connsiteY3-594" fmla="*/ 474231 h 749741"/>
              <a:gd name="connsiteX4-595" fmla="*/ 249985 w 1192700"/>
              <a:gd name="connsiteY4-596" fmla="*/ 544068 h 749741"/>
              <a:gd name="connsiteX5-597" fmla="*/ 293636 w 1192700"/>
              <a:gd name="connsiteY5-598" fmla="*/ 657091 h 749741"/>
              <a:gd name="connsiteX6-599" fmla="*/ 456719 w 1192700"/>
              <a:gd name="connsiteY6-600" fmla="*/ 735150 h 749741"/>
              <a:gd name="connsiteX7-601" fmla="*/ 590534 w 1192700"/>
              <a:gd name="connsiteY7-602" fmla="*/ 535259 h 749741"/>
              <a:gd name="connsiteX8-603" fmla="*/ 675500 w 1192700"/>
              <a:gd name="connsiteY8-604" fmla="*/ 567880 h 749741"/>
              <a:gd name="connsiteX9-605" fmla="*/ 753848 w 1192700"/>
              <a:gd name="connsiteY9-606" fmla="*/ 549504 h 749741"/>
              <a:gd name="connsiteX10-607" fmla="*/ 657441 w 1192700"/>
              <a:gd name="connsiteY10-608" fmla="*/ 401444 h 749741"/>
              <a:gd name="connsiteX11-609" fmla="*/ 735500 w 1192700"/>
              <a:gd name="connsiteY11-610" fmla="*/ 401444 h 749741"/>
              <a:gd name="connsiteX12-611" fmla="*/ 813558 w 1192700"/>
              <a:gd name="connsiteY12-612" fmla="*/ 401444 h 749741"/>
              <a:gd name="connsiteX13-613" fmla="*/ 891617 w 1192700"/>
              <a:gd name="connsiteY13-614" fmla="*/ 412596 h 749741"/>
              <a:gd name="connsiteX14-615" fmla="*/ 1025432 w 1192700"/>
              <a:gd name="connsiteY14-616" fmla="*/ 278781 h 749741"/>
              <a:gd name="connsiteX15-617" fmla="*/ 1192700 w 1192700"/>
              <a:gd name="connsiteY15-618" fmla="*/ 323386 h 749741"/>
              <a:gd name="connsiteX16-619" fmla="*/ 1114641 w 1192700"/>
              <a:gd name="connsiteY16-620" fmla="*/ 223025 h 749741"/>
              <a:gd name="connsiteX17-621" fmla="*/ 1192700 w 1192700"/>
              <a:gd name="connsiteY17-622" fmla="*/ 211874 h 749741"/>
              <a:gd name="connsiteX18-623" fmla="*/ 1092339 w 1192700"/>
              <a:gd name="connsiteY18-624" fmla="*/ 144966 h 749741"/>
              <a:gd name="connsiteX19-625" fmla="*/ 1181549 w 1192700"/>
              <a:gd name="connsiteY19-626" fmla="*/ 55757 h 749741"/>
              <a:gd name="connsiteX20-627" fmla="*/ 1181549 w 1192700"/>
              <a:gd name="connsiteY20-628" fmla="*/ 55757 h 749741"/>
              <a:gd name="connsiteX21-629" fmla="*/ 1058885 w 1192700"/>
              <a:gd name="connsiteY21-630" fmla="*/ 78059 h 749741"/>
              <a:gd name="connsiteX22-631" fmla="*/ 958524 w 1192700"/>
              <a:gd name="connsiteY22-632" fmla="*/ 78059 h 749741"/>
              <a:gd name="connsiteX23-633" fmla="*/ 958524 w 1192700"/>
              <a:gd name="connsiteY23-634" fmla="*/ 0 h 749741"/>
              <a:gd name="connsiteX24-635" fmla="*/ 835861 w 1192700"/>
              <a:gd name="connsiteY24-636" fmla="*/ 44605 h 749741"/>
              <a:gd name="connsiteX25-637" fmla="*/ 702046 w 1192700"/>
              <a:gd name="connsiteY25-638" fmla="*/ 78059 h 749741"/>
              <a:gd name="connsiteX26-639" fmla="*/ 601685 w 1192700"/>
              <a:gd name="connsiteY26-640" fmla="*/ 22303 h 749741"/>
              <a:gd name="connsiteX27-641" fmla="*/ 512475 w 1192700"/>
              <a:gd name="connsiteY27-642" fmla="*/ 89210 h 749741"/>
              <a:gd name="connsiteX28-643" fmla="*/ 434417 w 1192700"/>
              <a:gd name="connsiteY28-644" fmla="*/ 167269 h 749741"/>
              <a:gd name="connsiteX29-645" fmla="*/ 389812 w 1192700"/>
              <a:gd name="connsiteY29-646" fmla="*/ 289932 h 749741"/>
              <a:gd name="connsiteX30-647" fmla="*/ 278300 w 1192700"/>
              <a:gd name="connsiteY30-648" fmla="*/ 234176 h 749741"/>
              <a:gd name="connsiteX0-649" fmla="*/ 278300 w 1192700"/>
              <a:gd name="connsiteY0-650" fmla="*/ 234176 h 764110"/>
              <a:gd name="connsiteX1-651" fmla="*/ 334056 w 1192700"/>
              <a:gd name="connsiteY1-652" fmla="*/ 323386 h 764110"/>
              <a:gd name="connsiteX2-653" fmla="*/ 311754 w 1192700"/>
              <a:gd name="connsiteY2-654" fmla="*/ 468352 h 764110"/>
              <a:gd name="connsiteX3-655" fmla="*/ 311882 w 1192700"/>
              <a:gd name="connsiteY3-656" fmla="*/ 474231 h 764110"/>
              <a:gd name="connsiteX4-657" fmla="*/ 249985 w 1192700"/>
              <a:gd name="connsiteY4-658" fmla="*/ 544068 h 764110"/>
              <a:gd name="connsiteX5-659" fmla="*/ 293636 w 1192700"/>
              <a:gd name="connsiteY5-660" fmla="*/ 657091 h 764110"/>
              <a:gd name="connsiteX6-661" fmla="*/ 456719 w 1192700"/>
              <a:gd name="connsiteY6-662" fmla="*/ 735150 h 764110"/>
              <a:gd name="connsiteX7-663" fmla="*/ 590534 w 1192700"/>
              <a:gd name="connsiteY7-664" fmla="*/ 535259 h 764110"/>
              <a:gd name="connsiteX8-665" fmla="*/ 675500 w 1192700"/>
              <a:gd name="connsiteY8-666" fmla="*/ 567880 h 764110"/>
              <a:gd name="connsiteX9-667" fmla="*/ 753848 w 1192700"/>
              <a:gd name="connsiteY9-668" fmla="*/ 549504 h 764110"/>
              <a:gd name="connsiteX10-669" fmla="*/ 657441 w 1192700"/>
              <a:gd name="connsiteY10-670" fmla="*/ 401444 h 764110"/>
              <a:gd name="connsiteX11-671" fmla="*/ 923876 w 1192700"/>
              <a:gd name="connsiteY11-672" fmla="*/ 764110 h 764110"/>
              <a:gd name="connsiteX12-673" fmla="*/ 735500 w 1192700"/>
              <a:gd name="connsiteY12-674" fmla="*/ 401444 h 764110"/>
              <a:gd name="connsiteX13-675" fmla="*/ 813558 w 1192700"/>
              <a:gd name="connsiteY13-676" fmla="*/ 401444 h 764110"/>
              <a:gd name="connsiteX14-677" fmla="*/ 891617 w 1192700"/>
              <a:gd name="connsiteY14-678" fmla="*/ 412596 h 764110"/>
              <a:gd name="connsiteX15-679" fmla="*/ 1025432 w 1192700"/>
              <a:gd name="connsiteY15-680" fmla="*/ 278781 h 764110"/>
              <a:gd name="connsiteX16-681" fmla="*/ 1192700 w 1192700"/>
              <a:gd name="connsiteY16-682" fmla="*/ 323386 h 764110"/>
              <a:gd name="connsiteX17-683" fmla="*/ 1114641 w 1192700"/>
              <a:gd name="connsiteY17-684" fmla="*/ 223025 h 764110"/>
              <a:gd name="connsiteX18-685" fmla="*/ 1192700 w 1192700"/>
              <a:gd name="connsiteY18-686" fmla="*/ 211874 h 764110"/>
              <a:gd name="connsiteX19-687" fmla="*/ 1092339 w 1192700"/>
              <a:gd name="connsiteY19-688" fmla="*/ 144966 h 764110"/>
              <a:gd name="connsiteX20-689" fmla="*/ 1181549 w 1192700"/>
              <a:gd name="connsiteY20-690" fmla="*/ 55757 h 764110"/>
              <a:gd name="connsiteX21-691" fmla="*/ 1181549 w 1192700"/>
              <a:gd name="connsiteY21-692" fmla="*/ 55757 h 764110"/>
              <a:gd name="connsiteX22-693" fmla="*/ 1058885 w 1192700"/>
              <a:gd name="connsiteY22-694" fmla="*/ 78059 h 764110"/>
              <a:gd name="connsiteX23-695" fmla="*/ 958524 w 1192700"/>
              <a:gd name="connsiteY23-696" fmla="*/ 78059 h 764110"/>
              <a:gd name="connsiteX24-697" fmla="*/ 958524 w 1192700"/>
              <a:gd name="connsiteY24-698" fmla="*/ 0 h 764110"/>
              <a:gd name="connsiteX25-699" fmla="*/ 835861 w 1192700"/>
              <a:gd name="connsiteY25-700" fmla="*/ 44605 h 764110"/>
              <a:gd name="connsiteX26-701" fmla="*/ 702046 w 1192700"/>
              <a:gd name="connsiteY26-702" fmla="*/ 78059 h 764110"/>
              <a:gd name="connsiteX27-703" fmla="*/ 601685 w 1192700"/>
              <a:gd name="connsiteY27-704" fmla="*/ 22303 h 764110"/>
              <a:gd name="connsiteX28-705" fmla="*/ 512475 w 1192700"/>
              <a:gd name="connsiteY28-706" fmla="*/ 89210 h 764110"/>
              <a:gd name="connsiteX29-707" fmla="*/ 434417 w 1192700"/>
              <a:gd name="connsiteY29-708" fmla="*/ 167269 h 764110"/>
              <a:gd name="connsiteX30-709" fmla="*/ 389812 w 1192700"/>
              <a:gd name="connsiteY30-710" fmla="*/ 289932 h 764110"/>
              <a:gd name="connsiteX31" fmla="*/ 278300 w 1192700"/>
              <a:gd name="connsiteY31" fmla="*/ 234176 h 764110"/>
              <a:gd name="connsiteX0-711" fmla="*/ 278300 w 1192700"/>
              <a:gd name="connsiteY0-712" fmla="*/ 234176 h 764110"/>
              <a:gd name="connsiteX1-713" fmla="*/ 334056 w 1192700"/>
              <a:gd name="connsiteY1-714" fmla="*/ 323386 h 764110"/>
              <a:gd name="connsiteX2-715" fmla="*/ 311754 w 1192700"/>
              <a:gd name="connsiteY2-716" fmla="*/ 468352 h 764110"/>
              <a:gd name="connsiteX3-717" fmla="*/ 311882 w 1192700"/>
              <a:gd name="connsiteY3-718" fmla="*/ 474231 h 764110"/>
              <a:gd name="connsiteX4-719" fmla="*/ 249985 w 1192700"/>
              <a:gd name="connsiteY4-720" fmla="*/ 544068 h 764110"/>
              <a:gd name="connsiteX5-721" fmla="*/ 293636 w 1192700"/>
              <a:gd name="connsiteY5-722" fmla="*/ 657091 h 764110"/>
              <a:gd name="connsiteX6-723" fmla="*/ 456719 w 1192700"/>
              <a:gd name="connsiteY6-724" fmla="*/ 735150 h 764110"/>
              <a:gd name="connsiteX7-725" fmla="*/ 590534 w 1192700"/>
              <a:gd name="connsiteY7-726" fmla="*/ 535259 h 764110"/>
              <a:gd name="connsiteX8-727" fmla="*/ 675500 w 1192700"/>
              <a:gd name="connsiteY8-728" fmla="*/ 567880 h 764110"/>
              <a:gd name="connsiteX9-729" fmla="*/ 753848 w 1192700"/>
              <a:gd name="connsiteY9-730" fmla="*/ 549504 h 764110"/>
              <a:gd name="connsiteX10-731" fmla="*/ 657441 w 1192700"/>
              <a:gd name="connsiteY10-732" fmla="*/ 401444 h 764110"/>
              <a:gd name="connsiteX11-733" fmla="*/ 822322 w 1192700"/>
              <a:gd name="connsiteY11-734" fmla="*/ 544068 h 764110"/>
              <a:gd name="connsiteX12-735" fmla="*/ 923876 w 1192700"/>
              <a:gd name="connsiteY12-736" fmla="*/ 764110 h 764110"/>
              <a:gd name="connsiteX13-737" fmla="*/ 735500 w 1192700"/>
              <a:gd name="connsiteY13-738" fmla="*/ 401444 h 764110"/>
              <a:gd name="connsiteX14-739" fmla="*/ 813558 w 1192700"/>
              <a:gd name="connsiteY14-740" fmla="*/ 401444 h 764110"/>
              <a:gd name="connsiteX15-741" fmla="*/ 891617 w 1192700"/>
              <a:gd name="connsiteY15-742" fmla="*/ 412596 h 764110"/>
              <a:gd name="connsiteX16-743" fmla="*/ 1025432 w 1192700"/>
              <a:gd name="connsiteY16-744" fmla="*/ 278781 h 764110"/>
              <a:gd name="connsiteX17-745" fmla="*/ 1192700 w 1192700"/>
              <a:gd name="connsiteY17-746" fmla="*/ 323386 h 764110"/>
              <a:gd name="connsiteX18-747" fmla="*/ 1114641 w 1192700"/>
              <a:gd name="connsiteY18-748" fmla="*/ 223025 h 764110"/>
              <a:gd name="connsiteX19-749" fmla="*/ 1192700 w 1192700"/>
              <a:gd name="connsiteY19-750" fmla="*/ 211874 h 764110"/>
              <a:gd name="connsiteX20-751" fmla="*/ 1092339 w 1192700"/>
              <a:gd name="connsiteY20-752" fmla="*/ 144966 h 764110"/>
              <a:gd name="connsiteX21-753" fmla="*/ 1181549 w 1192700"/>
              <a:gd name="connsiteY21-754" fmla="*/ 55757 h 764110"/>
              <a:gd name="connsiteX22-755" fmla="*/ 1181549 w 1192700"/>
              <a:gd name="connsiteY22-756" fmla="*/ 55757 h 764110"/>
              <a:gd name="connsiteX23-757" fmla="*/ 1058885 w 1192700"/>
              <a:gd name="connsiteY23-758" fmla="*/ 78059 h 764110"/>
              <a:gd name="connsiteX24-759" fmla="*/ 958524 w 1192700"/>
              <a:gd name="connsiteY24-760" fmla="*/ 78059 h 764110"/>
              <a:gd name="connsiteX25-761" fmla="*/ 958524 w 1192700"/>
              <a:gd name="connsiteY25-762" fmla="*/ 0 h 764110"/>
              <a:gd name="connsiteX26-763" fmla="*/ 835861 w 1192700"/>
              <a:gd name="connsiteY26-764" fmla="*/ 44605 h 764110"/>
              <a:gd name="connsiteX27-765" fmla="*/ 702046 w 1192700"/>
              <a:gd name="connsiteY27-766" fmla="*/ 78059 h 764110"/>
              <a:gd name="connsiteX28-767" fmla="*/ 601685 w 1192700"/>
              <a:gd name="connsiteY28-768" fmla="*/ 22303 h 764110"/>
              <a:gd name="connsiteX29-769" fmla="*/ 512475 w 1192700"/>
              <a:gd name="connsiteY29-770" fmla="*/ 89210 h 764110"/>
              <a:gd name="connsiteX30-771" fmla="*/ 434417 w 1192700"/>
              <a:gd name="connsiteY30-772" fmla="*/ 167269 h 764110"/>
              <a:gd name="connsiteX31-773" fmla="*/ 389812 w 1192700"/>
              <a:gd name="connsiteY31-774" fmla="*/ 289932 h 764110"/>
              <a:gd name="connsiteX32" fmla="*/ 278300 w 1192700"/>
              <a:gd name="connsiteY32" fmla="*/ 234176 h 764110"/>
              <a:gd name="connsiteX0-775" fmla="*/ 278300 w 1192700"/>
              <a:gd name="connsiteY0-776" fmla="*/ 234176 h 764110"/>
              <a:gd name="connsiteX1-777" fmla="*/ 334056 w 1192700"/>
              <a:gd name="connsiteY1-778" fmla="*/ 323386 h 764110"/>
              <a:gd name="connsiteX2-779" fmla="*/ 311754 w 1192700"/>
              <a:gd name="connsiteY2-780" fmla="*/ 468352 h 764110"/>
              <a:gd name="connsiteX3-781" fmla="*/ 311882 w 1192700"/>
              <a:gd name="connsiteY3-782" fmla="*/ 474231 h 764110"/>
              <a:gd name="connsiteX4-783" fmla="*/ 249985 w 1192700"/>
              <a:gd name="connsiteY4-784" fmla="*/ 544068 h 764110"/>
              <a:gd name="connsiteX5-785" fmla="*/ 293636 w 1192700"/>
              <a:gd name="connsiteY5-786" fmla="*/ 657091 h 764110"/>
              <a:gd name="connsiteX6-787" fmla="*/ 456719 w 1192700"/>
              <a:gd name="connsiteY6-788" fmla="*/ 735150 h 764110"/>
              <a:gd name="connsiteX7-789" fmla="*/ 590534 w 1192700"/>
              <a:gd name="connsiteY7-790" fmla="*/ 535259 h 764110"/>
              <a:gd name="connsiteX8-791" fmla="*/ 675500 w 1192700"/>
              <a:gd name="connsiteY8-792" fmla="*/ 567880 h 764110"/>
              <a:gd name="connsiteX9-793" fmla="*/ 753848 w 1192700"/>
              <a:gd name="connsiteY9-794" fmla="*/ 549504 h 764110"/>
              <a:gd name="connsiteX10-795" fmla="*/ 822322 w 1192700"/>
              <a:gd name="connsiteY10-796" fmla="*/ 544068 h 764110"/>
              <a:gd name="connsiteX11-797" fmla="*/ 923876 w 1192700"/>
              <a:gd name="connsiteY11-798" fmla="*/ 764110 h 764110"/>
              <a:gd name="connsiteX12-799" fmla="*/ 735500 w 1192700"/>
              <a:gd name="connsiteY12-800" fmla="*/ 401444 h 764110"/>
              <a:gd name="connsiteX13-801" fmla="*/ 813558 w 1192700"/>
              <a:gd name="connsiteY13-802" fmla="*/ 401444 h 764110"/>
              <a:gd name="connsiteX14-803" fmla="*/ 891617 w 1192700"/>
              <a:gd name="connsiteY14-804" fmla="*/ 412596 h 764110"/>
              <a:gd name="connsiteX15-805" fmla="*/ 1025432 w 1192700"/>
              <a:gd name="connsiteY15-806" fmla="*/ 278781 h 764110"/>
              <a:gd name="connsiteX16-807" fmla="*/ 1192700 w 1192700"/>
              <a:gd name="connsiteY16-808" fmla="*/ 323386 h 764110"/>
              <a:gd name="connsiteX17-809" fmla="*/ 1114641 w 1192700"/>
              <a:gd name="connsiteY17-810" fmla="*/ 223025 h 764110"/>
              <a:gd name="connsiteX18-811" fmla="*/ 1192700 w 1192700"/>
              <a:gd name="connsiteY18-812" fmla="*/ 211874 h 764110"/>
              <a:gd name="connsiteX19-813" fmla="*/ 1092339 w 1192700"/>
              <a:gd name="connsiteY19-814" fmla="*/ 144966 h 764110"/>
              <a:gd name="connsiteX20-815" fmla="*/ 1181549 w 1192700"/>
              <a:gd name="connsiteY20-816" fmla="*/ 55757 h 764110"/>
              <a:gd name="connsiteX21-817" fmla="*/ 1181549 w 1192700"/>
              <a:gd name="connsiteY21-818" fmla="*/ 55757 h 764110"/>
              <a:gd name="connsiteX22-819" fmla="*/ 1058885 w 1192700"/>
              <a:gd name="connsiteY22-820" fmla="*/ 78059 h 764110"/>
              <a:gd name="connsiteX23-821" fmla="*/ 958524 w 1192700"/>
              <a:gd name="connsiteY23-822" fmla="*/ 78059 h 764110"/>
              <a:gd name="connsiteX24-823" fmla="*/ 958524 w 1192700"/>
              <a:gd name="connsiteY24-824" fmla="*/ 0 h 764110"/>
              <a:gd name="connsiteX25-825" fmla="*/ 835861 w 1192700"/>
              <a:gd name="connsiteY25-826" fmla="*/ 44605 h 764110"/>
              <a:gd name="connsiteX26-827" fmla="*/ 702046 w 1192700"/>
              <a:gd name="connsiteY26-828" fmla="*/ 78059 h 764110"/>
              <a:gd name="connsiteX27-829" fmla="*/ 601685 w 1192700"/>
              <a:gd name="connsiteY27-830" fmla="*/ 22303 h 764110"/>
              <a:gd name="connsiteX28-831" fmla="*/ 512475 w 1192700"/>
              <a:gd name="connsiteY28-832" fmla="*/ 89210 h 764110"/>
              <a:gd name="connsiteX29-833" fmla="*/ 434417 w 1192700"/>
              <a:gd name="connsiteY29-834" fmla="*/ 167269 h 764110"/>
              <a:gd name="connsiteX30-835" fmla="*/ 389812 w 1192700"/>
              <a:gd name="connsiteY30-836" fmla="*/ 289932 h 764110"/>
              <a:gd name="connsiteX31-837" fmla="*/ 278300 w 1192700"/>
              <a:gd name="connsiteY31-838" fmla="*/ 234176 h 764110"/>
              <a:gd name="connsiteX0-839" fmla="*/ 278300 w 1192700"/>
              <a:gd name="connsiteY0-840" fmla="*/ 234176 h 764110"/>
              <a:gd name="connsiteX1-841" fmla="*/ 334056 w 1192700"/>
              <a:gd name="connsiteY1-842" fmla="*/ 323386 h 764110"/>
              <a:gd name="connsiteX2-843" fmla="*/ 311754 w 1192700"/>
              <a:gd name="connsiteY2-844" fmla="*/ 468352 h 764110"/>
              <a:gd name="connsiteX3-845" fmla="*/ 311882 w 1192700"/>
              <a:gd name="connsiteY3-846" fmla="*/ 474231 h 764110"/>
              <a:gd name="connsiteX4-847" fmla="*/ 249985 w 1192700"/>
              <a:gd name="connsiteY4-848" fmla="*/ 544068 h 764110"/>
              <a:gd name="connsiteX5-849" fmla="*/ 293636 w 1192700"/>
              <a:gd name="connsiteY5-850" fmla="*/ 657091 h 764110"/>
              <a:gd name="connsiteX6-851" fmla="*/ 456719 w 1192700"/>
              <a:gd name="connsiteY6-852" fmla="*/ 735150 h 764110"/>
              <a:gd name="connsiteX7-853" fmla="*/ 590534 w 1192700"/>
              <a:gd name="connsiteY7-854" fmla="*/ 535259 h 764110"/>
              <a:gd name="connsiteX8-855" fmla="*/ 675500 w 1192700"/>
              <a:gd name="connsiteY8-856" fmla="*/ 567880 h 764110"/>
              <a:gd name="connsiteX9-857" fmla="*/ 753848 w 1192700"/>
              <a:gd name="connsiteY9-858" fmla="*/ 610410 h 764110"/>
              <a:gd name="connsiteX10-859" fmla="*/ 822322 w 1192700"/>
              <a:gd name="connsiteY10-860" fmla="*/ 544068 h 764110"/>
              <a:gd name="connsiteX11-861" fmla="*/ 923876 w 1192700"/>
              <a:gd name="connsiteY11-862" fmla="*/ 764110 h 764110"/>
              <a:gd name="connsiteX12-863" fmla="*/ 735500 w 1192700"/>
              <a:gd name="connsiteY12-864" fmla="*/ 401444 h 764110"/>
              <a:gd name="connsiteX13-865" fmla="*/ 813558 w 1192700"/>
              <a:gd name="connsiteY13-866" fmla="*/ 401444 h 764110"/>
              <a:gd name="connsiteX14-867" fmla="*/ 891617 w 1192700"/>
              <a:gd name="connsiteY14-868" fmla="*/ 412596 h 764110"/>
              <a:gd name="connsiteX15-869" fmla="*/ 1025432 w 1192700"/>
              <a:gd name="connsiteY15-870" fmla="*/ 278781 h 764110"/>
              <a:gd name="connsiteX16-871" fmla="*/ 1192700 w 1192700"/>
              <a:gd name="connsiteY16-872" fmla="*/ 323386 h 764110"/>
              <a:gd name="connsiteX17-873" fmla="*/ 1114641 w 1192700"/>
              <a:gd name="connsiteY17-874" fmla="*/ 223025 h 764110"/>
              <a:gd name="connsiteX18-875" fmla="*/ 1192700 w 1192700"/>
              <a:gd name="connsiteY18-876" fmla="*/ 211874 h 764110"/>
              <a:gd name="connsiteX19-877" fmla="*/ 1092339 w 1192700"/>
              <a:gd name="connsiteY19-878" fmla="*/ 144966 h 764110"/>
              <a:gd name="connsiteX20-879" fmla="*/ 1181549 w 1192700"/>
              <a:gd name="connsiteY20-880" fmla="*/ 55757 h 764110"/>
              <a:gd name="connsiteX21-881" fmla="*/ 1181549 w 1192700"/>
              <a:gd name="connsiteY21-882" fmla="*/ 55757 h 764110"/>
              <a:gd name="connsiteX22-883" fmla="*/ 1058885 w 1192700"/>
              <a:gd name="connsiteY22-884" fmla="*/ 78059 h 764110"/>
              <a:gd name="connsiteX23-885" fmla="*/ 958524 w 1192700"/>
              <a:gd name="connsiteY23-886" fmla="*/ 78059 h 764110"/>
              <a:gd name="connsiteX24-887" fmla="*/ 958524 w 1192700"/>
              <a:gd name="connsiteY24-888" fmla="*/ 0 h 764110"/>
              <a:gd name="connsiteX25-889" fmla="*/ 835861 w 1192700"/>
              <a:gd name="connsiteY25-890" fmla="*/ 44605 h 764110"/>
              <a:gd name="connsiteX26-891" fmla="*/ 702046 w 1192700"/>
              <a:gd name="connsiteY26-892" fmla="*/ 78059 h 764110"/>
              <a:gd name="connsiteX27-893" fmla="*/ 601685 w 1192700"/>
              <a:gd name="connsiteY27-894" fmla="*/ 22303 h 764110"/>
              <a:gd name="connsiteX28-895" fmla="*/ 512475 w 1192700"/>
              <a:gd name="connsiteY28-896" fmla="*/ 89210 h 764110"/>
              <a:gd name="connsiteX29-897" fmla="*/ 434417 w 1192700"/>
              <a:gd name="connsiteY29-898" fmla="*/ 167269 h 764110"/>
              <a:gd name="connsiteX30-899" fmla="*/ 389812 w 1192700"/>
              <a:gd name="connsiteY30-900" fmla="*/ 289932 h 764110"/>
              <a:gd name="connsiteX31-901" fmla="*/ 278300 w 1192700"/>
              <a:gd name="connsiteY31-902" fmla="*/ 234176 h 764110"/>
              <a:gd name="connsiteX0-903" fmla="*/ 278300 w 1192700"/>
              <a:gd name="connsiteY0-904" fmla="*/ 234176 h 764110"/>
              <a:gd name="connsiteX1-905" fmla="*/ 334056 w 1192700"/>
              <a:gd name="connsiteY1-906" fmla="*/ 323386 h 764110"/>
              <a:gd name="connsiteX2-907" fmla="*/ 311754 w 1192700"/>
              <a:gd name="connsiteY2-908" fmla="*/ 468352 h 764110"/>
              <a:gd name="connsiteX3-909" fmla="*/ 311882 w 1192700"/>
              <a:gd name="connsiteY3-910" fmla="*/ 474231 h 764110"/>
              <a:gd name="connsiteX4-911" fmla="*/ 249985 w 1192700"/>
              <a:gd name="connsiteY4-912" fmla="*/ 544068 h 764110"/>
              <a:gd name="connsiteX5-913" fmla="*/ 293636 w 1192700"/>
              <a:gd name="connsiteY5-914" fmla="*/ 657091 h 764110"/>
              <a:gd name="connsiteX6-915" fmla="*/ 456719 w 1192700"/>
              <a:gd name="connsiteY6-916" fmla="*/ 735150 h 764110"/>
              <a:gd name="connsiteX7-917" fmla="*/ 590534 w 1192700"/>
              <a:gd name="connsiteY7-918" fmla="*/ 535259 h 764110"/>
              <a:gd name="connsiteX8-919" fmla="*/ 675500 w 1192700"/>
              <a:gd name="connsiteY8-920" fmla="*/ 567880 h 764110"/>
              <a:gd name="connsiteX9-921" fmla="*/ 753848 w 1192700"/>
              <a:gd name="connsiteY9-922" fmla="*/ 610410 h 764110"/>
              <a:gd name="connsiteX10-923" fmla="*/ 822322 w 1192700"/>
              <a:gd name="connsiteY10-924" fmla="*/ 544068 h 764110"/>
              <a:gd name="connsiteX11-925" fmla="*/ 923876 w 1192700"/>
              <a:gd name="connsiteY11-926" fmla="*/ 764110 h 764110"/>
              <a:gd name="connsiteX12-927" fmla="*/ 819450 w 1192700"/>
              <a:gd name="connsiteY12-928" fmla="*/ 665900 h 764110"/>
              <a:gd name="connsiteX13-929" fmla="*/ 735500 w 1192700"/>
              <a:gd name="connsiteY13-930" fmla="*/ 401444 h 764110"/>
              <a:gd name="connsiteX14-931" fmla="*/ 813558 w 1192700"/>
              <a:gd name="connsiteY14-932" fmla="*/ 401444 h 764110"/>
              <a:gd name="connsiteX15-933" fmla="*/ 891617 w 1192700"/>
              <a:gd name="connsiteY15-934" fmla="*/ 412596 h 764110"/>
              <a:gd name="connsiteX16-935" fmla="*/ 1025432 w 1192700"/>
              <a:gd name="connsiteY16-936" fmla="*/ 278781 h 764110"/>
              <a:gd name="connsiteX17-937" fmla="*/ 1192700 w 1192700"/>
              <a:gd name="connsiteY17-938" fmla="*/ 323386 h 764110"/>
              <a:gd name="connsiteX18-939" fmla="*/ 1114641 w 1192700"/>
              <a:gd name="connsiteY18-940" fmla="*/ 223025 h 764110"/>
              <a:gd name="connsiteX19-941" fmla="*/ 1192700 w 1192700"/>
              <a:gd name="connsiteY19-942" fmla="*/ 211874 h 764110"/>
              <a:gd name="connsiteX20-943" fmla="*/ 1092339 w 1192700"/>
              <a:gd name="connsiteY20-944" fmla="*/ 144966 h 764110"/>
              <a:gd name="connsiteX21-945" fmla="*/ 1181549 w 1192700"/>
              <a:gd name="connsiteY21-946" fmla="*/ 55757 h 764110"/>
              <a:gd name="connsiteX22-947" fmla="*/ 1181549 w 1192700"/>
              <a:gd name="connsiteY22-948" fmla="*/ 55757 h 764110"/>
              <a:gd name="connsiteX23-949" fmla="*/ 1058885 w 1192700"/>
              <a:gd name="connsiteY23-950" fmla="*/ 78059 h 764110"/>
              <a:gd name="connsiteX24-951" fmla="*/ 958524 w 1192700"/>
              <a:gd name="connsiteY24-952" fmla="*/ 78059 h 764110"/>
              <a:gd name="connsiteX25-953" fmla="*/ 958524 w 1192700"/>
              <a:gd name="connsiteY25-954" fmla="*/ 0 h 764110"/>
              <a:gd name="connsiteX26-955" fmla="*/ 835861 w 1192700"/>
              <a:gd name="connsiteY26-956" fmla="*/ 44605 h 764110"/>
              <a:gd name="connsiteX27-957" fmla="*/ 702046 w 1192700"/>
              <a:gd name="connsiteY27-958" fmla="*/ 78059 h 764110"/>
              <a:gd name="connsiteX28-959" fmla="*/ 601685 w 1192700"/>
              <a:gd name="connsiteY28-960" fmla="*/ 22303 h 764110"/>
              <a:gd name="connsiteX29-961" fmla="*/ 512475 w 1192700"/>
              <a:gd name="connsiteY29-962" fmla="*/ 89210 h 764110"/>
              <a:gd name="connsiteX30-963" fmla="*/ 434417 w 1192700"/>
              <a:gd name="connsiteY30-964" fmla="*/ 167269 h 764110"/>
              <a:gd name="connsiteX31-965" fmla="*/ 389812 w 1192700"/>
              <a:gd name="connsiteY31-966" fmla="*/ 289932 h 764110"/>
              <a:gd name="connsiteX32-967" fmla="*/ 278300 w 1192700"/>
              <a:gd name="connsiteY32-968" fmla="*/ 234176 h 764110"/>
              <a:gd name="connsiteX0-969" fmla="*/ 278300 w 1192700"/>
              <a:gd name="connsiteY0-970" fmla="*/ 234176 h 764110"/>
              <a:gd name="connsiteX1-971" fmla="*/ 334056 w 1192700"/>
              <a:gd name="connsiteY1-972" fmla="*/ 323386 h 764110"/>
              <a:gd name="connsiteX2-973" fmla="*/ 311754 w 1192700"/>
              <a:gd name="connsiteY2-974" fmla="*/ 468352 h 764110"/>
              <a:gd name="connsiteX3-975" fmla="*/ 311882 w 1192700"/>
              <a:gd name="connsiteY3-976" fmla="*/ 474231 h 764110"/>
              <a:gd name="connsiteX4-977" fmla="*/ 249985 w 1192700"/>
              <a:gd name="connsiteY4-978" fmla="*/ 544068 h 764110"/>
              <a:gd name="connsiteX5-979" fmla="*/ 293636 w 1192700"/>
              <a:gd name="connsiteY5-980" fmla="*/ 657091 h 764110"/>
              <a:gd name="connsiteX6-981" fmla="*/ 456719 w 1192700"/>
              <a:gd name="connsiteY6-982" fmla="*/ 735150 h 764110"/>
              <a:gd name="connsiteX7-983" fmla="*/ 590534 w 1192700"/>
              <a:gd name="connsiteY7-984" fmla="*/ 535259 h 764110"/>
              <a:gd name="connsiteX8-985" fmla="*/ 675500 w 1192700"/>
              <a:gd name="connsiteY8-986" fmla="*/ 567880 h 764110"/>
              <a:gd name="connsiteX9-987" fmla="*/ 753848 w 1192700"/>
              <a:gd name="connsiteY9-988" fmla="*/ 610410 h 764110"/>
              <a:gd name="connsiteX10-989" fmla="*/ 822322 w 1192700"/>
              <a:gd name="connsiteY10-990" fmla="*/ 544068 h 764110"/>
              <a:gd name="connsiteX11-991" fmla="*/ 923876 w 1192700"/>
              <a:gd name="connsiteY11-992" fmla="*/ 764110 h 764110"/>
              <a:gd name="connsiteX12-993" fmla="*/ 819450 w 1192700"/>
              <a:gd name="connsiteY12-994" fmla="*/ 665900 h 764110"/>
              <a:gd name="connsiteX13-995" fmla="*/ 929873 w 1192700"/>
              <a:gd name="connsiteY13-996" fmla="*/ 584202 h 764110"/>
              <a:gd name="connsiteX14-997" fmla="*/ 813558 w 1192700"/>
              <a:gd name="connsiteY14-998" fmla="*/ 401444 h 764110"/>
              <a:gd name="connsiteX15-999" fmla="*/ 891617 w 1192700"/>
              <a:gd name="connsiteY15-1000" fmla="*/ 412596 h 764110"/>
              <a:gd name="connsiteX16-1001" fmla="*/ 1025432 w 1192700"/>
              <a:gd name="connsiteY16-1002" fmla="*/ 278781 h 764110"/>
              <a:gd name="connsiteX17-1003" fmla="*/ 1192700 w 1192700"/>
              <a:gd name="connsiteY17-1004" fmla="*/ 323386 h 764110"/>
              <a:gd name="connsiteX18-1005" fmla="*/ 1114641 w 1192700"/>
              <a:gd name="connsiteY18-1006" fmla="*/ 223025 h 764110"/>
              <a:gd name="connsiteX19-1007" fmla="*/ 1192700 w 1192700"/>
              <a:gd name="connsiteY19-1008" fmla="*/ 211874 h 764110"/>
              <a:gd name="connsiteX20-1009" fmla="*/ 1092339 w 1192700"/>
              <a:gd name="connsiteY20-1010" fmla="*/ 144966 h 764110"/>
              <a:gd name="connsiteX21-1011" fmla="*/ 1181549 w 1192700"/>
              <a:gd name="connsiteY21-1012" fmla="*/ 55757 h 764110"/>
              <a:gd name="connsiteX22-1013" fmla="*/ 1181549 w 1192700"/>
              <a:gd name="connsiteY22-1014" fmla="*/ 55757 h 764110"/>
              <a:gd name="connsiteX23-1015" fmla="*/ 1058885 w 1192700"/>
              <a:gd name="connsiteY23-1016" fmla="*/ 78059 h 764110"/>
              <a:gd name="connsiteX24-1017" fmla="*/ 958524 w 1192700"/>
              <a:gd name="connsiteY24-1018" fmla="*/ 78059 h 764110"/>
              <a:gd name="connsiteX25-1019" fmla="*/ 958524 w 1192700"/>
              <a:gd name="connsiteY25-1020" fmla="*/ 0 h 764110"/>
              <a:gd name="connsiteX26-1021" fmla="*/ 835861 w 1192700"/>
              <a:gd name="connsiteY26-1022" fmla="*/ 44605 h 764110"/>
              <a:gd name="connsiteX27-1023" fmla="*/ 702046 w 1192700"/>
              <a:gd name="connsiteY27-1024" fmla="*/ 78059 h 764110"/>
              <a:gd name="connsiteX28-1025" fmla="*/ 601685 w 1192700"/>
              <a:gd name="connsiteY28-1026" fmla="*/ 22303 h 764110"/>
              <a:gd name="connsiteX29-1027" fmla="*/ 512475 w 1192700"/>
              <a:gd name="connsiteY29-1028" fmla="*/ 89210 h 764110"/>
              <a:gd name="connsiteX30-1029" fmla="*/ 434417 w 1192700"/>
              <a:gd name="connsiteY30-1030" fmla="*/ 167269 h 764110"/>
              <a:gd name="connsiteX31-1031" fmla="*/ 389812 w 1192700"/>
              <a:gd name="connsiteY31-1032" fmla="*/ 289932 h 764110"/>
              <a:gd name="connsiteX32-1033" fmla="*/ 278300 w 1192700"/>
              <a:gd name="connsiteY32-1034" fmla="*/ 234176 h 764110"/>
              <a:gd name="connsiteX0-1035" fmla="*/ 278300 w 1192700"/>
              <a:gd name="connsiteY0-1036" fmla="*/ 234176 h 764110"/>
              <a:gd name="connsiteX1-1037" fmla="*/ 334056 w 1192700"/>
              <a:gd name="connsiteY1-1038" fmla="*/ 323386 h 764110"/>
              <a:gd name="connsiteX2-1039" fmla="*/ 311754 w 1192700"/>
              <a:gd name="connsiteY2-1040" fmla="*/ 468352 h 764110"/>
              <a:gd name="connsiteX3-1041" fmla="*/ 311882 w 1192700"/>
              <a:gd name="connsiteY3-1042" fmla="*/ 474231 h 764110"/>
              <a:gd name="connsiteX4-1043" fmla="*/ 249985 w 1192700"/>
              <a:gd name="connsiteY4-1044" fmla="*/ 544068 h 764110"/>
              <a:gd name="connsiteX5-1045" fmla="*/ 293636 w 1192700"/>
              <a:gd name="connsiteY5-1046" fmla="*/ 657091 h 764110"/>
              <a:gd name="connsiteX6-1047" fmla="*/ 456719 w 1192700"/>
              <a:gd name="connsiteY6-1048" fmla="*/ 735150 h 764110"/>
              <a:gd name="connsiteX7-1049" fmla="*/ 590534 w 1192700"/>
              <a:gd name="connsiteY7-1050" fmla="*/ 535259 h 764110"/>
              <a:gd name="connsiteX8-1051" fmla="*/ 675500 w 1192700"/>
              <a:gd name="connsiteY8-1052" fmla="*/ 567880 h 764110"/>
              <a:gd name="connsiteX9-1053" fmla="*/ 753848 w 1192700"/>
              <a:gd name="connsiteY9-1054" fmla="*/ 610410 h 764110"/>
              <a:gd name="connsiteX10-1055" fmla="*/ 822322 w 1192700"/>
              <a:gd name="connsiteY10-1056" fmla="*/ 665900 h 764110"/>
              <a:gd name="connsiteX11-1057" fmla="*/ 923876 w 1192700"/>
              <a:gd name="connsiteY11-1058" fmla="*/ 764110 h 764110"/>
              <a:gd name="connsiteX12-1059" fmla="*/ 819450 w 1192700"/>
              <a:gd name="connsiteY12-1060" fmla="*/ 665900 h 764110"/>
              <a:gd name="connsiteX13-1061" fmla="*/ 929873 w 1192700"/>
              <a:gd name="connsiteY13-1062" fmla="*/ 584202 h 764110"/>
              <a:gd name="connsiteX14-1063" fmla="*/ 813558 w 1192700"/>
              <a:gd name="connsiteY14-1064" fmla="*/ 401444 h 764110"/>
              <a:gd name="connsiteX15-1065" fmla="*/ 891617 w 1192700"/>
              <a:gd name="connsiteY15-1066" fmla="*/ 412596 h 764110"/>
              <a:gd name="connsiteX16-1067" fmla="*/ 1025432 w 1192700"/>
              <a:gd name="connsiteY16-1068" fmla="*/ 278781 h 764110"/>
              <a:gd name="connsiteX17-1069" fmla="*/ 1192700 w 1192700"/>
              <a:gd name="connsiteY17-1070" fmla="*/ 323386 h 764110"/>
              <a:gd name="connsiteX18-1071" fmla="*/ 1114641 w 1192700"/>
              <a:gd name="connsiteY18-1072" fmla="*/ 223025 h 764110"/>
              <a:gd name="connsiteX19-1073" fmla="*/ 1192700 w 1192700"/>
              <a:gd name="connsiteY19-1074" fmla="*/ 211874 h 764110"/>
              <a:gd name="connsiteX20-1075" fmla="*/ 1092339 w 1192700"/>
              <a:gd name="connsiteY20-1076" fmla="*/ 144966 h 764110"/>
              <a:gd name="connsiteX21-1077" fmla="*/ 1181549 w 1192700"/>
              <a:gd name="connsiteY21-1078" fmla="*/ 55757 h 764110"/>
              <a:gd name="connsiteX22-1079" fmla="*/ 1181549 w 1192700"/>
              <a:gd name="connsiteY22-1080" fmla="*/ 55757 h 764110"/>
              <a:gd name="connsiteX23-1081" fmla="*/ 1058885 w 1192700"/>
              <a:gd name="connsiteY23-1082" fmla="*/ 78059 h 764110"/>
              <a:gd name="connsiteX24-1083" fmla="*/ 958524 w 1192700"/>
              <a:gd name="connsiteY24-1084" fmla="*/ 78059 h 764110"/>
              <a:gd name="connsiteX25-1085" fmla="*/ 958524 w 1192700"/>
              <a:gd name="connsiteY25-1086" fmla="*/ 0 h 764110"/>
              <a:gd name="connsiteX26-1087" fmla="*/ 835861 w 1192700"/>
              <a:gd name="connsiteY26-1088" fmla="*/ 44605 h 764110"/>
              <a:gd name="connsiteX27-1089" fmla="*/ 702046 w 1192700"/>
              <a:gd name="connsiteY27-1090" fmla="*/ 78059 h 764110"/>
              <a:gd name="connsiteX28-1091" fmla="*/ 601685 w 1192700"/>
              <a:gd name="connsiteY28-1092" fmla="*/ 22303 h 764110"/>
              <a:gd name="connsiteX29-1093" fmla="*/ 512475 w 1192700"/>
              <a:gd name="connsiteY29-1094" fmla="*/ 89210 h 764110"/>
              <a:gd name="connsiteX30-1095" fmla="*/ 434417 w 1192700"/>
              <a:gd name="connsiteY30-1096" fmla="*/ 167269 h 764110"/>
              <a:gd name="connsiteX31-1097" fmla="*/ 389812 w 1192700"/>
              <a:gd name="connsiteY31-1098" fmla="*/ 289932 h 764110"/>
              <a:gd name="connsiteX32-1099" fmla="*/ 278300 w 1192700"/>
              <a:gd name="connsiteY32-1100" fmla="*/ 234176 h 764110"/>
              <a:gd name="connsiteX0-1101" fmla="*/ 278300 w 1192700"/>
              <a:gd name="connsiteY0-1102" fmla="*/ 234176 h 764110"/>
              <a:gd name="connsiteX1-1103" fmla="*/ 334056 w 1192700"/>
              <a:gd name="connsiteY1-1104" fmla="*/ 323386 h 764110"/>
              <a:gd name="connsiteX2-1105" fmla="*/ 311754 w 1192700"/>
              <a:gd name="connsiteY2-1106" fmla="*/ 468352 h 764110"/>
              <a:gd name="connsiteX3-1107" fmla="*/ 311882 w 1192700"/>
              <a:gd name="connsiteY3-1108" fmla="*/ 474231 h 764110"/>
              <a:gd name="connsiteX4-1109" fmla="*/ 249985 w 1192700"/>
              <a:gd name="connsiteY4-1110" fmla="*/ 544068 h 764110"/>
              <a:gd name="connsiteX5-1111" fmla="*/ 293636 w 1192700"/>
              <a:gd name="connsiteY5-1112" fmla="*/ 657091 h 764110"/>
              <a:gd name="connsiteX6-1113" fmla="*/ 456719 w 1192700"/>
              <a:gd name="connsiteY6-1114" fmla="*/ 735150 h 764110"/>
              <a:gd name="connsiteX7-1115" fmla="*/ 590534 w 1192700"/>
              <a:gd name="connsiteY7-1116" fmla="*/ 535259 h 764110"/>
              <a:gd name="connsiteX8-1117" fmla="*/ 675500 w 1192700"/>
              <a:gd name="connsiteY8-1118" fmla="*/ 567880 h 764110"/>
              <a:gd name="connsiteX9-1119" fmla="*/ 753848 w 1192700"/>
              <a:gd name="connsiteY9-1120" fmla="*/ 610410 h 764110"/>
              <a:gd name="connsiteX10-1121" fmla="*/ 822322 w 1192700"/>
              <a:gd name="connsiteY10-1122" fmla="*/ 665900 h 764110"/>
              <a:gd name="connsiteX11-1123" fmla="*/ 923876 w 1192700"/>
              <a:gd name="connsiteY11-1124" fmla="*/ 764110 h 764110"/>
              <a:gd name="connsiteX12-1125" fmla="*/ 819450 w 1192700"/>
              <a:gd name="connsiteY12-1126" fmla="*/ 665900 h 764110"/>
              <a:gd name="connsiteX13-1127" fmla="*/ 929873 w 1192700"/>
              <a:gd name="connsiteY13-1128" fmla="*/ 584202 h 764110"/>
              <a:gd name="connsiteX14-1129" fmla="*/ 813558 w 1192700"/>
              <a:gd name="connsiteY14-1130" fmla="*/ 401444 h 764110"/>
              <a:gd name="connsiteX15-1131" fmla="*/ 1020012 w 1192700"/>
              <a:gd name="connsiteY15-1132" fmla="*/ 526225 h 764110"/>
              <a:gd name="connsiteX16-1133" fmla="*/ 891617 w 1192700"/>
              <a:gd name="connsiteY16-1134" fmla="*/ 412596 h 764110"/>
              <a:gd name="connsiteX17-1135" fmla="*/ 1025432 w 1192700"/>
              <a:gd name="connsiteY17-1136" fmla="*/ 278781 h 764110"/>
              <a:gd name="connsiteX18-1137" fmla="*/ 1192700 w 1192700"/>
              <a:gd name="connsiteY18-1138" fmla="*/ 323386 h 764110"/>
              <a:gd name="connsiteX19-1139" fmla="*/ 1114641 w 1192700"/>
              <a:gd name="connsiteY19-1140" fmla="*/ 223025 h 764110"/>
              <a:gd name="connsiteX20-1141" fmla="*/ 1192700 w 1192700"/>
              <a:gd name="connsiteY20-1142" fmla="*/ 211874 h 764110"/>
              <a:gd name="connsiteX21-1143" fmla="*/ 1092339 w 1192700"/>
              <a:gd name="connsiteY21-1144" fmla="*/ 144966 h 764110"/>
              <a:gd name="connsiteX22-1145" fmla="*/ 1181549 w 1192700"/>
              <a:gd name="connsiteY22-1146" fmla="*/ 55757 h 764110"/>
              <a:gd name="connsiteX23-1147" fmla="*/ 1181549 w 1192700"/>
              <a:gd name="connsiteY23-1148" fmla="*/ 55757 h 764110"/>
              <a:gd name="connsiteX24-1149" fmla="*/ 1058885 w 1192700"/>
              <a:gd name="connsiteY24-1150" fmla="*/ 78059 h 764110"/>
              <a:gd name="connsiteX25-1151" fmla="*/ 958524 w 1192700"/>
              <a:gd name="connsiteY25-1152" fmla="*/ 78059 h 764110"/>
              <a:gd name="connsiteX26-1153" fmla="*/ 958524 w 1192700"/>
              <a:gd name="connsiteY26-1154" fmla="*/ 0 h 764110"/>
              <a:gd name="connsiteX27-1155" fmla="*/ 835861 w 1192700"/>
              <a:gd name="connsiteY27-1156" fmla="*/ 44605 h 764110"/>
              <a:gd name="connsiteX28-1157" fmla="*/ 702046 w 1192700"/>
              <a:gd name="connsiteY28-1158" fmla="*/ 78059 h 764110"/>
              <a:gd name="connsiteX29-1159" fmla="*/ 601685 w 1192700"/>
              <a:gd name="connsiteY29-1160" fmla="*/ 22303 h 764110"/>
              <a:gd name="connsiteX30-1161" fmla="*/ 512475 w 1192700"/>
              <a:gd name="connsiteY30-1162" fmla="*/ 89210 h 764110"/>
              <a:gd name="connsiteX31-1163" fmla="*/ 434417 w 1192700"/>
              <a:gd name="connsiteY31-1164" fmla="*/ 167269 h 764110"/>
              <a:gd name="connsiteX32-1165" fmla="*/ 389812 w 1192700"/>
              <a:gd name="connsiteY32-1166" fmla="*/ 289932 h 764110"/>
              <a:gd name="connsiteX33" fmla="*/ 278300 w 1192700"/>
              <a:gd name="connsiteY33" fmla="*/ 234176 h 764110"/>
              <a:gd name="connsiteX0-1167" fmla="*/ 278300 w 1192700"/>
              <a:gd name="connsiteY0-1168" fmla="*/ 234176 h 764110"/>
              <a:gd name="connsiteX1-1169" fmla="*/ 334056 w 1192700"/>
              <a:gd name="connsiteY1-1170" fmla="*/ 323386 h 764110"/>
              <a:gd name="connsiteX2-1171" fmla="*/ 311754 w 1192700"/>
              <a:gd name="connsiteY2-1172" fmla="*/ 468352 h 764110"/>
              <a:gd name="connsiteX3-1173" fmla="*/ 311882 w 1192700"/>
              <a:gd name="connsiteY3-1174" fmla="*/ 474231 h 764110"/>
              <a:gd name="connsiteX4-1175" fmla="*/ 249985 w 1192700"/>
              <a:gd name="connsiteY4-1176" fmla="*/ 544068 h 764110"/>
              <a:gd name="connsiteX5-1177" fmla="*/ 293636 w 1192700"/>
              <a:gd name="connsiteY5-1178" fmla="*/ 657091 h 764110"/>
              <a:gd name="connsiteX6-1179" fmla="*/ 456719 w 1192700"/>
              <a:gd name="connsiteY6-1180" fmla="*/ 735150 h 764110"/>
              <a:gd name="connsiteX7-1181" fmla="*/ 590534 w 1192700"/>
              <a:gd name="connsiteY7-1182" fmla="*/ 535259 h 764110"/>
              <a:gd name="connsiteX8-1183" fmla="*/ 675500 w 1192700"/>
              <a:gd name="connsiteY8-1184" fmla="*/ 567880 h 764110"/>
              <a:gd name="connsiteX9-1185" fmla="*/ 753848 w 1192700"/>
              <a:gd name="connsiteY9-1186" fmla="*/ 610410 h 764110"/>
              <a:gd name="connsiteX10-1187" fmla="*/ 822322 w 1192700"/>
              <a:gd name="connsiteY10-1188" fmla="*/ 665900 h 764110"/>
              <a:gd name="connsiteX11-1189" fmla="*/ 923876 w 1192700"/>
              <a:gd name="connsiteY11-1190" fmla="*/ 764110 h 764110"/>
              <a:gd name="connsiteX12-1191" fmla="*/ 819450 w 1192700"/>
              <a:gd name="connsiteY12-1192" fmla="*/ 665900 h 764110"/>
              <a:gd name="connsiteX13-1193" fmla="*/ 929873 w 1192700"/>
              <a:gd name="connsiteY13-1194" fmla="*/ 584202 h 764110"/>
              <a:gd name="connsiteX14-1195" fmla="*/ 813558 w 1192700"/>
              <a:gd name="connsiteY14-1196" fmla="*/ 401444 h 764110"/>
              <a:gd name="connsiteX15-1197" fmla="*/ 955211 w 1192700"/>
              <a:gd name="connsiteY15-1198" fmla="*/ 581332 h 764110"/>
              <a:gd name="connsiteX16-1199" fmla="*/ 1020012 w 1192700"/>
              <a:gd name="connsiteY16-1200" fmla="*/ 526225 h 764110"/>
              <a:gd name="connsiteX17-1201" fmla="*/ 891617 w 1192700"/>
              <a:gd name="connsiteY17-1202" fmla="*/ 412596 h 764110"/>
              <a:gd name="connsiteX18-1203" fmla="*/ 1025432 w 1192700"/>
              <a:gd name="connsiteY18-1204" fmla="*/ 278781 h 764110"/>
              <a:gd name="connsiteX19-1205" fmla="*/ 1192700 w 1192700"/>
              <a:gd name="connsiteY19-1206" fmla="*/ 323386 h 764110"/>
              <a:gd name="connsiteX20-1207" fmla="*/ 1114641 w 1192700"/>
              <a:gd name="connsiteY20-1208" fmla="*/ 223025 h 764110"/>
              <a:gd name="connsiteX21-1209" fmla="*/ 1192700 w 1192700"/>
              <a:gd name="connsiteY21-1210" fmla="*/ 211874 h 764110"/>
              <a:gd name="connsiteX22-1211" fmla="*/ 1092339 w 1192700"/>
              <a:gd name="connsiteY22-1212" fmla="*/ 144966 h 764110"/>
              <a:gd name="connsiteX23-1213" fmla="*/ 1181549 w 1192700"/>
              <a:gd name="connsiteY23-1214" fmla="*/ 55757 h 764110"/>
              <a:gd name="connsiteX24-1215" fmla="*/ 1181549 w 1192700"/>
              <a:gd name="connsiteY24-1216" fmla="*/ 55757 h 764110"/>
              <a:gd name="connsiteX25-1217" fmla="*/ 1058885 w 1192700"/>
              <a:gd name="connsiteY25-1218" fmla="*/ 78059 h 764110"/>
              <a:gd name="connsiteX26-1219" fmla="*/ 958524 w 1192700"/>
              <a:gd name="connsiteY26-1220" fmla="*/ 78059 h 764110"/>
              <a:gd name="connsiteX27-1221" fmla="*/ 958524 w 1192700"/>
              <a:gd name="connsiteY27-1222" fmla="*/ 0 h 764110"/>
              <a:gd name="connsiteX28-1223" fmla="*/ 835861 w 1192700"/>
              <a:gd name="connsiteY28-1224" fmla="*/ 44605 h 764110"/>
              <a:gd name="connsiteX29-1225" fmla="*/ 702046 w 1192700"/>
              <a:gd name="connsiteY29-1226" fmla="*/ 78059 h 764110"/>
              <a:gd name="connsiteX30-1227" fmla="*/ 601685 w 1192700"/>
              <a:gd name="connsiteY30-1228" fmla="*/ 22303 h 764110"/>
              <a:gd name="connsiteX31-1229" fmla="*/ 512475 w 1192700"/>
              <a:gd name="connsiteY31-1230" fmla="*/ 89210 h 764110"/>
              <a:gd name="connsiteX32-1231" fmla="*/ 434417 w 1192700"/>
              <a:gd name="connsiteY32-1232" fmla="*/ 167269 h 764110"/>
              <a:gd name="connsiteX33-1233" fmla="*/ 389812 w 1192700"/>
              <a:gd name="connsiteY33-1234" fmla="*/ 289932 h 764110"/>
              <a:gd name="connsiteX34" fmla="*/ 278300 w 1192700"/>
              <a:gd name="connsiteY34" fmla="*/ 234176 h 764110"/>
              <a:gd name="connsiteX0-1235" fmla="*/ 278300 w 1192700"/>
              <a:gd name="connsiteY0-1236" fmla="*/ 234176 h 764110"/>
              <a:gd name="connsiteX1-1237" fmla="*/ 334056 w 1192700"/>
              <a:gd name="connsiteY1-1238" fmla="*/ 323386 h 764110"/>
              <a:gd name="connsiteX2-1239" fmla="*/ 311754 w 1192700"/>
              <a:gd name="connsiteY2-1240" fmla="*/ 468352 h 764110"/>
              <a:gd name="connsiteX3-1241" fmla="*/ 311882 w 1192700"/>
              <a:gd name="connsiteY3-1242" fmla="*/ 474231 h 764110"/>
              <a:gd name="connsiteX4-1243" fmla="*/ 249985 w 1192700"/>
              <a:gd name="connsiteY4-1244" fmla="*/ 544068 h 764110"/>
              <a:gd name="connsiteX5-1245" fmla="*/ 293636 w 1192700"/>
              <a:gd name="connsiteY5-1246" fmla="*/ 657091 h 764110"/>
              <a:gd name="connsiteX6-1247" fmla="*/ 456719 w 1192700"/>
              <a:gd name="connsiteY6-1248" fmla="*/ 735150 h 764110"/>
              <a:gd name="connsiteX7-1249" fmla="*/ 590534 w 1192700"/>
              <a:gd name="connsiteY7-1250" fmla="*/ 535259 h 764110"/>
              <a:gd name="connsiteX8-1251" fmla="*/ 675500 w 1192700"/>
              <a:gd name="connsiteY8-1252" fmla="*/ 567880 h 764110"/>
              <a:gd name="connsiteX9-1253" fmla="*/ 753848 w 1192700"/>
              <a:gd name="connsiteY9-1254" fmla="*/ 610410 h 764110"/>
              <a:gd name="connsiteX10-1255" fmla="*/ 822322 w 1192700"/>
              <a:gd name="connsiteY10-1256" fmla="*/ 665900 h 764110"/>
              <a:gd name="connsiteX11-1257" fmla="*/ 923876 w 1192700"/>
              <a:gd name="connsiteY11-1258" fmla="*/ 764110 h 764110"/>
              <a:gd name="connsiteX12-1259" fmla="*/ 819450 w 1192700"/>
              <a:gd name="connsiteY12-1260" fmla="*/ 665900 h 764110"/>
              <a:gd name="connsiteX13-1261" fmla="*/ 929873 w 1192700"/>
              <a:gd name="connsiteY13-1262" fmla="*/ 584202 h 764110"/>
              <a:gd name="connsiteX14-1263" fmla="*/ 813558 w 1192700"/>
              <a:gd name="connsiteY14-1264" fmla="*/ 401444 h 764110"/>
              <a:gd name="connsiteX15-1265" fmla="*/ 942831 w 1192700"/>
              <a:gd name="connsiteY15-1266" fmla="*/ 587152 h 764110"/>
              <a:gd name="connsiteX16-1267" fmla="*/ 955211 w 1192700"/>
              <a:gd name="connsiteY16-1268" fmla="*/ 581332 h 764110"/>
              <a:gd name="connsiteX17-1269" fmla="*/ 1020012 w 1192700"/>
              <a:gd name="connsiteY17-1270" fmla="*/ 526225 h 764110"/>
              <a:gd name="connsiteX18-1271" fmla="*/ 891617 w 1192700"/>
              <a:gd name="connsiteY18-1272" fmla="*/ 412596 h 764110"/>
              <a:gd name="connsiteX19-1273" fmla="*/ 1025432 w 1192700"/>
              <a:gd name="connsiteY19-1274" fmla="*/ 278781 h 764110"/>
              <a:gd name="connsiteX20-1275" fmla="*/ 1192700 w 1192700"/>
              <a:gd name="connsiteY20-1276" fmla="*/ 323386 h 764110"/>
              <a:gd name="connsiteX21-1277" fmla="*/ 1114641 w 1192700"/>
              <a:gd name="connsiteY21-1278" fmla="*/ 223025 h 764110"/>
              <a:gd name="connsiteX22-1279" fmla="*/ 1192700 w 1192700"/>
              <a:gd name="connsiteY22-1280" fmla="*/ 211874 h 764110"/>
              <a:gd name="connsiteX23-1281" fmla="*/ 1092339 w 1192700"/>
              <a:gd name="connsiteY23-1282" fmla="*/ 144966 h 764110"/>
              <a:gd name="connsiteX24-1283" fmla="*/ 1181549 w 1192700"/>
              <a:gd name="connsiteY24-1284" fmla="*/ 55757 h 764110"/>
              <a:gd name="connsiteX25-1285" fmla="*/ 1181549 w 1192700"/>
              <a:gd name="connsiteY25-1286" fmla="*/ 55757 h 764110"/>
              <a:gd name="connsiteX26-1287" fmla="*/ 1058885 w 1192700"/>
              <a:gd name="connsiteY26-1288" fmla="*/ 78059 h 764110"/>
              <a:gd name="connsiteX27-1289" fmla="*/ 958524 w 1192700"/>
              <a:gd name="connsiteY27-1290" fmla="*/ 78059 h 764110"/>
              <a:gd name="connsiteX28-1291" fmla="*/ 958524 w 1192700"/>
              <a:gd name="connsiteY28-1292" fmla="*/ 0 h 764110"/>
              <a:gd name="connsiteX29-1293" fmla="*/ 835861 w 1192700"/>
              <a:gd name="connsiteY29-1294" fmla="*/ 44605 h 764110"/>
              <a:gd name="connsiteX30-1295" fmla="*/ 702046 w 1192700"/>
              <a:gd name="connsiteY30-1296" fmla="*/ 78059 h 764110"/>
              <a:gd name="connsiteX31-1297" fmla="*/ 601685 w 1192700"/>
              <a:gd name="connsiteY31-1298" fmla="*/ 22303 h 764110"/>
              <a:gd name="connsiteX32-1299" fmla="*/ 512475 w 1192700"/>
              <a:gd name="connsiteY32-1300" fmla="*/ 89210 h 764110"/>
              <a:gd name="connsiteX33-1301" fmla="*/ 434417 w 1192700"/>
              <a:gd name="connsiteY33-1302" fmla="*/ 167269 h 764110"/>
              <a:gd name="connsiteX34-1303" fmla="*/ 389812 w 1192700"/>
              <a:gd name="connsiteY34-1304" fmla="*/ 289932 h 764110"/>
              <a:gd name="connsiteX35" fmla="*/ 278300 w 1192700"/>
              <a:gd name="connsiteY35" fmla="*/ 234176 h 764110"/>
              <a:gd name="connsiteX0-1305" fmla="*/ 278300 w 1192700"/>
              <a:gd name="connsiteY0-1306" fmla="*/ 234176 h 764110"/>
              <a:gd name="connsiteX1-1307" fmla="*/ 334056 w 1192700"/>
              <a:gd name="connsiteY1-1308" fmla="*/ 323386 h 764110"/>
              <a:gd name="connsiteX2-1309" fmla="*/ 311754 w 1192700"/>
              <a:gd name="connsiteY2-1310" fmla="*/ 468352 h 764110"/>
              <a:gd name="connsiteX3-1311" fmla="*/ 311882 w 1192700"/>
              <a:gd name="connsiteY3-1312" fmla="*/ 474231 h 764110"/>
              <a:gd name="connsiteX4-1313" fmla="*/ 249985 w 1192700"/>
              <a:gd name="connsiteY4-1314" fmla="*/ 544068 h 764110"/>
              <a:gd name="connsiteX5-1315" fmla="*/ 293636 w 1192700"/>
              <a:gd name="connsiteY5-1316" fmla="*/ 657091 h 764110"/>
              <a:gd name="connsiteX6-1317" fmla="*/ 456719 w 1192700"/>
              <a:gd name="connsiteY6-1318" fmla="*/ 735150 h 764110"/>
              <a:gd name="connsiteX7-1319" fmla="*/ 590534 w 1192700"/>
              <a:gd name="connsiteY7-1320" fmla="*/ 535259 h 764110"/>
              <a:gd name="connsiteX8-1321" fmla="*/ 675500 w 1192700"/>
              <a:gd name="connsiteY8-1322" fmla="*/ 567880 h 764110"/>
              <a:gd name="connsiteX9-1323" fmla="*/ 753848 w 1192700"/>
              <a:gd name="connsiteY9-1324" fmla="*/ 610410 h 764110"/>
              <a:gd name="connsiteX10-1325" fmla="*/ 822322 w 1192700"/>
              <a:gd name="connsiteY10-1326" fmla="*/ 665900 h 764110"/>
              <a:gd name="connsiteX11-1327" fmla="*/ 923876 w 1192700"/>
              <a:gd name="connsiteY11-1328" fmla="*/ 764110 h 764110"/>
              <a:gd name="connsiteX12-1329" fmla="*/ 819450 w 1192700"/>
              <a:gd name="connsiteY12-1330" fmla="*/ 665900 h 764110"/>
              <a:gd name="connsiteX13-1331" fmla="*/ 929873 w 1192700"/>
              <a:gd name="connsiteY13-1332" fmla="*/ 584202 h 764110"/>
              <a:gd name="connsiteX14-1333" fmla="*/ 942831 w 1192700"/>
              <a:gd name="connsiteY14-1334" fmla="*/ 587152 h 764110"/>
              <a:gd name="connsiteX15-1335" fmla="*/ 955211 w 1192700"/>
              <a:gd name="connsiteY15-1336" fmla="*/ 581332 h 764110"/>
              <a:gd name="connsiteX16-1337" fmla="*/ 1020012 w 1192700"/>
              <a:gd name="connsiteY16-1338" fmla="*/ 526225 h 764110"/>
              <a:gd name="connsiteX17-1339" fmla="*/ 891617 w 1192700"/>
              <a:gd name="connsiteY17-1340" fmla="*/ 412596 h 764110"/>
              <a:gd name="connsiteX18-1341" fmla="*/ 1025432 w 1192700"/>
              <a:gd name="connsiteY18-1342" fmla="*/ 278781 h 764110"/>
              <a:gd name="connsiteX19-1343" fmla="*/ 1192700 w 1192700"/>
              <a:gd name="connsiteY19-1344" fmla="*/ 323386 h 764110"/>
              <a:gd name="connsiteX20-1345" fmla="*/ 1114641 w 1192700"/>
              <a:gd name="connsiteY20-1346" fmla="*/ 223025 h 764110"/>
              <a:gd name="connsiteX21-1347" fmla="*/ 1192700 w 1192700"/>
              <a:gd name="connsiteY21-1348" fmla="*/ 211874 h 764110"/>
              <a:gd name="connsiteX22-1349" fmla="*/ 1092339 w 1192700"/>
              <a:gd name="connsiteY22-1350" fmla="*/ 144966 h 764110"/>
              <a:gd name="connsiteX23-1351" fmla="*/ 1181549 w 1192700"/>
              <a:gd name="connsiteY23-1352" fmla="*/ 55757 h 764110"/>
              <a:gd name="connsiteX24-1353" fmla="*/ 1181549 w 1192700"/>
              <a:gd name="connsiteY24-1354" fmla="*/ 55757 h 764110"/>
              <a:gd name="connsiteX25-1355" fmla="*/ 1058885 w 1192700"/>
              <a:gd name="connsiteY25-1356" fmla="*/ 78059 h 764110"/>
              <a:gd name="connsiteX26-1357" fmla="*/ 958524 w 1192700"/>
              <a:gd name="connsiteY26-1358" fmla="*/ 78059 h 764110"/>
              <a:gd name="connsiteX27-1359" fmla="*/ 958524 w 1192700"/>
              <a:gd name="connsiteY27-1360" fmla="*/ 0 h 764110"/>
              <a:gd name="connsiteX28-1361" fmla="*/ 835861 w 1192700"/>
              <a:gd name="connsiteY28-1362" fmla="*/ 44605 h 764110"/>
              <a:gd name="connsiteX29-1363" fmla="*/ 702046 w 1192700"/>
              <a:gd name="connsiteY29-1364" fmla="*/ 78059 h 764110"/>
              <a:gd name="connsiteX30-1365" fmla="*/ 601685 w 1192700"/>
              <a:gd name="connsiteY30-1366" fmla="*/ 22303 h 764110"/>
              <a:gd name="connsiteX31-1367" fmla="*/ 512475 w 1192700"/>
              <a:gd name="connsiteY31-1368" fmla="*/ 89210 h 764110"/>
              <a:gd name="connsiteX32-1369" fmla="*/ 434417 w 1192700"/>
              <a:gd name="connsiteY32-1370" fmla="*/ 167269 h 764110"/>
              <a:gd name="connsiteX33-1371" fmla="*/ 389812 w 1192700"/>
              <a:gd name="connsiteY33-1372" fmla="*/ 289932 h 764110"/>
              <a:gd name="connsiteX34-1373" fmla="*/ 278300 w 1192700"/>
              <a:gd name="connsiteY34-1374" fmla="*/ 234176 h 764110"/>
              <a:gd name="connsiteX0-1375" fmla="*/ 278300 w 1192700"/>
              <a:gd name="connsiteY0-1376" fmla="*/ 234176 h 764110"/>
              <a:gd name="connsiteX1-1377" fmla="*/ 334056 w 1192700"/>
              <a:gd name="connsiteY1-1378" fmla="*/ 323386 h 764110"/>
              <a:gd name="connsiteX2-1379" fmla="*/ 311754 w 1192700"/>
              <a:gd name="connsiteY2-1380" fmla="*/ 468352 h 764110"/>
              <a:gd name="connsiteX3-1381" fmla="*/ 311882 w 1192700"/>
              <a:gd name="connsiteY3-1382" fmla="*/ 474231 h 764110"/>
              <a:gd name="connsiteX4-1383" fmla="*/ 249985 w 1192700"/>
              <a:gd name="connsiteY4-1384" fmla="*/ 544068 h 764110"/>
              <a:gd name="connsiteX5-1385" fmla="*/ 293636 w 1192700"/>
              <a:gd name="connsiteY5-1386" fmla="*/ 657091 h 764110"/>
              <a:gd name="connsiteX6-1387" fmla="*/ 456719 w 1192700"/>
              <a:gd name="connsiteY6-1388" fmla="*/ 735150 h 764110"/>
              <a:gd name="connsiteX7-1389" fmla="*/ 590534 w 1192700"/>
              <a:gd name="connsiteY7-1390" fmla="*/ 535259 h 764110"/>
              <a:gd name="connsiteX8-1391" fmla="*/ 675500 w 1192700"/>
              <a:gd name="connsiteY8-1392" fmla="*/ 567880 h 764110"/>
              <a:gd name="connsiteX9-1393" fmla="*/ 753848 w 1192700"/>
              <a:gd name="connsiteY9-1394" fmla="*/ 610410 h 764110"/>
              <a:gd name="connsiteX10-1395" fmla="*/ 822322 w 1192700"/>
              <a:gd name="connsiteY10-1396" fmla="*/ 665900 h 764110"/>
              <a:gd name="connsiteX11-1397" fmla="*/ 923876 w 1192700"/>
              <a:gd name="connsiteY11-1398" fmla="*/ 764110 h 764110"/>
              <a:gd name="connsiteX12-1399" fmla="*/ 819450 w 1192700"/>
              <a:gd name="connsiteY12-1400" fmla="*/ 665900 h 764110"/>
              <a:gd name="connsiteX13-1401" fmla="*/ 929873 w 1192700"/>
              <a:gd name="connsiteY13-1402" fmla="*/ 584202 h 764110"/>
              <a:gd name="connsiteX14-1403" fmla="*/ 942831 w 1192700"/>
              <a:gd name="connsiteY14-1404" fmla="*/ 587152 h 764110"/>
              <a:gd name="connsiteX15-1405" fmla="*/ 955211 w 1192700"/>
              <a:gd name="connsiteY15-1406" fmla="*/ 581333 h 764110"/>
              <a:gd name="connsiteX16-1407" fmla="*/ 1020012 w 1192700"/>
              <a:gd name="connsiteY16-1408" fmla="*/ 526225 h 764110"/>
              <a:gd name="connsiteX17-1409" fmla="*/ 891617 w 1192700"/>
              <a:gd name="connsiteY17-1410" fmla="*/ 412596 h 764110"/>
              <a:gd name="connsiteX18-1411" fmla="*/ 1025432 w 1192700"/>
              <a:gd name="connsiteY18-1412" fmla="*/ 278781 h 764110"/>
              <a:gd name="connsiteX19-1413" fmla="*/ 1192700 w 1192700"/>
              <a:gd name="connsiteY19-1414" fmla="*/ 323386 h 764110"/>
              <a:gd name="connsiteX20-1415" fmla="*/ 1114641 w 1192700"/>
              <a:gd name="connsiteY20-1416" fmla="*/ 223025 h 764110"/>
              <a:gd name="connsiteX21-1417" fmla="*/ 1192700 w 1192700"/>
              <a:gd name="connsiteY21-1418" fmla="*/ 211874 h 764110"/>
              <a:gd name="connsiteX22-1419" fmla="*/ 1092339 w 1192700"/>
              <a:gd name="connsiteY22-1420" fmla="*/ 144966 h 764110"/>
              <a:gd name="connsiteX23-1421" fmla="*/ 1181549 w 1192700"/>
              <a:gd name="connsiteY23-1422" fmla="*/ 55757 h 764110"/>
              <a:gd name="connsiteX24-1423" fmla="*/ 1181549 w 1192700"/>
              <a:gd name="connsiteY24-1424" fmla="*/ 55757 h 764110"/>
              <a:gd name="connsiteX25-1425" fmla="*/ 1058885 w 1192700"/>
              <a:gd name="connsiteY25-1426" fmla="*/ 78059 h 764110"/>
              <a:gd name="connsiteX26-1427" fmla="*/ 958524 w 1192700"/>
              <a:gd name="connsiteY26-1428" fmla="*/ 78059 h 764110"/>
              <a:gd name="connsiteX27-1429" fmla="*/ 958524 w 1192700"/>
              <a:gd name="connsiteY27-1430" fmla="*/ 0 h 764110"/>
              <a:gd name="connsiteX28-1431" fmla="*/ 835861 w 1192700"/>
              <a:gd name="connsiteY28-1432" fmla="*/ 44605 h 764110"/>
              <a:gd name="connsiteX29-1433" fmla="*/ 702046 w 1192700"/>
              <a:gd name="connsiteY29-1434" fmla="*/ 78059 h 764110"/>
              <a:gd name="connsiteX30-1435" fmla="*/ 601685 w 1192700"/>
              <a:gd name="connsiteY30-1436" fmla="*/ 22303 h 764110"/>
              <a:gd name="connsiteX31-1437" fmla="*/ 512475 w 1192700"/>
              <a:gd name="connsiteY31-1438" fmla="*/ 89210 h 764110"/>
              <a:gd name="connsiteX32-1439" fmla="*/ 434417 w 1192700"/>
              <a:gd name="connsiteY32-1440" fmla="*/ 167269 h 764110"/>
              <a:gd name="connsiteX33-1441" fmla="*/ 389812 w 1192700"/>
              <a:gd name="connsiteY33-1442" fmla="*/ 289932 h 764110"/>
              <a:gd name="connsiteX34-1443" fmla="*/ 278300 w 1192700"/>
              <a:gd name="connsiteY34-1444" fmla="*/ 234176 h 764110"/>
              <a:gd name="connsiteX0-1445" fmla="*/ 278300 w 1192700"/>
              <a:gd name="connsiteY0-1446" fmla="*/ 234176 h 764110"/>
              <a:gd name="connsiteX1-1447" fmla="*/ 334056 w 1192700"/>
              <a:gd name="connsiteY1-1448" fmla="*/ 323386 h 764110"/>
              <a:gd name="connsiteX2-1449" fmla="*/ 311754 w 1192700"/>
              <a:gd name="connsiteY2-1450" fmla="*/ 468352 h 764110"/>
              <a:gd name="connsiteX3-1451" fmla="*/ 311882 w 1192700"/>
              <a:gd name="connsiteY3-1452" fmla="*/ 474231 h 764110"/>
              <a:gd name="connsiteX4-1453" fmla="*/ 249985 w 1192700"/>
              <a:gd name="connsiteY4-1454" fmla="*/ 544068 h 764110"/>
              <a:gd name="connsiteX5-1455" fmla="*/ 293636 w 1192700"/>
              <a:gd name="connsiteY5-1456" fmla="*/ 657091 h 764110"/>
              <a:gd name="connsiteX6-1457" fmla="*/ 456719 w 1192700"/>
              <a:gd name="connsiteY6-1458" fmla="*/ 735150 h 764110"/>
              <a:gd name="connsiteX7-1459" fmla="*/ 590534 w 1192700"/>
              <a:gd name="connsiteY7-1460" fmla="*/ 535259 h 764110"/>
              <a:gd name="connsiteX8-1461" fmla="*/ 675500 w 1192700"/>
              <a:gd name="connsiteY8-1462" fmla="*/ 567880 h 764110"/>
              <a:gd name="connsiteX9-1463" fmla="*/ 753848 w 1192700"/>
              <a:gd name="connsiteY9-1464" fmla="*/ 610410 h 764110"/>
              <a:gd name="connsiteX10-1465" fmla="*/ 822322 w 1192700"/>
              <a:gd name="connsiteY10-1466" fmla="*/ 665900 h 764110"/>
              <a:gd name="connsiteX11-1467" fmla="*/ 923876 w 1192700"/>
              <a:gd name="connsiteY11-1468" fmla="*/ 764110 h 764110"/>
              <a:gd name="connsiteX12-1469" fmla="*/ 819450 w 1192700"/>
              <a:gd name="connsiteY12-1470" fmla="*/ 665900 h 764110"/>
              <a:gd name="connsiteX13-1471" fmla="*/ 929873 w 1192700"/>
              <a:gd name="connsiteY13-1472" fmla="*/ 584202 h 764110"/>
              <a:gd name="connsiteX14-1473" fmla="*/ 942831 w 1192700"/>
              <a:gd name="connsiteY14-1474" fmla="*/ 587152 h 764110"/>
              <a:gd name="connsiteX15-1475" fmla="*/ 955211 w 1192700"/>
              <a:gd name="connsiteY15-1476" fmla="*/ 581333 h 764110"/>
              <a:gd name="connsiteX16-1477" fmla="*/ 1020012 w 1192700"/>
              <a:gd name="connsiteY16-1478" fmla="*/ 526225 h 764110"/>
              <a:gd name="connsiteX17-1479" fmla="*/ 1085990 w 1192700"/>
              <a:gd name="connsiteY17-1480" fmla="*/ 595354 h 764110"/>
              <a:gd name="connsiteX18-1481" fmla="*/ 1025432 w 1192700"/>
              <a:gd name="connsiteY18-1482" fmla="*/ 278781 h 764110"/>
              <a:gd name="connsiteX19-1483" fmla="*/ 1192700 w 1192700"/>
              <a:gd name="connsiteY19-1484" fmla="*/ 323386 h 764110"/>
              <a:gd name="connsiteX20-1485" fmla="*/ 1114641 w 1192700"/>
              <a:gd name="connsiteY20-1486" fmla="*/ 223025 h 764110"/>
              <a:gd name="connsiteX21-1487" fmla="*/ 1192700 w 1192700"/>
              <a:gd name="connsiteY21-1488" fmla="*/ 211874 h 764110"/>
              <a:gd name="connsiteX22-1489" fmla="*/ 1092339 w 1192700"/>
              <a:gd name="connsiteY22-1490" fmla="*/ 144966 h 764110"/>
              <a:gd name="connsiteX23-1491" fmla="*/ 1181549 w 1192700"/>
              <a:gd name="connsiteY23-1492" fmla="*/ 55757 h 764110"/>
              <a:gd name="connsiteX24-1493" fmla="*/ 1181549 w 1192700"/>
              <a:gd name="connsiteY24-1494" fmla="*/ 55757 h 764110"/>
              <a:gd name="connsiteX25-1495" fmla="*/ 1058885 w 1192700"/>
              <a:gd name="connsiteY25-1496" fmla="*/ 78059 h 764110"/>
              <a:gd name="connsiteX26-1497" fmla="*/ 958524 w 1192700"/>
              <a:gd name="connsiteY26-1498" fmla="*/ 78059 h 764110"/>
              <a:gd name="connsiteX27-1499" fmla="*/ 958524 w 1192700"/>
              <a:gd name="connsiteY27-1500" fmla="*/ 0 h 764110"/>
              <a:gd name="connsiteX28-1501" fmla="*/ 835861 w 1192700"/>
              <a:gd name="connsiteY28-1502" fmla="*/ 44605 h 764110"/>
              <a:gd name="connsiteX29-1503" fmla="*/ 702046 w 1192700"/>
              <a:gd name="connsiteY29-1504" fmla="*/ 78059 h 764110"/>
              <a:gd name="connsiteX30-1505" fmla="*/ 601685 w 1192700"/>
              <a:gd name="connsiteY30-1506" fmla="*/ 22303 h 764110"/>
              <a:gd name="connsiteX31-1507" fmla="*/ 512475 w 1192700"/>
              <a:gd name="connsiteY31-1508" fmla="*/ 89210 h 764110"/>
              <a:gd name="connsiteX32-1509" fmla="*/ 434417 w 1192700"/>
              <a:gd name="connsiteY32-1510" fmla="*/ 167269 h 764110"/>
              <a:gd name="connsiteX33-1511" fmla="*/ 389812 w 1192700"/>
              <a:gd name="connsiteY33-1512" fmla="*/ 289932 h 764110"/>
              <a:gd name="connsiteX34-1513" fmla="*/ 278300 w 1192700"/>
              <a:gd name="connsiteY34-1514" fmla="*/ 234176 h 764110"/>
              <a:gd name="connsiteX0-1515" fmla="*/ 278300 w 1192700"/>
              <a:gd name="connsiteY0-1516" fmla="*/ 234176 h 764110"/>
              <a:gd name="connsiteX1-1517" fmla="*/ 334056 w 1192700"/>
              <a:gd name="connsiteY1-1518" fmla="*/ 323386 h 764110"/>
              <a:gd name="connsiteX2-1519" fmla="*/ 311754 w 1192700"/>
              <a:gd name="connsiteY2-1520" fmla="*/ 468352 h 764110"/>
              <a:gd name="connsiteX3-1521" fmla="*/ 311882 w 1192700"/>
              <a:gd name="connsiteY3-1522" fmla="*/ 474231 h 764110"/>
              <a:gd name="connsiteX4-1523" fmla="*/ 249985 w 1192700"/>
              <a:gd name="connsiteY4-1524" fmla="*/ 544068 h 764110"/>
              <a:gd name="connsiteX5-1525" fmla="*/ 293636 w 1192700"/>
              <a:gd name="connsiteY5-1526" fmla="*/ 657091 h 764110"/>
              <a:gd name="connsiteX6-1527" fmla="*/ 456719 w 1192700"/>
              <a:gd name="connsiteY6-1528" fmla="*/ 735150 h 764110"/>
              <a:gd name="connsiteX7-1529" fmla="*/ 590534 w 1192700"/>
              <a:gd name="connsiteY7-1530" fmla="*/ 535259 h 764110"/>
              <a:gd name="connsiteX8-1531" fmla="*/ 675500 w 1192700"/>
              <a:gd name="connsiteY8-1532" fmla="*/ 567880 h 764110"/>
              <a:gd name="connsiteX9-1533" fmla="*/ 753848 w 1192700"/>
              <a:gd name="connsiteY9-1534" fmla="*/ 610410 h 764110"/>
              <a:gd name="connsiteX10-1535" fmla="*/ 822322 w 1192700"/>
              <a:gd name="connsiteY10-1536" fmla="*/ 665900 h 764110"/>
              <a:gd name="connsiteX11-1537" fmla="*/ 923876 w 1192700"/>
              <a:gd name="connsiteY11-1538" fmla="*/ 764110 h 764110"/>
              <a:gd name="connsiteX12-1539" fmla="*/ 819450 w 1192700"/>
              <a:gd name="connsiteY12-1540" fmla="*/ 665900 h 764110"/>
              <a:gd name="connsiteX13-1541" fmla="*/ 929873 w 1192700"/>
              <a:gd name="connsiteY13-1542" fmla="*/ 584202 h 764110"/>
              <a:gd name="connsiteX14-1543" fmla="*/ 942831 w 1192700"/>
              <a:gd name="connsiteY14-1544" fmla="*/ 587152 h 764110"/>
              <a:gd name="connsiteX15-1545" fmla="*/ 955211 w 1192700"/>
              <a:gd name="connsiteY15-1546" fmla="*/ 581333 h 764110"/>
              <a:gd name="connsiteX16-1547" fmla="*/ 1020012 w 1192700"/>
              <a:gd name="connsiteY16-1548" fmla="*/ 526225 h 764110"/>
              <a:gd name="connsiteX17-1549" fmla="*/ 1085990 w 1192700"/>
              <a:gd name="connsiteY17-1550" fmla="*/ 595354 h 764110"/>
              <a:gd name="connsiteX18-1551" fmla="*/ 1025432 w 1192700"/>
              <a:gd name="connsiteY18-1552" fmla="*/ 278781 h 764110"/>
              <a:gd name="connsiteX19-1553" fmla="*/ 1192700 w 1192700"/>
              <a:gd name="connsiteY19-1554" fmla="*/ 323386 h 764110"/>
              <a:gd name="connsiteX20-1555" fmla="*/ 1114641 w 1192700"/>
              <a:gd name="connsiteY20-1556" fmla="*/ 223025 h 764110"/>
              <a:gd name="connsiteX21-1557" fmla="*/ 1192700 w 1192700"/>
              <a:gd name="connsiteY21-1558" fmla="*/ 211874 h 764110"/>
              <a:gd name="connsiteX22-1559" fmla="*/ 1092339 w 1192700"/>
              <a:gd name="connsiteY22-1560" fmla="*/ 144966 h 764110"/>
              <a:gd name="connsiteX23-1561" fmla="*/ 1181549 w 1192700"/>
              <a:gd name="connsiteY23-1562" fmla="*/ 55757 h 764110"/>
              <a:gd name="connsiteX24-1563" fmla="*/ 1181549 w 1192700"/>
              <a:gd name="connsiteY24-1564" fmla="*/ 55757 h 764110"/>
              <a:gd name="connsiteX25-1565" fmla="*/ 1058885 w 1192700"/>
              <a:gd name="connsiteY25-1566" fmla="*/ 78059 h 764110"/>
              <a:gd name="connsiteX26-1567" fmla="*/ 958524 w 1192700"/>
              <a:gd name="connsiteY26-1568" fmla="*/ 78059 h 764110"/>
              <a:gd name="connsiteX27-1569" fmla="*/ 958524 w 1192700"/>
              <a:gd name="connsiteY27-1570" fmla="*/ 0 h 764110"/>
              <a:gd name="connsiteX28-1571" fmla="*/ 835861 w 1192700"/>
              <a:gd name="connsiteY28-1572" fmla="*/ 44605 h 764110"/>
              <a:gd name="connsiteX29-1573" fmla="*/ 702046 w 1192700"/>
              <a:gd name="connsiteY29-1574" fmla="*/ 78059 h 764110"/>
              <a:gd name="connsiteX30-1575" fmla="*/ 601685 w 1192700"/>
              <a:gd name="connsiteY30-1576" fmla="*/ 22303 h 764110"/>
              <a:gd name="connsiteX31-1577" fmla="*/ 512475 w 1192700"/>
              <a:gd name="connsiteY31-1578" fmla="*/ 89210 h 764110"/>
              <a:gd name="connsiteX32-1579" fmla="*/ 434417 w 1192700"/>
              <a:gd name="connsiteY32-1580" fmla="*/ 167269 h 764110"/>
              <a:gd name="connsiteX33-1581" fmla="*/ 389812 w 1192700"/>
              <a:gd name="connsiteY33-1582" fmla="*/ 289932 h 764110"/>
              <a:gd name="connsiteX34-1583" fmla="*/ 278300 w 1192700"/>
              <a:gd name="connsiteY34-1584" fmla="*/ 234176 h 764110"/>
              <a:gd name="connsiteX0-1585" fmla="*/ 278300 w 1192700"/>
              <a:gd name="connsiteY0-1586" fmla="*/ 234176 h 764110"/>
              <a:gd name="connsiteX1-1587" fmla="*/ 334056 w 1192700"/>
              <a:gd name="connsiteY1-1588" fmla="*/ 323386 h 764110"/>
              <a:gd name="connsiteX2-1589" fmla="*/ 311754 w 1192700"/>
              <a:gd name="connsiteY2-1590" fmla="*/ 468352 h 764110"/>
              <a:gd name="connsiteX3-1591" fmla="*/ 311882 w 1192700"/>
              <a:gd name="connsiteY3-1592" fmla="*/ 474231 h 764110"/>
              <a:gd name="connsiteX4-1593" fmla="*/ 249985 w 1192700"/>
              <a:gd name="connsiteY4-1594" fmla="*/ 544068 h 764110"/>
              <a:gd name="connsiteX5-1595" fmla="*/ 293636 w 1192700"/>
              <a:gd name="connsiteY5-1596" fmla="*/ 657091 h 764110"/>
              <a:gd name="connsiteX6-1597" fmla="*/ 456719 w 1192700"/>
              <a:gd name="connsiteY6-1598" fmla="*/ 735150 h 764110"/>
              <a:gd name="connsiteX7-1599" fmla="*/ 590534 w 1192700"/>
              <a:gd name="connsiteY7-1600" fmla="*/ 535259 h 764110"/>
              <a:gd name="connsiteX8-1601" fmla="*/ 675500 w 1192700"/>
              <a:gd name="connsiteY8-1602" fmla="*/ 567880 h 764110"/>
              <a:gd name="connsiteX9-1603" fmla="*/ 753848 w 1192700"/>
              <a:gd name="connsiteY9-1604" fmla="*/ 610410 h 764110"/>
              <a:gd name="connsiteX10-1605" fmla="*/ 822322 w 1192700"/>
              <a:gd name="connsiteY10-1606" fmla="*/ 665900 h 764110"/>
              <a:gd name="connsiteX11-1607" fmla="*/ 923876 w 1192700"/>
              <a:gd name="connsiteY11-1608" fmla="*/ 764110 h 764110"/>
              <a:gd name="connsiteX12-1609" fmla="*/ 819450 w 1192700"/>
              <a:gd name="connsiteY12-1610" fmla="*/ 665900 h 764110"/>
              <a:gd name="connsiteX13-1611" fmla="*/ 929873 w 1192700"/>
              <a:gd name="connsiteY13-1612" fmla="*/ 584202 h 764110"/>
              <a:gd name="connsiteX14-1613" fmla="*/ 942831 w 1192700"/>
              <a:gd name="connsiteY14-1614" fmla="*/ 587152 h 764110"/>
              <a:gd name="connsiteX15-1615" fmla="*/ 955211 w 1192700"/>
              <a:gd name="connsiteY15-1616" fmla="*/ 581333 h 764110"/>
              <a:gd name="connsiteX16-1617" fmla="*/ 1020012 w 1192700"/>
              <a:gd name="connsiteY16-1618" fmla="*/ 526225 h 764110"/>
              <a:gd name="connsiteX17-1619" fmla="*/ 1085990 w 1192700"/>
              <a:gd name="connsiteY17-1620" fmla="*/ 595354 h 764110"/>
              <a:gd name="connsiteX18-1621" fmla="*/ 1025432 w 1192700"/>
              <a:gd name="connsiteY18-1622" fmla="*/ 278781 h 764110"/>
              <a:gd name="connsiteX19-1623" fmla="*/ 1100866 w 1192700"/>
              <a:gd name="connsiteY19-1624" fmla="*/ 398190 h 764110"/>
              <a:gd name="connsiteX20-1625" fmla="*/ 1192700 w 1192700"/>
              <a:gd name="connsiteY20-1626" fmla="*/ 323386 h 764110"/>
              <a:gd name="connsiteX21-1627" fmla="*/ 1114641 w 1192700"/>
              <a:gd name="connsiteY21-1628" fmla="*/ 223025 h 764110"/>
              <a:gd name="connsiteX22-1629" fmla="*/ 1192700 w 1192700"/>
              <a:gd name="connsiteY22-1630" fmla="*/ 211874 h 764110"/>
              <a:gd name="connsiteX23-1631" fmla="*/ 1092339 w 1192700"/>
              <a:gd name="connsiteY23-1632" fmla="*/ 144966 h 764110"/>
              <a:gd name="connsiteX24-1633" fmla="*/ 1181549 w 1192700"/>
              <a:gd name="connsiteY24-1634" fmla="*/ 55757 h 764110"/>
              <a:gd name="connsiteX25-1635" fmla="*/ 1181549 w 1192700"/>
              <a:gd name="connsiteY25-1636" fmla="*/ 55757 h 764110"/>
              <a:gd name="connsiteX26-1637" fmla="*/ 1058885 w 1192700"/>
              <a:gd name="connsiteY26-1638" fmla="*/ 78059 h 764110"/>
              <a:gd name="connsiteX27-1639" fmla="*/ 958524 w 1192700"/>
              <a:gd name="connsiteY27-1640" fmla="*/ 78059 h 764110"/>
              <a:gd name="connsiteX28-1641" fmla="*/ 958524 w 1192700"/>
              <a:gd name="connsiteY28-1642" fmla="*/ 0 h 764110"/>
              <a:gd name="connsiteX29-1643" fmla="*/ 835861 w 1192700"/>
              <a:gd name="connsiteY29-1644" fmla="*/ 44605 h 764110"/>
              <a:gd name="connsiteX30-1645" fmla="*/ 702046 w 1192700"/>
              <a:gd name="connsiteY30-1646" fmla="*/ 78059 h 764110"/>
              <a:gd name="connsiteX31-1647" fmla="*/ 601685 w 1192700"/>
              <a:gd name="connsiteY31-1648" fmla="*/ 22303 h 764110"/>
              <a:gd name="connsiteX32-1649" fmla="*/ 512475 w 1192700"/>
              <a:gd name="connsiteY32-1650" fmla="*/ 89210 h 764110"/>
              <a:gd name="connsiteX33-1651" fmla="*/ 434417 w 1192700"/>
              <a:gd name="connsiteY33-1652" fmla="*/ 167269 h 764110"/>
              <a:gd name="connsiteX34-1653" fmla="*/ 389812 w 1192700"/>
              <a:gd name="connsiteY34-1654" fmla="*/ 289932 h 764110"/>
              <a:gd name="connsiteX35-1655" fmla="*/ 278300 w 1192700"/>
              <a:gd name="connsiteY35-1656" fmla="*/ 234176 h 764110"/>
              <a:gd name="connsiteX0-1657" fmla="*/ 1100866 w 1192700"/>
              <a:gd name="connsiteY0-1658" fmla="*/ 398190 h 764110"/>
              <a:gd name="connsiteX1-1659" fmla="*/ 1192700 w 1192700"/>
              <a:gd name="connsiteY1-1660" fmla="*/ 323386 h 764110"/>
              <a:gd name="connsiteX2-1661" fmla="*/ 1114641 w 1192700"/>
              <a:gd name="connsiteY2-1662" fmla="*/ 223025 h 764110"/>
              <a:gd name="connsiteX3-1663" fmla="*/ 1192700 w 1192700"/>
              <a:gd name="connsiteY3-1664" fmla="*/ 211874 h 764110"/>
              <a:gd name="connsiteX4-1665" fmla="*/ 1092339 w 1192700"/>
              <a:gd name="connsiteY4-1666" fmla="*/ 144966 h 764110"/>
              <a:gd name="connsiteX5-1667" fmla="*/ 1181549 w 1192700"/>
              <a:gd name="connsiteY5-1668" fmla="*/ 55757 h 764110"/>
              <a:gd name="connsiteX6-1669" fmla="*/ 1181549 w 1192700"/>
              <a:gd name="connsiteY6-1670" fmla="*/ 55757 h 764110"/>
              <a:gd name="connsiteX7-1671" fmla="*/ 1058885 w 1192700"/>
              <a:gd name="connsiteY7-1672" fmla="*/ 78059 h 764110"/>
              <a:gd name="connsiteX8-1673" fmla="*/ 958524 w 1192700"/>
              <a:gd name="connsiteY8-1674" fmla="*/ 78059 h 764110"/>
              <a:gd name="connsiteX9-1675" fmla="*/ 958524 w 1192700"/>
              <a:gd name="connsiteY9-1676" fmla="*/ 0 h 764110"/>
              <a:gd name="connsiteX10-1677" fmla="*/ 835861 w 1192700"/>
              <a:gd name="connsiteY10-1678" fmla="*/ 44605 h 764110"/>
              <a:gd name="connsiteX11-1679" fmla="*/ 702046 w 1192700"/>
              <a:gd name="connsiteY11-1680" fmla="*/ 78059 h 764110"/>
              <a:gd name="connsiteX12-1681" fmla="*/ 601685 w 1192700"/>
              <a:gd name="connsiteY12-1682" fmla="*/ 22303 h 764110"/>
              <a:gd name="connsiteX13-1683" fmla="*/ 512475 w 1192700"/>
              <a:gd name="connsiteY13-1684" fmla="*/ 89210 h 764110"/>
              <a:gd name="connsiteX14-1685" fmla="*/ 434417 w 1192700"/>
              <a:gd name="connsiteY14-1686" fmla="*/ 167269 h 764110"/>
              <a:gd name="connsiteX15-1687" fmla="*/ 389812 w 1192700"/>
              <a:gd name="connsiteY15-1688" fmla="*/ 289932 h 764110"/>
              <a:gd name="connsiteX16-1689" fmla="*/ 278300 w 1192700"/>
              <a:gd name="connsiteY16-1690" fmla="*/ 234176 h 764110"/>
              <a:gd name="connsiteX17-1691" fmla="*/ 334056 w 1192700"/>
              <a:gd name="connsiteY17-1692" fmla="*/ 323386 h 764110"/>
              <a:gd name="connsiteX18-1693" fmla="*/ 311754 w 1192700"/>
              <a:gd name="connsiteY18-1694" fmla="*/ 468352 h 764110"/>
              <a:gd name="connsiteX19-1695" fmla="*/ 311882 w 1192700"/>
              <a:gd name="connsiteY19-1696" fmla="*/ 474231 h 764110"/>
              <a:gd name="connsiteX20-1697" fmla="*/ 249985 w 1192700"/>
              <a:gd name="connsiteY20-1698" fmla="*/ 544068 h 764110"/>
              <a:gd name="connsiteX21-1699" fmla="*/ 293636 w 1192700"/>
              <a:gd name="connsiteY21-1700" fmla="*/ 657091 h 764110"/>
              <a:gd name="connsiteX22-1701" fmla="*/ 456719 w 1192700"/>
              <a:gd name="connsiteY22-1702" fmla="*/ 735150 h 764110"/>
              <a:gd name="connsiteX23-1703" fmla="*/ 590534 w 1192700"/>
              <a:gd name="connsiteY23-1704" fmla="*/ 535259 h 764110"/>
              <a:gd name="connsiteX24-1705" fmla="*/ 675500 w 1192700"/>
              <a:gd name="connsiteY24-1706" fmla="*/ 567880 h 764110"/>
              <a:gd name="connsiteX25-1707" fmla="*/ 753848 w 1192700"/>
              <a:gd name="connsiteY25-1708" fmla="*/ 610410 h 764110"/>
              <a:gd name="connsiteX26-1709" fmla="*/ 822322 w 1192700"/>
              <a:gd name="connsiteY26-1710" fmla="*/ 665900 h 764110"/>
              <a:gd name="connsiteX27-1711" fmla="*/ 923876 w 1192700"/>
              <a:gd name="connsiteY27-1712" fmla="*/ 764110 h 764110"/>
              <a:gd name="connsiteX28-1713" fmla="*/ 819450 w 1192700"/>
              <a:gd name="connsiteY28-1714" fmla="*/ 665900 h 764110"/>
              <a:gd name="connsiteX29-1715" fmla="*/ 929873 w 1192700"/>
              <a:gd name="connsiteY29-1716" fmla="*/ 584202 h 764110"/>
              <a:gd name="connsiteX30-1717" fmla="*/ 942831 w 1192700"/>
              <a:gd name="connsiteY30-1718" fmla="*/ 587152 h 764110"/>
              <a:gd name="connsiteX31-1719" fmla="*/ 955211 w 1192700"/>
              <a:gd name="connsiteY31-1720" fmla="*/ 581333 h 764110"/>
              <a:gd name="connsiteX32-1721" fmla="*/ 1020012 w 1192700"/>
              <a:gd name="connsiteY32-1722" fmla="*/ 526225 h 764110"/>
              <a:gd name="connsiteX33-1723" fmla="*/ 1085990 w 1192700"/>
              <a:gd name="connsiteY33-1724" fmla="*/ 595354 h 764110"/>
              <a:gd name="connsiteX34-1725" fmla="*/ 1108376 w 1192700"/>
              <a:gd name="connsiteY34-1726" fmla="*/ 356766 h 764110"/>
              <a:gd name="connsiteX0-1727" fmla="*/ 1100866 w 1192700"/>
              <a:gd name="connsiteY0-1728" fmla="*/ 398190 h 764110"/>
              <a:gd name="connsiteX1-1729" fmla="*/ 1192700 w 1192700"/>
              <a:gd name="connsiteY1-1730" fmla="*/ 323386 h 764110"/>
              <a:gd name="connsiteX2-1731" fmla="*/ 1114641 w 1192700"/>
              <a:gd name="connsiteY2-1732" fmla="*/ 223025 h 764110"/>
              <a:gd name="connsiteX3-1733" fmla="*/ 1192700 w 1192700"/>
              <a:gd name="connsiteY3-1734" fmla="*/ 211874 h 764110"/>
              <a:gd name="connsiteX4-1735" fmla="*/ 1092339 w 1192700"/>
              <a:gd name="connsiteY4-1736" fmla="*/ 144966 h 764110"/>
              <a:gd name="connsiteX5-1737" fmla="*/ 1181549 w 1192700"/>
              <a:gd name="connsiteY5-1738" fmla="*/ 55757 h 764110"/>
              <a:gd name="connsiteX6-1739" fmla="*/ 1181549 w 1192700"/>
              <a:gd name="connsiteY6-1740" fmla="*/ 55757 h 764110"/>
              <a:gd name="connsiteX7-1741" fmla="*/ 1058885 w 1192700"/>
              <a:gd name="connsiteY7-1742" fmla="*/ 78059 h 764110"/>
              <a:gd name="connsiteX8-1743" fmla="*/ 958524 w 1192700"/>
              <a:gd name="connsiteY8-1744" fmla="*/ 78059 h 764110"/>
              <a:gd name="connsiteX9-1745" fmla="*/ 958524 w 1192700"/>
              <a:gd name="connsiteY9-1746" fmla="*/ 0 h 764110"/>
              <a:gd name="connsiteX10-1747" fmla="*/ 835861 w 1192700"/>
              <a:gd name="connsiteY10-1748" fmla="*/ 44605 h 764110"/>
              <a:gd name="connsiteX11-1749" fmla="*/ 702046 w 1192700"/>
              <a:gd name="connsiteY11-1750" fmla="*/ 78059 h 764110"/>
              <a:gd name="connsiteX12-1751" fmla="*/ 601685 w 1192700"/>
              <a:gd name="connsiteY12-1752" fmla="*/ 22303 h 764110"/>
              <a:gd name="connsiteX13-1753" fmla="*/ 512475 w 1192700"/>
              <a:gd name="connsiteY13-1754" fmla="*/ 89210 h 764110"/>
              <a:gd name="connsiteX14-1755" fmla="*/ 434417 w 1192700"/>
              <a:gd name="connsiteY14-1756" fmla="*/ 167269 h 764110"/>
              <a:gd name="connsiteX15-1757" fmla="*/ 389812 w 1192700"/>
              <a:gd name="connsiteY15-1758" fmla="*/ 289932 h 764110"/>
              <a:gd name="connsiteX16-1759" fmla="*/ 278300 w 1192700"/>
              <a:gd name="connsiteY16-1760" fmla="*/ 234176 h 764110"/>
              <a:gd name="connsiteX17-1761" fmla="*/ 334056 w 1192700"/>
              <a:gd name="connsiteY17-1762" fmla="*/ 323386 h 764110"/>
              <a:gd name="connsiteX18-1763" fmla="*/ 311754 w 1192700"/>
              <a:gd name="connsiteY18-1764" fmla="*/ 468352 h 764110"/>
              <a:gd name="connsiteX19-1765" fmla="*/ 311882 w 1192700"/>
              <a:gd name="connsiteY19-1766" fmla="*/ 474231 h 764110"/>
              <a:gd name="connsiteX20-1767" fmla="*/ 249985 w 1192700"/>
              <a:gd name="connsiteY20-1768" fmla="*/ 544068 h 764110"/>
              <a:gd name="connsiteX21-1769" fmla="*/ 225225 w 1192700"/>
              <a:gd name="connsiteY21-1770" fmla="*/ 538248 h 764110"/>
              <a:gd name="connsiteX22-1771" fmla="*/ 293636 w 1192700"/>
              <a:gd name="connsiteY22-1772" fmla="*/ 657091 h 764110"/>
              <a:gd name="connsiteX23-1773" fmla="*/ 456719 w 1192700"/>
              <a:gd name="connsiteY23-1774" fmla="*/ 735150 h 764110"/>
              <a:gd name="connsiteX24-1775" fmla="*/ 590534 w 1192700"/>
              <a:gd name="connsiteY24-1776" fmla="*/ 535259 h 764110"/>
              <a:gd name="connsiteX25-1777" fmla="*/ 675500 w 1192700"/>
              <a:gd name="connsiteY25-1778" fmla="*/ 567880 h 764110"/>
              <a:gd name="connsiteX26-1779" fmla="*/ 753848 w 1192700"/>
              <a:gd name="connsiteY26-1780" fmla="*/ 610410 h 764110"/>
              <a:gd name="connsiteX27-1781" fmla="*/ 822322 w 1192700"/>
              <a:gd name="connsiteY27-1782" fmla="*/ 665900 h 764110"/>
              <a:gd name="connsiteX28-1783" fmla="*/ 923876 w 1192700"/>
              <a:gd name="connsiteY28-1784" fmla="*/ 764110 h 764110"/>
              <a:gd name="connsiteX29-1785" fmla="*/ 819450 w 1192700"/>
              <a:gd name="connsiteY29-1786" fmla="*/ 665900 h 764110"/>
              <a:gd name="connsiteX30-1787" fmla="*/ 929873 w 1192700"/>
              <a:gd name="connsiteY30-1788" fmla="*/ 584202 h 764110"/>
              <a:gd name="connsiteX31-1789" fmla="*/ 942831 w 1192700"/>
              <a:gd name="connsiteY31-1790" fmla="*/ 587152 h 764110"/>
              <a:gd name="connsiteX32-1791" fmla="*/ 955211 w 1192700"/>
              <a:gd name="connsiteY32-1792" fmla="*/ 581333 h 764110"/>
              <a:gd name="connsiteX33-1793" fmla="*/ 1020012 w 1192700"/>
              <a:gd name="connsiteY33-1794" fmla="*/ 526225 h 764110"/>
              <a:gd name="connsiteX34-1795" fmla="*/ 1085990 w 1192700"/>
              <a:gd name="connsiteY34-1796" fmla="*/ 595354 h 764110"/>
              <a:gd name="connsiteX35-1797" fmla="*/ 1108376 w 1192700"/>
              <a:gd name="connsiteY35-1798" fmla="*/ 356766 h 764110"/>
              <a:gd name="connsiteX0-1799" fmla="*/ 1100866 w 1192700"/>
              <a:gd name="connsiteY0-1800" fmla="*/ 398190 h 764110"/>
              <a:gd name="connsiteX1-1801" fmla="*/ 1192700 w 1192700"/>
              <a:gd name="connsiteY1-1802" fmla="*/ 323386 h 764110"/>
              <a:gd name="connsiteX2-1803" fmla="*/ 1114641 w 1192700"/>
              <a:gd name="connsiteY2-1804" fmla="*/ 223025 h 764110"/>
              <a:gd name="connsiteX3-1805" fmla="*/ 1192700 w 1192700"/>
              <a:gd name="connsiteY3-1806" fmla="*/ 211874 h 764110"/>
              <a:gd name="connsiteX4-1807" fmla="*/ 1092339 w 1192700"/>
              <a:gd name="connsiteY4-1808" fmla="*/ 144966 h 764110"/>
              <a:gd name="connsiteX5-1809" fmla="*/ 1181549 w 1192700"/>
              <a:gd name="connsiteY5-1810" fmla="*/ 55757 h 764110"/>
              <a:gd name="connsiteX6-1811" fmla="*/ 1181549 w 1192700"/>
              <a:gd name="connsiteY6-1812" fmla="*/ 55757 h 764110"/>
              <a:gd name="connsiteX7-1813" fmla="*/ 1058885 w 1192700"/>
              <a:gd name="connsiteY7-1814" fmla="*/ 78059 h 764110"/>
              <a:gd name="connsiteX8-1815" fmla="*/ 958524 w 1192700"/>
              <a:gd name="connsiteY8-1816" fmla="*/ 78059 h 764110"/>
              <a:gd name="connsiteX9-1817" fmla="*/ 958524 w 1192700"/>
              <a:gd name="connsiteY9-1818" fmla="*/ 0 h 764110"/>
              <a:gd name="connsiteX10-1819" fmla="*/ 835861 w 1192700"/>
              <a:gd name="connsiteY10-1820" fmla="*/ 44605 h 764110"/>
              <a:gd name="connsiteX11-1821" fmla="*/ 702046 w 1192700"/>
              <a:gd name="connsiteY11-1822" fmla="*/ 78059 h 764110"/>
              <a:gd name="connsiteX12-1823" fmla="*/ 601685 w 1192700"/>
              <a:gd name="connsiteY12-1824" fmla="*/ 22303 h 764110"/>
              <a:gd name="connsiteX13-1825" fmla="*/ 512475 w 1192700"/>
              <a:gd name="connsiteY13-1826" fmla="*/ 89210 h 764110"/>
              <a:gd name="connsiteX14-1827" fmla="*/ 434417 w 1192700"/>
              <a:gd name="connsiteY14-1828" fmla="*/ 167269 h 764110"/>
              <a:gd name="connsiteX15-1829" fmla="*/ 389812 w 1192700"/>
              <a:gd name="connsiteY15-1830" fmla="*/ 289932 h 764110"/>
              <a:gd name="connsiteX16-1831" fmla="*/ 278300 w 1192700"/>
              <a:gd name="connsiteY16-1832" fmla="*/ 234176 h 764110"/>
              <a:gd name="connsiteX17-1833" fmla="*/ 334056 w 1192700"/>
              <a:gd name="connsiteY17-1834" fmla="*/ 323386 h 764110"/>
              <a:gd name="connsiteX18-1835" fmla="*/ 311754 w 1192700"/>
              <a:gd name="connsiteY18-1836" fmla="*/ 468352 h 764110"/>
              <a:gd name="connsiteX19-1837" fmla="*/ 311882 w 1192700"/>
              <a:gd name="connsiteY19-1838" fmla="*/ 474231 h 764110"/>
              <a:gd name="connsiteX20-1839" fmla="*/ 249985 w 1192700"/>
              <a:gd name="connsiteY20-1840" fmla="*/ 544068 h 764110"/>
              <a:gd name="connsiteX21-1841" fmla="*/ 293636 w 1192700"/>
              <a:gd name="connsiteY21-1842" fmla="*/ 657091 h 764110"/>
              <a:gd name="connsiteX22-1843" fmla="*/ 456719 w 1192700"/>
              <a:gd name="connsiteY22-1844" fmla="*/ 735150 h 764110"/>
              <a:gd name="connsiteX23-1845" fmla="*/ 590534 w 1192700"/>
              <a:gd name="connsiteY23-1846" fmla="*/ 535259 h 764110"/>
              <a:gd name="connsiteX24-1847" fmla="*/ 675500 w 1192700"/>
              <a:gd name="connsiteY24-1848" fmla="*/ 567880 h 764110"/>
              <a:gd name="connsiteX25-1849" fmla="*/ 753848 w 1192700"/>
              <a:gd name="connsiteY25-1850" fmla="*/ 610410 h 764110"/>
              <a:gd name="connsiteX26-1851" fmla="*/ 822322 w 1192700"/>
              <a:gd name="connsiteY26-1852" fmla="*/ 665900 h 764110"/>
              <a:gd name="connsiteX27-1853" fmla="*/ 923876 w 1192700"/>
              <a:gd name="connsiteY27-1854" fmla="*/ 764110 h 764110"/>
              <a:gd name="connsiteX28-1855" fmla="*/ 819450 w 1192700"/>
              <a:gd name="connsiteY28-1856" fmla="*/ 665900 h 764110"/>
              <a:gd name="connsiteX29-1857" fmla="*/ 929873 w 1192700"/>
              <a:gd name="connsiteY29-1858" fmla="*/ 584202 h 764110"/>
              <a:gd name="connsiteX30-1859" fmla="*/ 942831 w 1192700"/>
              <a:gd name="connsiteY30-1860" fmla="*/ 587152 h 764110"/>
              <a:gd name="connsiteX31-1861" fmla="*/ 955211 w 1192700"/>
              <a:gd name="connsiteY31-1862" fmla="*/ 581333 h 764110"/>
              <a:gd name="connsiteX32-1863" fmla="*/ 1020012 w 1192700"/>
              <a:gd name="connsiteY32-1864" fmla="*/ 526225 h 764110"/>
              <a:gd name="connsiteX33-1865" fmla="*/ 1085990 w 1192700"/>
              <a:gd name="connsiteY33-1866" fmla="*/ 595354 h 764110"/>
              <a:gd name="connsiteX34-1867" fmla="*/ 1108376 w 1192700"/>
              <a:gd name="connsiteY34-1868" fmla="*/ 356766 h 764110"/>
              <a:gd name="connsiteX0-1869" fmla="*/ 1100865 w 1192699"/>
              <a:gd name="connsiteY0-1870" fmla="*/ 398190 h 764110"/>
              <a:gd name="connsiteX1-1871" fmla="*/ 1192699 w 1192699"/>
              <a:gd name="connsiteY1-1872" fmla="*/ 323386 h 764110"/>
              <a:gd name="connsiteX2-1873" fmla="*/ 1114640 w 1192699"/>
              <a:gd name="connsiteY2-1874" fmla="*/ 223025 h 764110"/>
              <a:gd name="connsiteX3-1875" fmla="*/ 1192699 w 1192699"/>
              <a:gd name="connsiteY3-1876" fmla="*/ 211874 h 764110"/>
              <a:gd name="connsiteX4-1877" fmla="*/ 1092338 w 1192699"/>
              <a:gd name="connsiteY4-1878" fmla="*/ 144966 h 764110"/>
              <a:gd name="connsiteX5-1879" fmla="*/ 1181548 w 1192699"/>
              <a:gd name="connsiteY5-1880" fmla="*/ 55757 h 764110"/>
              <a:gd name="connsiteX6-1881" fmla="*/ 1181548 w 1192699"/>
              <a:gd name="connsiteY6-1882" fmla="*/ 55757 h 764110"/>
              <a:gd name="connsiteX7-1883" fmla="*/ 1058884 w 1192699"/>
              <a:gd name="connsiteY7-1884" fmla="*/ 78059 h 764110"/>
              <a:gd name="connsiteX8-1885" fmla="*/ 958523 w 1192699"/>
              <a:gd name="connsiteY8-1886" fmla="*/ 78059 h 764110"/>
              <a:gd name="connsiteX9-1887" fmla="*/ 958523 w 1192699"/>
              <a:gd name="connsiteY9-1888" fmla="*/ 0 h 764110"/>
              <a:gd name="connsiteX10-1889" fmla="*/ 835860 w 1192699"/>
              <a:gd name="connsiteY10-1890" fmla="*/ 44605 h 764110"/>
              <a:gd name="connsiteX11-1891" fmla="*/ 702045 w 1192699"/>
              <a:gd name="connsiteY11-1892" fmla="*/ 78059 h 764110"/>
              <a:gd name="connsiteX12-1893" fmla="*/ 601684 w 1192699"/>
              <a:gd name="connsiteY12-1894" fmla="*/ 22303 h 764110"/>
              <a:gd name="connsiteX13-1895" fmla="*/ 512474 w 1192699"/>
              <a:gd name="connsiteY13-1896" fmla="*/ 89210 h 764110"/>
              <a:gd name="connsiteX14-1897" fmla="*/ 434416 w 1192699"/>
              <a:gd name="connsiteY14-1898" fmla="*/ 167269 h 764110"/>
              <a:gd name="connsiteX15-1899" fmla="*/ 389811 w 1192699"/>
              <a:gd name="connsiteY15-1900" fmla="*/ 289932 h 764110"/>
              <a:gd name="connsiteX16-1901" fmla="*/ 278299 w 1192699"/>
              <a:gd name="connsiteY16-1902" fmla="*/ 234176 h 764110"/>
              <a:gd name="connsiteX17-1903" fmla="*/ 334055 w 1192699"/>
              <a:gd name="connsiteY17-1904" fmla="*/ 323386 h 764110"/>
              <a:gd name="connsiteX18-1905" fmla="*/ 311753 w 1192699"/>
              <a:gd name="connsiteY18-1906" fmla="*/ 468352 h 764110"/>
              <a:gd name="connsiteX19-1907" fmla="*/ 311881 w 1192699"/>
              <a:gd name="connsiteY19-1908" fmla="*/ 474231 h 764110"/>
              <a:gd name="connsiteX20-1909" fmla="*/ 249985 w 1192699"/>
              <a:gd name="connsiteY20-1910" fmla="*/ 604974 h 764110"/>
              <a:gd name="connsiteX21-1911" fmla="*/ 293635 w 1192699"/>
              <a:gd name="connsiteY21-1912" fmla="*/ 657091 h 764110"/>
              <a:gd name="connsiteX22-1913" fmla="*/ 456718 w 1192699"/>
              <a:gd name="connsiteY22-1914" fmla="*/ 735150 h 764110"/>
              <a:gd name="connsiteX23-1915" fmla="*/ 590533 w 1192699"/>
              <a:gd name="connsiteY23-1916" fmla="*/ 535259 h 764110"/>
              <a:gd name="connsiteX24-1917" fmla="*/ 675499 w 1192699"/>
              <a:gd name="connsiteY24-1918" fmla="*/ 567880 h 764110"/>
              <a:gd name="connsiteX25-1919" fmla="*/ 753847 w 1192699"/>
              <a:gd name="connsiteY25-1920" fmla="*/ 610410 h 764110"/>
              <a:gd name="connsiteX26-1921" fmla="*/ 822321 w 1192699"/>
              <a:gd name="connsiteY26-1922" fmla="*/ 665900 h 764110"/>
              <a:gd name="connsiteX27-1923" fmla="*/ 923875 w 1192699"/>
              <a:gd name="connsiteY27-1924" fmla="*/ 764110 h 764110"/>
              <a:gd name="connsiteX28-1925" fmla="*/ 819449 w 1192699"/>
              <a:gd name="connsiteY28-1926" fmla="*/ 665900 h 764110"/>
              <a:gd name="connsiteX29-1927" fmla="*/ 929872 w 1192699"/>
              <a:gd name="connsiteY29-1928" fmla="*/ 584202 h 764110"/>
              <a:gd name="connsiteX30-1929" fmla="*/ 942830 w 1192699"/>
              <a:gd name="connsiteY30-1930" fmla="*/ 587152 h 764110"/>
              <a:gd name="connsiteX31-1931" fmla="*/ 955210 w 1192699"/>
              <a:gd name="connsiteY31-1932" fmla="*/ 581333 h 764110"/>
              <a:gd name="connsiteX32-1933" fmla="*/ 1020011 w 1192699"/>
              <a:gd name="connsiteY32-1934" fmla="*/ 526225 h 764110"/>
              <a:gd name="connsiteX33-1935" fmla="*/ 1085989 w 1192699"/>
              <a:gd name="connsiteY33-1936" fmla="*/ 595354 h 764110"/>
              <a:gd name="connsiteX34-1937" fmla="*/ 1108375 w 1192699"/>
              <a:gd name="connsiteY34-1938" fmla="*/ 356766 h 764110"/>
              <a:gd name="connsiteX0-1939" fmla="*/ 892147 w 983981"/>
              <a:gd name="connsiteY0-1940" fmla="*/ 398190 h 764110"/>
              <a:gd name="connsiteX1-1941" fmla="*/ 983981 w 983981"/>
              <a:gd name="connsiteY1-1942" fmla="*/ 323386 h 764110"/>
              <a:gd name="connsiteX2-1943" fmla="*/ 905922 w 983981"/>
              <a:gd name="connsiteY2-1944" fmla="*/ 223025 h 764110"/>
              <a:gd name="connsiteX3-1945" fmla="*/ 983981 w 983981"/>
              <a:gd name="connsiteY3-1946" fmla="*/ 211874 h 764110"/>
              <a:gd name="connsiteX4-1947" fmla="*/ 883620 w 983981"/>
              <a:gd name="connsiteY4-1948" fmla="*/ 144966 h 764110"/>
              <a:gd name="connsiteX5-1949" fmla="*/ 972830 w 983981"/>
              <a:gd name="connsiteY5-1950" fmla="*/ 55757 h 764110"/>
              <a:gd name="connsiteX6-1951" fmla="*/ 972830 w 983981"/>
              <a:gd name="connsiteY6-1952" fmla="*/ 55757 h 764110"/>
              <a:gd name="connsiteX7-1953" fmla="*/ 850166 w 983981"/>
              <a:gd name="connsiteY7-1954" fmla="*/ 78059 h 764110"/>
              <a:gd name="connsiteX8-1955" fmla="*/ 749805 w 983981"/>
              <a:gd name="connsiteY8-1956" fmla="*/ 78059 h 764110"/>
              <a:gd name="connsiteX9-1957" fmla="*/ 749805 w 983981"/>
              <a:gd name="connsiteY9-1958" fmla="*/ 0 h 764110"/>
              <a:gd name="connsiteX10-1959" fmla="*/ 627142 w 983981"/>
              <a:gd name="connsiteY10-1960" fmla="*/ 44605 h 764110"/>
              <a:gd name="connsiteX11-1961" fmla="*/ 493327 w 983981"/>
              <a:gd name="connsiteY11-1962" fmla="*/ 78059 h 764110"/>
              <a:gd name="connsiteX12-1963" fmla="*/ 392966 w 983981"/>
              <a:gd name="connsiteY12-1964" fmla="*/ 22303 h 764110"/>
              <a:gd name="connsiteX13-1965" fmla="*/ 303756 w 983981"/>
              <a:gd name="connsiteY13-1966" fmla="*/ 89210 h 764110"/>
              <a:gd name="connsiteX14-1967" fmla="*/ 225698 w 983981"/>
              <a:gd name="connsiteY14-1968" fmla="*/ 167269 h 764110"/>
              <a:gd name="connsiteX15-1969" fmla="*/ 181093 w 983981"/>
              <a:gd name="connsiteY15-1970" fmla="*/ 289932 h 764110"/>
              <a:gd name="connsiteX16-1971" fmla="*/ 69581 w 983981"/>
              <a:gd name="connsiteY16-1972" fmla="*/ 234176 h 764110"/>
              <a:gd name="connsiteX17-1973" fmla="*/ 125337 w 983981"/>
              <a:gd name="connsiteY17-1974" fmla="*/ 323386 h 764110"/>
              <a:gd name="connsiteX18-1975" fmla="*/ 103035 w 983981"/>
              <a:gd name="connsiteY18-1976" fmla="*/ 468352 h 764110"/>
              <a:gd name="connsiteX19-1977" fmla="*/ 103163 w 983981"/>
              <a:gd name="connsiteY19-1978" fmla="*/ 474231 h 764110"/>
              <a:gd name="connsiteX20-1979" fmla="*/ 10316 w 983981"/>
              <a:gd name="connsiteY20-1980" fmla="*/ 491690 h 764110"/>
              <a:gd name="connsiteX21-1981" fmla="*/ 41267 w 983981"/>
              <a:gd name="connsiteY21-1982" fmla="*/ 604974 h 764110"/>
              <a:gd name="connsiteX22-1983" fmla="*/ 84917 w 983981"/>
              <a:gd name="connsiteY22-1984" fmla="*/ 657091 h 764110"/>
              <a:gd name="connsiteX23-1985" fmla="*/ 248000 w 983981"/>
              <a:gd name="connsiteY23-1986" fmla="*/ 735150 h 764110"/>
              <a:gd name="connsiteX24-1987" fmla="*/ 381815 w 983981"/>
              <a:gd name="connsiteY24-1988" fmla="*/ 535259 h 764110"/>
              <a:gd name="connsiteX25-1989" fmla="*/ 466781 w 983981"/>
              <a:gd name="connsiteY25-1990" fmla="*/ 567880 h 764110"/>
              <a:gd name="connsiteX26-1991" fmla="*/ 545129 w 983981"/>
              <a:gd name="connsiteY26-1992" fmla="*/ 610410 h 764110"/>
              <a:gd name="connsiteX27-1993" fmla="*/ 613603 w 983981"/>
              <a:gd name="connsiteY27-1994" fmla="*/ 665900 h 764110"/>
              <a:gd name="connsiteX28-1995" fmla="*/ 715157 w 983981"/>
              <a:gd name="connsiteY28-1996" fmla="*/ 764110 h 764110"/>
              <a:gd name="connsiteX29-1997" fmla="*/ 610731 w 983981"/>
              <a:gd name="connsiteY29-1998" fmla="*/ 665900 h 764110"/>
              <a:gd name="connsiteX30-1999" fmla="*/ 721154 w 983981"/>
              <a:gd name="connsiteY30-2000" fmla="*/ 584202 h 764110"/>
              <a:gd name="connsiteX31-2001" fmla="*/ 734112 w 983981"/>
              <a:gd name="connsiteY31-2002" fmla="*/ 587152 h 764110"/>
              <a:gd name="connsiteX32-2003" fmla="*/ 746492 w 983981"/>
              <a:gd name="connsiteY32-2004" fmla="*/ 581333 h 764110"/>
              <a:gd name="connsiteX33-2005" fmla="*/ 811293 w 983981"/>
              <a:gd name="connsiteY33-2006" fmla="*/ 526225 h 764110"/>
              <a:gd name="connsiteX34-2007" fmla="*/ 877271 w 983981"/>
              <a:gd name="connsiteY34-2008" fmla="*/ 595354 h 764110"/>
              <a:gd name="connsiteX35-2009" fmla="*/ 899657 w 983981"/>
              <a:gd name="connsiteY35-2010" fmla="*/ 356766 h 764110"/>
              <a:gd name="connsiteX0-2011" fmla="*/ 968955 w 1060789"/>
              <a:gd name="connsiteY0-2012" fmla="*/ 398190 h 764110"/>
              <a:gd name="connsiteX1-2013" fmla="*/ 1060789 w 1060789"/>
              <a:gd name="connsiteY1-2014" fmla="*/ 323386 h 764110"/>
              <a:gd name="connsiteX2-2015" fmla="*/ 982730 w 1060789"/>
              <a:gd name="connsiteY2-2016" fmla="*/ 223025 h 764110"/>
              <a:gd name="connsiteX3-2017" fmla="*/ 1060789 w 1060789"/>
              <a:gd name="connsiteY3-2018" fmla="*/ 211874 h 764110"/>
              <a:gd name="connsiteX4-2019" fmla="*/ 960428 w 1060789"/>
              <a:gd name="connsiteY4-2020" fmla="*/ 144966 h 764110"/>
              <a:gd name="connsiteX5-2021" fmla="*/ 1049638 w 1060789"/>
              <a:gd name="connsiteY5-2022" fmla="*/ 55757 h 764110"/>
              <a:gd name="connsiteX6-2023" fmla="*/ 1049638 w 1060789"/>
              <a:gd name="connsiteY6-2024" fmla="*/ 55757 h 764110"/>
              <a:gd name="connsiteX7-2025" fmla="*/ 926974 w 1060789"/>
              <a:gd name="connsiteY7-2026" fmla="*/ 78059 h 764110"/>
              <a:gd name="connsiteX8-2027" fmla="*/ 826613 w 1060789"/>
              <a:gd name="connsiteY8-2028" fmla="*/ 78059 h 764110"/>
              <a:gd name="connsiteX9-2029" fmla="*/ 826613 w 1060789"/>
              <a:gd name="connsiteY9-2030" fmla="*/ 0 h 764110"/>
              <a:gd name="connsiteX10-2031" fmla="*/ 703950 w 1060789"/>
              <a:gd name="connsiteY10-2032" fmla="*/ 44605 h 764110"/>
              <a:gd name="connsiteX11-2033" fmla="*/ 570135 w 1060789"/>
              <a:gd name="connsiteY11-2034" fmla="*/ 78059 h 764110"/>
              <a:gd name="connsiteX12-2035" fmla="*/ 469774 w 1060789"/>
              <a:gd name="connsiteY12-2036" fmla="*/ 22303 h 764110"/>
              <a:gd name="connsiteX13-2037" fmla="*/ 380564 w 1060789"/>
              <a:gd name="connsiteY13-2038" fmla="*/ 89210 h 764110"/>
              <a:gd name="connsiteX14-2039" fmla="*/ 302506 w 1060789"/>
              <a:gd name="connsiteY14-2040" fmla="*/ 167269 h 764110"/>
              <a:gd name="connsiteX15-2041" fmla="*/ 257901 w 1060789"/>
              <a:gd name="connsiteY15-2042" fmla="*/ 289932 h 764110"/>
              <a:gd name="connsiteX16-2043" fmla="*/ 146389 w 1060789"/>
              <a:gd name="connsiteY16-2044" fmla="*/ 234176 h 764110"/>
              <a:gd name="connsiteX17-2045" fmla="*/ 202145 w 1060789"/>
              <a:gd name="connsiteY17-2046" fmla="*/ 323386 h 764110"/>
              <a:gd name="connsiteX18-2047" fmla="*/ 179843 w 1060789"/>
              <a:gd name="connsiteY18-2048" fmla="*/ 468352 h 764110"/>
              <a:gd name="connsiteX19-2049" fmla="*/ 179971 w 1060789"/>
              <a:gd name="connsiteY19-2050" fmla="*/ 474231 h 764110"/>
              <a:gd name="connsiteX20-2051" fmla="*/ 87124 w 1060789"/>
              <a:gd name="connsiteY20-2052" fmla="*/ 491690 h 764110"/>
              <a:gd name="connsiteX21-2053" fmla="*/ 118075 w 1060789"/>
              <a:gd name="connsiteY21-2054" fmla="*/ 604974 h 764110"/>
              <a:gd name="connsiteX22-2055" fmla="*/ 161725 w 1060789"/>
              <a:gd name="connsiteY22-2056" fmla="*/ 657091 h 764110"/>
              <a:gd name="connsiteX23-2057" fmla="*/ 324808 w 1060789"/>
              <a:gd name="connsiteY23-2058" fmla="*/ 735150 h 764110"/>
              <a:gd name="connsiteX24-2059" fmla="*/ 458623 w 1060789"/>
              <a:gd name="connsiteY24-2060" fmla="*/ 535259 h 764110"/>
              <a:gd name="connsiteX25-2061" fmla="*/ 543589 w 1060789"/>
              <a:gd name="connsiteY25-2062" fmla="*/ 567880 h 764110"/>
              <a:gd name="connsiteX26-2063" fmla="*/ 621937 w 1060789"/>
              <a:gd name="connsiteY26-2064" fmla="*/ 610410 h 764110"/>
              <a:gd name="connsiteX27-2065" fmla="*/ 690411 w 1060789"/>
              <a:gd name="connsiteY27-2066" fmla="*/ 665900 h 764110"/>
              <a:gd name="connsiteX28-2067" fmla="*/ 791965 w 1060789"/>
              <a:gd name="connsiteY28-2068" fmla="*/ 764110 h 764110"/>
              <a:gd name="connsiteX29-2069" fmla="*/ 687539 w 1060789"/>
              <a:gd name="connsiteY29-2070" fmla="*/ 665900 h 764110"/>
              <a:gd name="connsiteX30-2071" fmla="*/ 797962 w 1060789"/>
              <a:gd name="connsiteY30-2072" fmla="*/ 584202 h 764110"/>
              <a:gd name="connsiteX31-2073" fmla="*/ 810920 w 1060789"/>
              <a:gd name="connsiteY31-2074" fmla="*/ 587152 h 764110"/>
              <a:gd name="connsiteX32-2075" fmla="*/ 823300 w 1060789"/>
              <a:gd name="connsiteY32-2076" fmla="*/ 581333 h 764110"/>
              <a:gd name="connsiteX33-2077" fmla="*/ 888101 w 1060789"/>
              <a:gd name="connsiteY33-2078" fmla="*/ 526225 h 764110"/>
              <a:gd name="connsiteX34-2079" fmla="*/ 954079 w 1060789"/>
              <a:gd name="connsiteY34-2080" fmla="*/ 595354 h 764110"/>
              <a:gd name="connsiteX35-2081" fmla="*/ 976465 w 1060789"/>
              <a:gd name="connsiteY35-2082" fmla="*/ 356766 h 764110"/>
              <a:gd name="connsiteX0-2083" fmla="*/ 968955 w 1060789"/>
              <a:gd name="connsiteY0-2084" fmla="*/ 398190 h 749741"/>
              <a:gd name="connsiteX1-2085" fmla="*/ 1060789 w 1060789"/>
              <a:gd name="connsiteY1-2086" fmla="*/ 323386 h 749741"/>
              <a:gd name="connsiteX2-2087" fmla="*/ 982730 w 1060789"/>
              <a:gd name="connsiteY2-2088" fmla="*/ 223025 h 749741"/>
              <a:gd name="connsiteX3-2089" fmla="*/ 1060789 w 1060789"/>
              <a:gd name="connsiteY3-2090" fmla="*/ 211874 h 749741"/>
              <a:gd name="connsiteX4-2091" fmla="*/ 960428 w 1060789"/>
              <a:gd name="connsiteY4-2092" fmla="*/ 144966 h 749741"/>
              <a:gd name="connsiteX5-2093" fmla="*/ 1049638 w 1060789"/>
              <a:gd name="connsiteY5-2094" fmla="*/ 55757 h 749741"/>
              <a:gd name="connsiteX6-2095" fmla="*/ 1049638 w 1060789"/>
              <a:gd name="connsiteY6-2096" fmla="*/ 55757 h 749741"/>
              <a:gd name="connsiteX7-2097" fmla="*/ 926974 w 1060789"/>
              <a:gd name="connsiteY7-2098" fmla="*/ 78059 h 749741"/>
              <a:gd name="connsiteX8-2099" fmla="*/ 826613 w 1060789"/>
              <a:gd name="connsiteY8-2100" fmla="*/ 78059 h 749741"/>
              <a:gd name="connsiteX9-2101" fmla="*/ 826613 w 1060789"/>
              <a:gd name="connsiteY9-2102" fmla="*/ 0 h 749741"/>
              <a:gd name="connsiteX10-2103" fmla="*/ 703950 w 1060789"/>
              <a:gd name="connsiteY10-2104" fmla="*/ 44605 h 749741"/>
              <a:gd name="connsiteX11-2105" fmla="*/ 570135 w 1060789"/>
              <a:gd name="connsiteY11-2106" fmla="*/ 78059 h 749741"/>
              <a:gd name="connsiteX12-2107" fmla="*/ 469774 w 1060789"/>
              <a:gd name="connsiteY12-2108" fmla="*/ 22303 h 749741"/>
              <a:gd name="connsiteX13-2109" fmla="*/ 380564 w 1060789"/>
              <a:gd name="connsiteY13-2110" fmla="*/ 89210 h 749741"/>
              <a:gd name="connsiteX14-2111" fmla="*/ 302506 w 1060789"/>
              <a:gd name="connsiteY14-2112" fmla="*/ 167269 h 749741"/>
              <a:gd name="connsiteX15-2113" fmla="*/ 257901 w 1060789"/>
              <a:gd name="connsiteY15-2114" fmla="*/ 289932 h 749741"/>
              <a:gd name="connsiteX16-2115" fmla="*/ 146389 w 1060789"/>
              <a:gd name="connsiteY16-2116" fmla="*/ 234176 h 749741"/>
              <a:gd name="connsiteX17-2117" fmla="*/ 202145 w 1060789"/>
              <a:gd name="connsiteY17-2118" fmla="*/ 323386 h 749741"/>
              <a:gd name="connsiteX18-2119" fmla="*/ 179843 w 1060789"/>
              <a:gd name="connsiteY18-2120" fmla="*/ 468352 h 749741"/>
              <a:gd name="connsiteX19-2121" fmla="*/ 179971 w 1060789"/>
              <a:gd name="connsiteY19-2122" fmla="*/ 474231 h 749741"/>
              <a:gd name="connsiteX20-2123" fmla="*/ 87124 w 1060789"/>
              <a:gd name="connsiteY20-2124" fmla="*/ 491690 h 749741"/>
              <a:gd name="connsiteX21-2125" fmla="*/ 118075 w 1060789"/>
              <a:gd name="connsiteY21-2126" fmla="*/ 604974 h 749741"/>
              <a:gd name="connsiteX22-2127" fmla="*/ 161725 w 1060789"/>
              <a:gd name="connsiteY22-2128" fmla="*/ 657091 h 749741"/>
              <a:gd name="connsiteX23-2129" fmla="*/ 324808 w 1060789"/>
              <a:gd name="connsiteY23-2130" fmla="*/ 735150 h 749741"/>
              <a:gd name="connsiteX24-2131" fmla="*/ 458623 w 1060789"/>
              <a:gd name="connsiteY24-2132" fmla="*/ 535259 h 749741"/>
              <a:gd name="connsiteX25-2133" fmla="*/ 543589 w 1060789"/>
              <a:gd name="connsiteY25-2134" fmla="*/ 567880 h 749741"/>
              <a:gd name="connsiteX26-2135" fmla="*/ 621937 w 1060789"/>
              <a:gd name="connsiteY26-2136" fmla="*/ 610410 h 749741"/>
              <a:gd name="connsiteX27-2137" fmla="*/ 690411 w 1060789"/>
              <a:gd name="connsiteY27-2138" fmla="*/ 665900 h 749741"/>
              <a:gd name="connsiteX28-2139" fmla="*/ 687539 w 1060789"/>
              <a:gd name="connsiteY28-2140" fmla="*/ 665900 h 749741"/>
              <a:gd name="connsiteX29-2141" fmla="*/ 797962 w 1060789"/>
              <a:gd name="connsiteY29-2142" fmla="*/ 584202 h 749741"/>
              <a:gd name="connsiteX30-2143" fmla="*/ 810920 w 1060789"/>
              <a:gd name="connsiteY30-2144" fmla="*/ 587152 h 749741"/>
              <a:gd name="connsiteX31-2145" fmla="*/ 823300 w 1060789"/>
              <a:gd name="connsiteY31-2146" fmla="*/ 581333 h 749741"/>
              <a:gd name="connsiteX32-2147" fmla="*/ 888101 w 1060789"/>
              <a:gd name="connsiteY32-2148" fmla="*/ 526225 h 749741"/>
              <a:gd name="connsiteX33-2149" fmla="*/ 954079 w 1060789"/>
              <a:gd name="connsiteY33-2150" fmla="*/ 595354 h 749741"/>
              <a:gd name="connsiteX34-2151" fmla="*/ 976465 w 1060789"/>
              <a:gd name="connsiteY34-2152" fmla="*/ 356766 h 749741"/>
              <a:gd name="connsiteX0-2153" fmla="*/ 968955 w 1060789"/>
              <a:gd name="connsiteY0-2154" fmla="*/ 398190 h 749741"/>
              <a:gd name="connsiteX1-2155" fmla="*/ 1060789 w 1060789"/>
              <a:gd name="connsiteY1-2156" fmla="*/ 323386 h 749741"/>
              <a:gd name="connsiteX2-2157" fmla="*/ 982730 w 1060789"/>
              <a:gd name="connsiteY2-2158" fmla="*/ 223025 h 749741"/>
              <a:gd name="connsiteX3-2159" fmla="*/ 1060789 w 1060789"/>
              <a:gd name="connsiteY3-2160" fmla="*/ 211874 h 749741"/>
              <a:gd name="connsiteX4-2161" fmla="*/ 960428 w 1060789"/>
              <a:gd name="connsiteY4-2162" fmla="*/ 144966 h 749741"/>
              <a:gd name="connsiteX5-2163" fmla="*/ 1049638 w 1060789"/>
              <a:gd name="connsiteY5-2164" fmla="*/ 55757 h 749741"/>
              <a:gd name="connsiteX6-2165" fmla="*/ 1049638 w 1060789"/>
              <a:gd name="connsiteY6-2166" fmla="*/ 55757 h 749741"/>
              <a:gd name="connsiteX7-2167" fmla="*/ 926974 w 1060789"/>
              <a:gd name="connsiteY7-2168" fmla="*/ 78059 h 749741"/>
              <a:gd name="connsiteX8-2169" fmla="*/ 826613 w 1060789"/>
              <a:gd name="connsiteY8-2170" fmla="*/ 78059 h 749741"/>
              <a:gd name="connsiteX9-2171" fmla="*/ 826613 w 1060789"/>
              <a:gd name="connsiteY9-2172" fmla="*/ 0 h 749741"/>
              <a:gd name="connsiteX10-2173" fmla="*/ 703950 w 1060789"/>
              <a:gd name="connsiteY10-2174" fmla="*/ 44605 h 749741"/>
              <a:gd name="connsiteX11-2175" fmla="*/ 570135 w 1060789"/>
              <a:gd name="connsiteY11-2176" fmla="*/ 78059 h 749741"/>
              <a:gd name="connsiteX12-2177" fmla="*/ 469774 w 1060789"/>
              <a:gd name="connsiteY12-2178" fmla="*/ 22303 h 749741"/>
              <a:gd name="connsiteX13-2179" fmla="*/ 380564 w 1060789"/>
              <a:gd name="connsiteY13-2180" fmla="*/ 89210 h 749741"/>
              <a:gd name="connsiteX14-2181" fmla="*/ 302506 w 1060789"/>
              <a:gd name="connsiteY14-2182" fmla="*/ 167269 h 749741"/>
              <a:gd name="connsiteX15-2183" fmla="*/ 257901 w 1060789"/>
              <a:gd name="connsiteY15-2184" fmla="*/ 289932 h 749741"/>
              <a:gd name="connsiteX16-2185" fmla="*/ 146389 w 1060789"/>
              <a:gd name="connsiteY16-2186" fmla="*/ 234176 h 749741"/>
              <a:gd name="connsiteX17-2187" fmla="*/ 202145 w 1060789"/>
              <a:gd name="connsiteY17-2188" fmla="*/ 323386 h 749741"/>
              <a:gd name="connsiteX18-2189" fmla="*/ 179843 w 1060789"/>
              <a:gd name="connsiteY18-2190" fmla="*/ 468352 h 749741"/>
              <a:gd name="connsiteX19-2191" fmla="*/ 179971 w 1060789"/>
              <a:gd name="connsiteY19-2192" fmla="*/ 474231 h 749741"/>
              <a:gd name="connsiteX20-2193" fmla="*/ 87124 w 1060789"/>
              <a:gd name="connsiteY20-2194" fmla="*/ 491690 h 749741"/>
              <a:gd name="connsiteX21-2195" fmla="*/ 118075 w 1060789"/>
              <a:gd name="connsiteY21-2196" fmla="*/ 604974 h 749741"/>
              <a:gd name="connsiteX22-2197" fmla="*/ 161725 w 1060789"/>
              <a:gd name="connsiteY22-2198" fmla="*/ 657091 h 749741"/>
              <a:gd name="connsiteX23-2199" fmla="*/ 324808 w 1060789"/>
              <a:gd name="connsiteY23-2200" fmla="*/ 735150 h 749741"/>
              <a:gd name="connsiteX24-2201" fmla="*/ 458623 w 1060789"/>
              <a:gd name="connsiteY24-2202" fmla="*/ 535259 h 749741"/>
              <a:gd name="connsiteX25-2203" fmla="*/ 543589 w 1060789"/>
              <a:gd name="connsiteY25-2204" fmla="*/ 567880 h 749741"/>
              <a:gd name="connsiteX26-2205" fmla="*/ 621937 w 1060789"/>
              <a:gd name="connsiteY26-2206" fmla="*/ 610410 h 749741"/>
              <a:gd name="connsiteX27-2207" fmla="*/ 690411 w 1060789"/>
              <a:gd name="connsiteY27-2208" fmla="*/ 665900 h 749741"/>
              <a:gd name="connsiteX28-2209" fmla="*/ 687539 w 1060789"/>
              <a:gd name="connsiteY28-2210" fmla="*/ 665900 h 749741"/>
              <a:gd name="connsiteX29-2211" fmla="*/ 797962 w 1060789"/>
              <a:gd name="connsiteY29-2212" fmla="*/ 584202 h 749741"/>
              <a:gd name="connsiteX30-2213" fmla="*/ 810921 w 1060789"/>
              <a:gd name="connsiteY30-2214" fmla="*/ 708984 h 749741"/>
              <a:gd name="connsiteX31-2215" fmla="*/ 823300 w 1060789"/>
              <a:gd name="connsiteY31-2216" fmla="*/ 581333 h 749741"/>
              <a:gd name="connsiteX32-2217" fmla="*/ 888101 w 1060789"/>
              <a:gd name="connsiteY32-2218" fmla="*/ 526225 h 749741"/>
              <a:gd name="connsiteX33-2219" fmla="*/ 954079 w 1060789"/>
              <a:gd name="connsiteY33-2220" fmla="*/ 595354 h 749741"/>
              <a:gd name="connsiteX34-2221" fmla="*/ 976465 w 1060789"/>
              <a:gd name="connsiteY34-2222" fmla="*/ 356766 h 749741"/>
              <a:gd name="connsiteX0-2223" fmla="*/ 968955 w 1060789"/>
              <a:gd name="connsiteY0-2224" fmla="*/ 398190 h 749741"/>
              <a:gd name="connsiteX1-2225" fmla="*/ 1060789 w 1060789"/>
              <a:gd name="connsiteY1-2226" fmla="*/ 323386 h 749741"/>
              <a:gd name="connsiteX2-2227" fmla="*/ 982730 w 1060789"/>
              <a:gd name="connsiteY2-2228" fmla="*/ 223025 h 749741"/>
              <a:gd name="connsiteX3-2229" fmla="*/ 1060789 w 1060789"/>
              <a:gd name="connsiteY3-2230" fmla="*/ 211874 h 749741"/>
              <a:gd name="connsiteX4-2231" fmla="*/ 960428 w 1060789"/>
              <a:gd name="connsiteY4-2232" fmla="*/ 144966 h 749741"/>
              <a:gd name="connsiteX5-2233" fmla="*/ 1049638 w 1060789"/>
              <a:gd name="connsiteY5-2234" fmla="*/ 55757 h 749741"/>
              <a:gd name="connsiteX6-2235" fmla="*/ 1049638 w 1060789"/>
              <a:gd name="connsiteY6-2236" fmla="*/ 55757 h 749741"/>
              <a:gd name="connsiteX7-2237" fmla="*/ 926974 w 1060789"/>
              <a:gd name="connsiteY7-2238" fmla="*/ 78059 h 749741"/>
              <a:gd name="connsiteX8-2239" fmla="*/ 826613 w 1060789"/>
              <a:gd name="connsiteY8-2240" fmla="*/ 78059 h 749741"/>
              <a:gd name="connsiteX9-2241" fmla="*/ 826613 w 1060789"/>
              <a:gd name="connsiteY9-2242" fmla="*/ 0 h 749741"/>
              <a:gd name="connsiteX10-2243" fmla="*/ 703950 w 1060789"/>
              <a:gd name="connsiteY10-2244" fmla="*/ 44605 h 749741"/>
              <a:gd name="connsiteX11-2245" fmla="*/ 570135 w 1060789"/>
              <a:gd name="connsiteY11-2246" fmla="*/ 78059 h 749741"/>
              <a:gd name="connsiteX12-2247" fmla="*/ 469774 w 1060789"/>
              <a:gd name="connsiteY12-2248" fmla="*/ 22303 h 749741"/>
              <a:gd name="connsiteX13-2249" fmla="*/ 380564 w 1060789"/>
              <a:gd name="connsiteY13-2250" fmla="*/ 89210 h 749741"/>
              <a:gd name="connsiteX14-2251" fmla="*/ 302506 w 1060789"/>
              <a:gd name="connsiteY14-2252" fmla="*/ 167269 h 749741"/>
              <a:gd name="connsiteX15-2253" fmla="*/ 257901 w 1060789"/>
              <a:gd name="connsiteY15-2254" fmla="*/ 289932 h 749741"/>
              <a:gd name="connsiteX16-2255" fmla="*/ 146389 w 1060789"/>
              <a:gd name="connsiteY16-2256" fmla="*/ 234176 h 749741"/>
              <a:gd name="connsiteX17-2257" fmla="*/ 202145 w 1060789"/>
              <a:gd name="connsiteY17-2258" fmla="*/ 323386 h 749741"/>
              <a:gd name="connsiteX18-2259" fmla="*/ 179843 w 1060789"/>
              <a:gd name="connsiteY18-2260" fmla="*/ 468352 h 749741"/>
              <a:gd name="connsiteX19-2261" fmla="*/ 179971 w 1060789"/>
              <a:gd name="connsiteY19-2262" fmla="*/ 474231 h 749741"/>
              <a:gd name="connsiteX20-2263" fmla="*/ 87124 w 1060789"/>
              <a:gd name="connsiteY20-2264" fmla="*/ 491690 h 749741"/>
              <a:gd name="connsiteX21-2265" fmla="*/ 118075 w 1060789"/>
              <a:gd name="connsiteY21-2266" fmla="*/ 604974 h 749741"/>
              <a:gd name="connsiteX22-2267" fmla="*/ 161725 w 1060789"/>
              <a:gd name="connsiteY22-2268" fmla="*/ 657091 h 749741"/>
              <a:gd name="connsiteX23-2269" fmla="*/ 324808 w 1060789"/>
              <a:gd name="connsiteY23-2270" fmla="*/ 735150 h 749741"/>
              <a:gd name="connsiteX24-2271" fmla="*/ 458623 w 1060789"/>
              <a:gd name="connsiteY24-2272" fmla="*/ 535259 h 749741"/>
              <a:gd name="connsiteX25-2273" fmla="*/ 543589 w 1060789"/>
              <a:gd name="connsiteY25-2274" fmla="*/ 567880 h 749741"/>
              <a:gd name="connsiteX26-2275" fmla="*/ 621937 w 1060789"/>
              <a:gd name="connsiteY26-2276" fmla="*/ 610410 h 749741"/>
              <a:gd name="connsiteX27-2277" fmla="*/ 690411 w 1060789"/>
              <a:gd name="connsiteY27-2278" fmla="*/ 665900 h 749741"/>
              <a:gd name="connsiteX28-2279" fmla="*/ 687539 w 1060789"/>
              <a:gd name="connsiteY28-2280" fmla="*/ 665900 h 749741"/>
              <a:gd name="connsiteX29-2281" fmla="*/ 797962 w 1060789"/>
              <a:gd name="connsiteY29-2282" fmla="*/ 706034 h 749741"/>
              <a:gd name="connsiteX30-2283" fmla="*/ 810921 w 1060789"/>
              <a:gd name="connsiteY30-2284" fmla="*/ 708984 h 749741"/>
              <a:gd name="connsiteX31-2285" fmla="*/ 823300 w 1060789"/>
              <a:gd name="connsiteY31-2286" fmla="*/ 581333 h 749741"/>
              <a:gd name="connsiteX32-2287" fmla="*/ 888101 w 1060789"/>
              <a:gd name="connsiteY32-2288" fmla="*/ 526225 h 749741"/>
              <a:gd name="connsiteX33-2289" fmla="*/ 954079 w 1060789"/>
              <a:gd name="connsiteY33-2290" fmla="*/ 595354 h 749741"/>
              <a:gd name="connsiteX34-2291" fmla="*/ 976465 w 1060789"/>
              <a:gd name="connsiteY34-2292" fmla="*/ 356766 h 749741"/>
              <a:gd name="connsiteX0-2293" fmla="*/ 968955 w 1060789"/>
              <a:gd name="connsiteY0-2294" fmla="*/ 398190 h 749741"/>
              <a:gd name="connsiteX1-2295" fmla="*/ 1060789 w 1060789"/>
              <a:gd name="connsiteY1-2296" fmla="*/ 323386 h 749741"/>
              <a:gd name="connsiteX2-2297" fmla="*/ 982730 w 1060789"/>
              <a:gd name="connsiteY2-2298" fmla="*/ 223025 h 749741"/>
              <a:gd name="connsiteX3-2299" fmla="*/ 1060789 w 1060789"/>
              <a:gd name="connsiteY3-2300" fmla="*/ 211874 h 749741"/>
              <a:gd name="connsiteX4-2301" fmla="*/ 960428 w 1060789"/>
              <a:gd name="connsiteY4-2302" fmla="*/ 144966 h 749741"/>
              <a:gd name="connsiteX5-2303" fmla="*/ 1049638 w 1060789"/>
              <a:gd name="connsiteY5-2304" fmla="*/ 55757 h 749741"/>
              <a:gd name="connsiteX6-2305" fmla="*/ 1049638 w 1060789"/>
              <a:gd name="connsiteY6-2306" fmla="*/ 55757 h 749741"/>
              <a:gd name="connsiteX7-2307" fmla="*/ 926974 w 1060789"/>
              <a:gd name="connsiteY7-2308" fmla="*/ 78059 h 749741"/>
              <a:gd name="connsiteX8-2309" fmla="*/ 826613 w 1060789"/>
              <a:gd name="connsiteY8-2310" fmla="*/ 78059 h 749741"/>
              <a:gd name="connsiteX9-2311" fmla="*/ 826613 w 1060789"/>
              <a:gd name="connsiteY9-2312" fmla="*/ 0 h 749741"/>
              <a:gd name="connsiteX10-2313" fmla="*/ 703950 w 1060789"/>
              <a:gd name="connsiteY10-2314" fmla="*/ 44605 h 749741"/>
              <a:gd name="connsiteX11-2315" fmla="*/ 570135 w 1060789"/>
              <a:gd name="connsiteY11-2316" fmla="*/ 78059 h 749741"/>
              <a:gd name="connsiteX12-2317" fmla="*/ 469774 w 1060789"/>
              <a:gd name="connsiteY12-2318" fmla="*/ 22303 h 749741"/>
              <a:gd name="connsiteX13-2319" fmla="*/ 380564 w 1060789"/>
              <a:gd name="connsiteY13-2320" fmla="*/ 89210 h 749741"/>
              <a:gd name="connsiteX14-2321" fmla="*/ 302506 w 1060789"/>
              <a:gd name="connsiteY14-2322" fmla="*/ 167269 h 749741"/>
              <a:gd name="connsiteX15-2323" fmla="*/ 257901 w 1060789"/>
              <a:gd name="connsiteY15-2324" fmla="*/ 289932 h 749741"/>
              <a:gd name="connsiteX16-2325" fmla="*/ 146389 w 1060789"/>
              <a:gd name="connsiteY16-2326" fmla="*/ 234176 h 749741"/>
              <a:gd name="connsiteX17-2327" fmla="*/ 202145 w 1060789"/>
              <a:gd name="connsiteY17-2328" fmla="*/ 323386 h 749741"/>
              <a:gd name="connsiteX18-2329" fmla="*/ 179843 w 1060789"/>
              <a:gd name="connsiteY18-2330" fmla="*/ 468352 h 749741"/>
              <a:gd name="connsiteX19-2331" fmla="*/ 179971 w 1060789"/>
              <a:gd name="connsiteY19-2332" fmla="*/ 474231 h 749741"/>
              <a:gd name="connsiteX20-2333" fmla="*/ 87124 w 1060789"/>
              <a:gd name="connsiteY20-2334" fmla="*/ 491690 h 749741"/>
              <a:gd name="connsiteX21-2335" fmla="*/ 118075 w 1060789"/>
              <a:gd name="connsiteY21-2336" fmla="*/ 604974 h 749741"/>
              <a:gd name="connsiteX22-2337" fmla="*/ 161725 w 1060789"/>
              <a:gd name="connsiteY22-2338" fmla="*/ 657091 h 749741"/>
              <a:gd name="connsiteX23-2339" fmla="*/ 324808 w 1060789"/>
              <a:gd name="connsiteY23-2340" fmla="*/ 735150 h 749741"/>
              <a:gd name="connsiteX24-2341" fmla="*/ 458623 w 1060789"/>
              <a:gd name="connsiteY24-2342" fmla="*/ 535259 h 749741"/>
              <a:gd name="connsiteX25-2343" fmla="*/ 543589 w 1060789"/>
              <a:gd name="connsiteY25-2344" fmla="*/ 567880 h 749741"/>
              <a:gd name="connsiteX26-2345" fmla="*/ 621937 w 1060789"/>
              <a:gd name="connsiteY26-2346" fmla="*/ 610410 h 749741"/>
              <a:gd name="connsiteX27-2347" fmla="*/ 690411 w 1060789"/>
              <a:gd name="connsiteY27-2348" fmla="*/ 665900 h 749741"/>
              <a:gd name="connsiteX28-2349" fmla="*/ 687539 w 1060789"/>
              <a:gd name="connsiteY28-2350" fmla="*/ 665900 h 749741"/>
              <a:gd name="connsiteX29-2351" fmla="*/ 797962 w 1060789"/>
              <a:gd name="connsiteY29-2352" fmla="*/ 706034 h 749741"/>
              <a:gd name="connsiteX30-2353" fmla="*/ 810921 w 1060789"/>
              <a:gd name="connsiteY30-2354" fmla="*/ 708984 h 749741"/>
              <a:gd name="connsiteX31-2355" fmla="*/ 823300 w 1060789"/>
              <a:gd name="connsiteY31-2356" fmla="*/ 581333 h 749741"/>
              <a:gd name="connsiteX32-2357" fmla="*/ 888101 w 1060789"/>
              <a:gd name="connsiteY32-2358" fmla="*/ 526225 h 749741"/>
              <a:gd name="connsiteX33-2359" fmla="*/ 954079 w 1060789"/>
              <a:gd name="connsiteY33-2360" fmla="*/ 595354 h 749741"/>
              <a:gd name="connsiteX34-2361" fmla="*/ 966081 w 1060789"/>
              <a:gd name="connsiteY34-2362" fmla="*/ 398574 h 749741"/>
              <a:gd name="connsiteX35-2363" fmla="*/ 976465 w 1060789"/>
              <a:gd name="connsiteY35-2364" fmla="*/ 356766 h 749741"/>
              <a:gd name="connsiteX0-2365" fmla="*/ 968955 w 1060789"/>
              <a:gd name="connsiteY0-2366" fmla="*/ 398190 h 749741"/>
              <a:gd name="connsiteX1-2367" fmla="*/ 1060789 w 1060789"/>
              <a:gd name="connsiteY1-2368" fmla="*/ 323386 h 749741"/>
              <a:gd name="connsiteX2-2369" fmla="*/ 982730 w 1060789"/>
              <a:gd name="connsiteY2-2370" fmla="*/ 223025 h 749741"/>
              <a:gd name="connsiteX3-2371" fmla="*/ 1060789 w 1060789"/>
              <a:gd name="connsiteY3-2372" fmla="*/ 211874 h 749741"/>
              <a:gd name="connsiteX4-2373" fmla="*/ 960428 w 1060789"/>
              <a:gd name="connsiteY4-2374" fmla="*/ 144966 h 749741"/>
              <a:gd name="connsiteX5-2375" fmla="*/ 1049638 w 1060789"/>
              <a:gd name="connsiteY5-2376" fmla="*/ 55757 h 749741"/>
              <a:gd name="connsiteX6-2377" fmla="*/ 1049638 w 1060789"/>
              <a:gd name="connsiteY6-2378" fmla="*/ 55757 h 749741"/>
              <a:gd name="connsiteX7-2379" fmla="*/ 926974 w 1060789"/>
              <a:gd name="connsiteY7-2380" fmla="*/ 78059 h 749741"/>
              <a:gd name="connsiteX8-2381" fmla="*/ 826613 w 1060789"/>
              <a:gd name="connsiteY8-2382" fmla="*/ 78059 h 749741"/>
              <a:gd name="connsiteX9-2383" fmla="*/ 826613 w 1060789"/>
              <a:gd name="connsiteY9-2384" fmla="*/ 0 h 749741"/>
              <a:gd name="connsiteX10-2385" fmla="*/ 703950 w 1060789"/>
              <a:gd name="connsiteY10-2386" fmla="*/ 44605 h 749741"/>
              <a:gd name="connsiteX11-2387" fmla="*/ 570135 w 1060789"/>
              <a:gd name="connsiteY11-2388" fmla="*/ 78059 h 749741"/>
              <a:gd name="connsiteX12-2389" fmla="*/ 469774 w 1060789"/>
              <a:gd name="connsiteY12-2390" fmla="*/ 22303 h 749741"/>
              <a:gd name="connsiteX13-2391" fmla="*/ 380564 w 1060789"/>
              <a:gd name="connsiteY13-2392" fmla="*/ 89210 h 749741"/>
              <a:gd name="connsiteX14-2393" fmla="*/ 302506 w 1060789"/>
              <a:gd name="connsiteY14-2394" fmla="*/ 167269 h 749741"/>
              <a:gd name="connsiteX15-2395" fmla="*/ 257901 w 1060789"/>
              <a:gd name="connsiteY15-2396" fmla="*/ 289932 h 749741"/>
              <a:gd name="connsiteX16-2397" fmla="*/ 146389 w 1060789"/>
              <a:gd name="connsiteY16-2398" fmla="*/ 234176 h 749741"/>
              <a:gd name="connsiteX17-2399" fmla="*/ 202145 w 1060789"/>
              <a:gd name="connsiteY17-2400" fmla="*/ 323386 h 749741"/>
              <a:gd name="connsiteX18-2401" fmla="*/ 179843 w 1060789"/>
              <a:gd name="connsiteY18-2402" fmla="*/ 468352 h 749741"/>
              <a:gd name="connsiteX19-2403" fmla="*/ 179971 w 1060789"/>
              <a:gd name="connsiteY19-2404" fmla="*/ 474231 h 749741"/>
              <a:gd name="connsiteX20-2405" fmla="*/ 87124 w 1060789"/>
              <a:gd name="connsiteY20-2406" fmla="*/ 491690 h 749741"/>
              <a:gd name="connsiteX21-2407" fmla="*/ 118075 w 1060789"/>
              <a:gd name="connsiteY21-2408" fmla="*/ 604974 h 749741"/>
              <a:gd name="connsiteX22-2409" fmla="*/ 161725 w 1060789"/>
              <a:gd name="connsiteY22-2410" fmla="*/ 657091 h 749741"/>
              <a:gd name="connsiteX23-2411" fmla="*/ 324808 w 1060789"/>
              <a:gd name="connsiteY23-2412" fmla="*/ 735150 h 749741"/>
              <a:gd name="connsiteX24-2413" fmla="*/ 458623 w 1060789"/>
              <a:gd name="connsiteY24-2414" fmla="*/ 535259 h 749741"/>
              <a:gd name="connsiteX25-2415" fmla="*/ 543589 w 1060789"/>
              <a:gd name="connsiteY25-2416" fmla="*/ 567880 h 749741"/>
              <a:gd name="connsiteX26-2417" fmla="*/ 621937 w 1060789"/>
              <a:gd name="connsiteY26-2418" fmla="*/ 610410 h 749741"/>
              <a:gd name="connsiteX27-2419" fmla="*/ 690411 w 1060789"/>
              <a:gd name="connsiteY27-2420" fmla="*/ 665900 h 749741"/>
              <a:gd name="connsiteX28-2421" fmla="*/ 687539 w 1060789"/>
              <a:gd name="connsiteY28-2422" fmla="*/ 665900 h 749741"/>
              <a:gd name="connsiteX29-2423" fmla="*/ 797962 w 1060789"/>
              <a:gd name="connsiteY29-2424" fmla="*/ 706034 h 749741"/>
              <a:gd name="connsiteX30-2425" fmla="*/ 810921 w 1060789"/>
              <a:gd name="connsiteY30-2426" fmla="*/ 708984 h 749741"/>
              <a:gd name="connsiteX31-2427" fmla="*/ 823300 w 1060789"/>
              <a:gd name="connsiteY31-2428" fmla="*/ 581333 h 749741"/>
              <a:gd name="connsiteX32-2429" fmla="*/ 888101 w 1060789"/>
              <a:gd name="connsiteY32-2430" fmla="*/ 526225 h 749741"/>
              <a:gd name="connsiteX33-2431" fmla="*/ 954079 w 1060789"/>
              <a:gd name="connsiteY33-2432" fmla="*/ 595354 h 749741"/>
              <a:gd name="connsiteX34-2433" fmla="*/ 966081 w 1060789"/>
              <a:gd name="connsiteY34-2434" fmla="*/ 398574 h 749741"/>
              <a:gd name="connsiteX35-2435" fmla="*/ 976465 w 1060789"/>
              <a:gd name="connsiteY35-2436" fmla="*/ 356766 h 749741"/>
              <a:gd name="connsiteX0-2437" fmla="*/ 968955 w 1101570"/>
              <a:gd name="connsiteY0-2438" fmla="*/ 398190 h 749741"/>
              <a:gd name="connsiteX1-2439" fmla="*/ 1060789 w 1101570"/>
              <a:gd name="connsiteY1-2440" fmla="*/ 323386 h 749741"/>
              <a:gd name="connsiteX2-2441" fmla="*/ 982730 w 1101570"/>
              <a:gd name="connsiteY2-2442" fmla="*/ 223025 h 749741"/>
              <a:gd name="connsiteX3-2443" fmla="*/ 1060789 w 1101570"/>
              <a:gd name="connsiteY3-2444" fmla="*/ 211874 h 749741"/>
              <a:gd name="connsiteX4-2445" fmla="*/ 960428 w 1101570"/>
              <a:gd name="connsiteY4-2446" fmla="*/ 144966 h 749741"/>
              <a:gd name="connsiteX5-2447" fmla="*/ 1049638 w 1101570"/>
              <a:gd name="connsiteY5-2448" fmla="*/ 55757 h 749741"/>
              <a:gd name="connsiteX6-2449" fmla="*/ 1049638 w 1101570"/>
              <a:gd name="connsiteY6-2450" fmla="*/ 55757 h 749741"/>
              <a:gd name="connsiteX7-2451" fmla="*/ 926974 w 1101570"/>
              <a:gd name="connsiteY7-2452" fmla="*/ 78059 h 749741"/>
              <a:gd name="connsiteX8-2453" fmla="*/ 826613 w 1101570"/>
              <a:gd name="connsiteY8-2454" fmla="*/ 78059 h 749741"/>
              <a:gd name="connsiteX9-2455" fmla="*/ 826613 w 1101570"/>
              <a:gd name="connsiteY9-2456" fmla="*/ 0 h 749741"/>
              <a:gd name="connsiteX10-2457" fmla="*/ 703950 w 1101570"/>
              <a:gd name="connsiteY10-2458" fmla="*/ 44605 h 749741"/>
              <a:gd name="connsiteX11-2459" fmla="*/ 570135 w 1101570"/>
              <a:gd name="connsiteY11-2460" fmla="*/ 78059 h 749741"/>
              <a:gd name="connsiteX12-2461" fmla="*/ 469774 w 1101570"/>
              <a:gd name="connsiteY12-2462" fmla="*/ 22303 h 749741"/>
              <a:gd name="connsiteX13-2463" fmla="*/ 380564 w 1101570"/>
              <a:gd name="connsiteY13-2464" fmla="*/ 89210 h 749741"/>
              <a:gd name="connsiteX14-2465" fmla="*/ 302506 w 1101570"/>
              <a:gd name="connsiteY14-2466" fmla="*/ 167269 h 749741"/>
              <a:gd name="connsiteX15-2467" fmla="*/ 257901 w 1101570"/>
              <a:gd name="connsiteY15-2468" fmla="*/ 289932 h 749741"/>
              <a:gd name="connsiteX16-2469" fmla="*/ 146389 w 1101570"/>
              <a:gd name="connsiteY16-2470" fmla="*/ 234176 h 749741"/>
              <a:gd name="connsiteX17-2471" fmla="*/ 202145 w 1101570"/>
              <a:gd name="connsiteY17-2472" fmla="*/ 323386 h 749741"/>
              <a:gd name="connsiteX18-2473" fmla="*/ 179843 w 1101570"/>
              <a:gd name="connsiteY18-2474" fmla="*/ 468352 h 749741"/>
              <a:gd name="connsiteX19-2475" fmla="*/ 179971 w 1101570"/>
              <a:gd name="connsiteY19-2476" fmla="*/ 474231 h 749741"/>
              <a:gd name="connsiteX20-2477" fmla="*/ 87124 w 1101570"/>
              <a:gd name="connsiteY20-2478" fmla="*/ 491690 h 749741"/>
              <a:gd name="connsiteX21-2479" fmla="*/ 118075 w 1101570"/>
              <a:gd name="connsiteY21-2480" fmla="*/ 604974 h 749741"/>
              <a:gd name="connsiteX22-2481" fmla="*/ 161725 w 1101570"/>
              <a:gd name="connsiteY22-2482" fmla="*/ 657091 h 749741"/>
              <a:gd name="connsiteX23-2483" fmla="*/ 324808 w 1101570"/>
              <a:gd name="connsiteY23-2484" fmla="*/ 735150 h 749741"/>
              <a:gd name="connsiteX24-2485" fmla="*/ 458623 w 1101570"/>
              <a:gd name="connsiteY24-2486" fmla="*/ 535259 h 749741"/>
              <a:gd name="connsiteX25-2487" fmla="*/ 543589 w 1101570"/>
              <a:gd name="connsiteY25-2488" fmla="*/ 567880 h 749741"/>
              <a:gd name="connsiteX26-2489" fmla="*/ 621937 w 1101570"/>
              <a:gd name="connsiteY26-2490" fmla="*/ 610410 h 749741"/>
              <a:gd name="connsiteX27-2491" fmla="*/ 690411 w 1101570"/>
              <a:gd name="connsiteY27-2492" fmla="*/ 665900 h 749741"/>
              <a:gd name="connsiteX28-2493" fmla="*/ 687539 w 1101570"/>
              <a:gd name="connsiteY28-2494" fmla="*/ 665900 h 749741"/>
              <a:gd name="connsiteX29-2495" fmla="*/ 797962 w 1101570"/>
              <a:gd name="connsiteY29-2496" fmla="*/ 706034 h 749741"/>
              <a:gd name="connsiteX30-2497" fmla="*/ 810921 w 1101570"/>
              <a:gd name="connsiteY30-2498" fmla="*/ 708984 h 749741"/>
              <a:gd name="connsiteX31-2499" fmla="*/ 823300 w 1101570"/>
              <a:gd name="connsiteY31-2500" fmla="*/ 581333 h 749741"/>
              <a:gd name="connsiteX32-2501" fmla="*/ 888101 w 1101570"/>
              <a:gd name="connsiteY32-2502" fmla="*/ 526225 h 749741"/>
              <a:gd name="connsiteX33-2503" fmla="*/ 954079 w 1101570"/>
              <a:gd name="connsiteY33-2504" fmla="*/ 595354 h 749741"/>
              <a:gd name="connsiteX34-2505" fmla="*/ 1030852 w 1101570"/>
              <a:gd name="connsiteY34-2506" fmla="*/ 459479 h 749741"/>
              <a:gd name="connsiteX35-2507" fmla="*/ 976465 w 1101570"/>
              <a:gd name="connsiteY35-2508" fmla="*/ 356766 h 749741"/>
              <a:gd name="connsiteX0-2509" fmla="*/ 968955 w 1060789"/>
              <a:gd name="connsiteY0-2510" fmla="*/ 398190 h 749741"/>
              <a:gd name="connsiteX1-2511" fmla="*/ 1060789 w 1060789"/>
              <a:gd name="connsiteY1-2512" fmla="*/ 323386 h 749741"/>
              <a:gd name="connsiteX2-2513" fmla="*/ 982730 w 1060789"/>
              <a:gd name="connsiteY2-2514" fmla="*/ 223025 h 749741"/>
              <a:gd name="connsiteX3-2515" fmla="*/ 1060789 w 1060789"/>
              <a:gd name="connsiteY3-2516" fmla="*/ 211874 h 749741"/>
              <a:gd name="connsiteX4-2517" fmla="*/ 960428 w 1060789"/>
              <a:gd name="connsiteY4-2518" fmla="*/ 144966 h 749741"/>
              <a:gd name="connsiteX5-2519" fmla="*/ 1049638 w 1060789"/>
              <a:gd name="connsiteY5-2520" fmla="*/ 55757 h 749741"/>
              <a:gd name="connsiteX6-2521" fmla="*/ 1049638 w 1060789"/>
              <a:gd name="connsiteY6-2522" fmla="*/ 55757 h 749741"/>
              <a:gd name="connsiteX7-2523" fmla="*/ 926974 w 1060789"/>
              <a:gd name="connsiteY7-2524" fmla="*/ 78059 h 749741"/>
              <a:gd name="connsiteX8-2525" fmla="*/ 826613 w 1060789"/>
              <a:gd name="connsiteY8-2526" fmla="*/ 78059 h 749741"/>
              <a:gd name="connsiteX9-2527" fmla="*/ 826613 w 1060789"/>
              <a:gd name="connsiteY9-2528" fmla="*/ 0 h 749741"/>
              <a:gd name="connsiteX10-2529" fmla="*/ 703950 w 1060789"/>
              <a:gd name="connsiteY10-2530" fmla="*/ 44605 h 749741"/>
              <a:gd name="connsiteX11-2531" fmla="*/ 570135 w 1060789"/>
              <a:gd name="connsiteY11-2532" fmla="*/ 78059 h 749741"/>
              <a:gd name="connsiteX12-2533" fmla="*/ 469774 w 1060789"/>
              <a:gd name="connsiteY12-2534" fmla="*/ 22303 h 749741"/>
              <a:gd name="connsiteX13-2535" fmla="*/ 380564 w 1060789"/>
              <a:gd name="connsiteY13-2536" fmla="*/ 89210 h 749741"/>
              <a:gd name="connsiteX14-2537" fmla="*/ 302506 w 1060789"/>
              <a:gd name="connsiteY14-2538" fmla="*/ 167269 h 749741"/>
              <a:gd name="connsiteX15-2539" fmla="*/ 257901 w 1060789"/>
              <a:gd name="connsiteY15-2540" fmla="*/ 289932 h 749741"/>
              <a:gd name="connsiteX16-2541" fmla="*/ 146389 w 1060789"/>
              <a:gd name="connsiteY16-2542" fmla="*/ 234176 h 749741"/>
              <a:gd name="connsiteX17-2543" fmla="*/ 202145 w 1060789"/>
              <a:gd name="connsiteY17-2544" fmla="*/ 323386 h 749741"/>
              <a:gd name="connsiteX18-2545" fmla="*/ 179843 w 1060789"/>
              <a:gd name="connsiteY18-2546" fmla="*/ 468352 h 749741"/>
              <a:gd name="connsiteX19-2547" fmla="*/ 179971 w 1060789"/>
              <a:gd name="connsiteY19-2548" fmla="*/ 474231 h 749741"/>
              <a:gd name="connsiteX20-2549" fmla="*/ 87124 w 1060789"/>
              <a:gd name="connsiteY20-2550" fmla="*/ 491690 h 749741"/>
              <a:gd name="connsiteX21-2551" fmla="*/ 118075 w 1060789"/>
              <a:gd name="connsiteY21-2552" fmla="*/ 604974 h 749741"/>
              <a:gd name="connsiteX22-2553" fmla="*/ 161725 w 1060789"/>
              <a:gd name="connsiteY22-2554" fmla="*/ 657091 h 749741"/>
              <a:gd name="connsiteX23-2555" fmla="*/ 324808 w 1060789"/>
              <a:gd name="connsiteY23-2556" fmla="*/ 735150 h 749741"/>
              <a:gd name="connsiteX24-2557" fmla="*/ 458623 w 1060789"/>
              <a:gd name="connsiteY24-2558" fmla="*/ 535259 h 749741"/>
              <a:gd name="connsiteX25-2559" fmla="*/ 543589 w 1060789"/>
              <a:gd name="connsiteY25-2560" fmla="*/ 567880 h 749741"/>
              <a:gd name="connsiteX26-2561" fmla="*/ 621937 w 1060789"/>
              <a:gd name="connsiteY26-2562" fmla="*/ 610410 h 749741"/>
              <a:gd name="connsiteX27-2563" fmla="*/ 690411 w 1060789"/>
              <a:gd name="connsiteY27-2564" fmla="*/ 665900 h 749741"/>
              <a:gd name="connsiteX28-2565" fmla="*/ 687539 w 1060789"/>
              <a:gd name="connsiteY28-2566" fmla="*/ 665900 h 749741"/>
              <a:gd name="connsiteX29-2567" fmla="*/ 797962 w 1060789"/>
              <a:gd name="connsiteY29-2568" fmla="*/ 706034 h 749741"/>
              <a:gd name="connsiteX30-2569" fmla="*/ 810921 w 1060789"/>
              <a:gd name="connsiteY30-2570" fmla="*/ 708984 h 749741"/>
              <a:gd name="connsiteX31-2571" fmla="*/ 823300 w 1060789"/>
              <a:gd name="connsiteY31-2572" fmla="*/ 581333 h 749741"/>
              <a:gd name="connsiteX32-2573" fmla="*/ 888101 w 1060789"/>
              <a:gd name="connsiteY32-2574" fmla="*/ 526225 h 749741"/>
              <a:gd name="connsiteX33-2575" fmla="*/ 954079 w 1060789"/>
              <a:gd name="connsiteY33-2576" fmla="*/ 595354 h 749741"/>
              <a:gd name="connsiteX34-2577" fmla="*/ 976465 w 1060789"/>
              <a:gd name="connsiteY34-2578" fmla="*/ 356766 h 749741"/>
              <a:gd name="connsiteX0-2579" fmla="*/ 968955 w 1060789"/>
              <a:gd name="connsiteY0-2580" fmla="*/ 398190 h 749741"/>
              <a:gd name="connsiteX1-2581" fmla="*/ 1060789 w 1060789"/>
              <a:gd name="connsiteY1-2582" fmla="*/ 323386 h 749741"/>
              <a:gd name="connsiteX2-2583" fmla="*/ 982730 w 1060789"/>
              <a:gd name="connsiteY2-2584" fmla="*/ 223025 h 749741"/>
              <a:gd name="connsiteX3-2585" fmla="*/ 1060789 w 1060789"/>
              <a:gd name="connsiteY3-2586" fmla="*/ 211874 h 749741"/>
              <a:gd name="connsiteX4-2587" fmla="*/ 960428 w 1060789"/>
              <a:gd name="connsiteY4-2588" fmla="*/ 144966 h 749741"/>
              <a:gd name="connsiteX5-2589" fmla="*/ 1049638 w 1060789"/>
              <a:gd name="connsiteY5-2590" fmla="*/ 55757 h 749741"/>
              <a:gd name="connsiteX6-2591" fmla="*/ 1049638 w 1060789"/>
              <a:gd name="connsiteY6-2592" fmla="*/ 55757 h 749741"/>
              <a:gd name="connsiteX7-2593" fmla="*/ 926974 w 1060789"/>
              <a:gd name="connsiteY7-2594" fmla="*/ 78059 h 749741"/>
              <a:gd name="connsiteX8-2595" fmla="*/ 826613 w 1060789"/>
              <a:gd name="connsiteY8-2596" fmla="*/ 78059 h 749741"/>
              <a:gd name="connsiteX9-2597" fmla="*/ 826613 w 1060789"/>
              <a:gd name="connsiteY9-2598" fmla="*/ 0 h 749741"/>
              <a:gd name="connsiteX10-2599" fmla="*/ 703950 w 1060789"/>
              <a:gd name="connsiteY10-2600" fmla="*/ 44605 h 749741"/>
              <a:gd name="connsiteX11-2601" fmla="*/ 570135 w 1060789"/>
              <a:gd name="connsiteY11-2602" fmla="*/ 78059 h 749741"/>
              <a:gd name="connsiteX12-2603" fmla="*/ 469774 w 1060789"/>
              <a:gd name="connsiteY12-2604" fmla="*/ 22303 h 749741"/>
              <a:gd name="connsiteX13-2605" fmla="*/ 380564 w 1060789"/>
              <a:gd name="connsiteY13-2606" fmla="*/ 89210 h 749741"/>
              <a:gd name="connsiteX14-2607" fmla="*/ 302506 w 1060789"/>
              <a:gd name="connsiteY14-2608" fmla="*/ 167269 h 749741"/>
              <a:gd name="connsiteX15-2609" fmla="*/ 257901 w 1060789"/>
              <a:gd name="connsiteY15-2610" fmla="*/ 289932 h 749741"/>
              <a:gd name="connsiteX16-2611" fmla="*/ 146389 w 1060789"/>
              <a:gd name="connsiteY16-2612" fmla="*/ 234176 h 749741"/>
              <a:gd name="connsiteX17-2613" fmla="*/ 202145 w 1060789"/>
              <a:gd name="connsiteY17-2614" fmla="*/ 323386 h 749741"/>
              <a:gd name="connsiteX18-2615" fmla="*/ 179843 w 1060789"/>
              <a:gd name="connsiteY18-2616" fmla="*/ 468352 h 749741"/>
              <a:gd name="connsiteX19-2617" fmla="*/ 179971 w 1060789"/>
              <a:gd name="connsiteY19-2618" fmla="*/ 474231 h 749741"/>
              <a:gd name="connsiteX20-2619" fmla="*/ 87124 w 1060789"/>
              <a:gd name="connsiteY20-2620" fmla="*/ 491690 h 749741"/>
              <a:gd name="connsiteX21-2621" fmla="*/ 118075 w 1060789"/>
              <a:gd name="connsiteY21-2622" fmla="*/ 604974 h 749741"/>
              <a:gd name="connsiteX22-2623" fmla="*/ 161725 w 1060789"/>
              <a:gd name="connsiteY22-2624" fmla="*/ 657091 h 749741"/>
              <a:gd name="connsiteX23-2625" fmla="*/ 324808 w 1060789"/>
              <a:gd name="connsiteY23-2626" fmla="*/ 735150 h 749741"/>
              <a:gd name="connsiteX24-2627" fmla="*/ 458623 w 1060789"/>
              <a:gd name="connsiteY24-2628" fmla="*/ 535259 h 749741"/>
              <a:gd name="connsiteX25-2629" fmla="*/ 543589 w 1060789"/>
              <a:gd name="connsiteY25-2630" fmla="*/ 567880 h 749741"/>
              <a:gd name="connsiteX26-2631" fmla="*/ 621937 w 1060789"/>
              <a:gd name="connsiteY26-2632" fmla="*/ 610410 h 749741"/>
              <a:gd name="connsiteX27-2633" fmla="*/ 690411 w 1060789"/>
              <a:gd name="connsiteY27-2634" fmla="*/ 665900 h 749741"/>
              <a:gd name="connsiteX28-2635" fmla="*/ 687539 w 1060789"/>
              <a:gd name="connsiteY28-2636" fmla="*/ 665900 h 749741"/>
              <a:gd name="connsiteX29-2637" fmla="*/ 797962 w 1060789"/>
              <a:gd name="connsiteY29-2638" fmla="*/ 706034 h 749741"/>
              <a:gd name="connsiteX30-2639" fmla="*/ 810921 w 1060789"/>
              <a:gd name="connsiteY30-2640" fmla="*/ 708984 h 749741"/>
              <a:gd name="connsiteX31-2641" fmla="*/ 823300 w 1060789"/>
              <a:gd name="connsiteY31-2642" fmla="*/ 581333 h 749741"/>
              <a:gd name="connsiteX32-2643" fmla="*/ 888101 w 1060789"/>
              <a:gd name="connsiteY32-2644" fmla="*/ 526225 h 749741"/>
              <a:gd name="connsiteX33-2645" fmla="*/ 954079 w 1060789"/>
              <a:gd name="connsiteY33-2646" fmla="*/ 595354 h 749741"/>
              <a:gd name="connsiteX34-2647" fmla="*/ 953701 w 1060789"/>
              <a:gd name="connsiteY34-2648" fmla="*/ 485870 h 749741"/>
              <a:gd name="connsiteX35-2649" fmla="*/ 976465 w 1060789"/>
              <a:gd name="connsiteY35-2650" fmla="*/ 356766 h 749741"/>
              <a:gd name="connsiteX0-2651" fmla="*/ 968955 w 1228684"/>
              <a:gd name="connsiteY0-2652" fmla="*/ 398190 h 749741"/>
              <a:gd name="connsiteX1-2653" fmla="*/ 1060789 w 1228684"/>
              <a:gd name="connsiteY1-2654" fmla="*/ 323386 h 749741"/>
              <a:gd name="connsiteX2-2655" fmla="*/ 982730 w 1228684"/>
              <a:gd name="connsiteY2-2656" fmla="*/ 223025 h 749741"/>
              <a:gd name="connsiteX3-2657" fmla="*/ 1060789 w 1228684"/>
              <a:gd name="connsiteY3-2658" fmla="*/ 211874 h 749741"/>
              <a:gd name="connsiteX4-2659" fmla="*/ 960428 w 1228684"/>
              <a:gd name="connsiteY4-2660" fmla="*/ 144966 h 749741"/>
              <a:gd name="connsiteX5-2661" fmla="*/ 1049638 w 1228684"/>
              <a:gd name="connsiteY5-2662" fmla="*/ 55757 h 749741"/>
              <a:gd name="connsiteX6-2663" fmla="*/ 1049638 w 1228684"/>
              <a:gd name="connsiteY6-2664" fmla="*/ 55757 h 749741"/>
              <a:gd name="connsiteX7-2665" fmla="*/ 926974 w 1228684"/>
              <a:gd name="connsiteY7-2666" fmla="*/ 78059 h 749741"/>
              <a:gd name="connsiteX8-2667" fmla="*/ 826613 w 1228684"/>
              <a:gd name="connsiteY8-2668" fmla="*/ 78059 h 749741"/>
              <a:gd name="connsiteX9-2669" fmla="*/ 826613 w 1228684"/>
              <a:gd name="connsiteY9-2670" fmla="*/ 0 h 749741"/>
              <a:gd name="connsiteX10-2671" fmla="*/ 703950 w 1228684"/>
              <a:gd name="connsiteY10-2672" fmla="*/ 44605 h 749741"/>
              <a:gd name="connsiteX11-2673" fmla="*/ 570135 w 1228684"/>
              <a:gd name="connsiteY11-2674" fmla="*/ 78059 h 749741"/>
              <a:gd name="connsiteX12-2675" fmla="*/ 469774 w 1228684"/>
              <a:gd name="connsiteY12-2676" fmla="*/ 22303 h 749741"/>
              <a:gd name="connsiteX13-2677" fmla="*/ 380564 w 1228684"/>
              <a:gd name="connsiteY13-2678" fmla="*/ 89210 h 749741"/>
              <a:gd name="connsiteX14-2679" fmla="*/ 302506 w 1228684"/>
              <a:gd name="connsiteY14-2680" fmla="*/ 167269 h 749741"/>
              <a:gd name="connsiteX15-2681" fmla="*/ 257901 w 1228684"/>
              <a:gd name="connsiteY15-2682" fmla="*/ 289932 h 749741"/>
              <a:gd name="connsiteX16-2683" fmla="*/ 146389 w 1228684"/>
              <a:gd name="connsiteY16-2684" fmla="*/ 234176 h 749741"/>
              <a:gd name="connsiteX17-2685" fmla="*/ 202145 w 1228684"/>
              <a:gd name="connsiteY17-2686" fmla="*/ 323386 h 749741"/>
              <a:gd name="connsiteX18-2687" fmla="*/ 179843 w 1228684"/>
              <a:gd name="connsiteY18-2688" fmla="*/ 468352 h 749741"/>
              <a:gd name="connsiteX19-2689" fmla="*/ 179971 w 1228684"/>
              <a:gd name="connsiteY19-2690" fmla="*/ 474231 h 749741"/>
              <a:gd name="connsiteX20-2691" fmla="*/ 87124 w 1228684"/>
              <a:gd name="connsiteY20-2692" fmla="*/ 491690 h 749741"/>
              <a:gd name="connsiteX21-2693" fmla="*/ 118075 w 1228684"/>
              <a:gd name="connsiteY21-2694" fmla="*/ 604974 h 749741"/>
              <a:gd name="connsiteX22-2695" fmla="*/ 161725 w 1228684"/>
              <a:gd name="connsiteY22-2696" fmla="*/ 657091 h 749741"/>
              <a:gd name="connsiteX23-2697" fmla="*/ 324808 w 1228684"/>
              <a:gd name="connsiteY23-2698" fmla="*/ 735150 h 749741"/>
              <a:gd name="connsiteX24-2699" fmla="*/ 458623 w 1228684"/>
              <a:gd name="connsiteY24-2700" fmla="*/ 535259 h 749741"/>
              <a:gd name="connsiteX25-2701" fmla="*/ 543589 w 1228684"/>
              <a:gd name="connsiteY25-2702" fmla="*/ 567880 h 749741"/>
              <a:gd name="connsiteX26-2703" fmla="*/ 621937 w 1228684"/>
              <a:gd name="connsiteY26-2704" fmla="*/ 610410 h 749741"/>
              <a:gd name="connsiteX27-2705" fmla="*/ 690411 w 1228684"/>
              <a:gd name="connsiteY27-2706" fmla="*/ 665900 h 749741"/>
              <a:gd name="connsiteX28-2707" fmla="*/ 687539 w 1228684"/>
              <a:gd name="connsiteY28-2708" fmla="*/ 665900 h 749741"/>
              <a:gd name="connsiteX29-2709" fmla="*/ 797962 w 1228684"/>
              <a:gd name="connsiteY29-2710" fmla="*/ 706034 h 749741"/>
              <a:gd name="connsiteX30-2711" fmla="*/ 810921 w 1228684"/>
              <a:gd name="connsiteY30-2712" fmla="*/ 708984 h 749741"/>
              <a:gd name="connsiteX31-2713" fmla="*/ 823300 w 1228684"/>
              <a:gd name="connsiteY31-2714" fmla="*/ 581333 h 749741"/>
              <a:gd name="connsiteX32-2715" fmla="*/ 888101 w 1228684"/>
              <a:gd name="connsiteY32-2716" fmla="*/ 526225 h 749741"/>
              <a:gd name="connsiteX33-2717" fmla="*/ 954079 w 1228684"/>
              <a:gd name="connsiteY33-2718" fmla="*/ 595354 h 749741"/>
              <a:gd name="connsiteX34-2719" fmla="*/ 953701 w 1228684"/>
              <a:gd name="connsiteY34-2720" fmla="*/ 485870 h 749741"/>
              <a:gd name="connsiteX35-2721" fmla="*/ 976465 w 1228684"/>
              <a:gd name="connsiteY35-2722" fmla="*/ 356766 h 749741"/>
              <a:gd name="connsiteX0-2723" fmla="*/ 968955 w 1228684"/>
              <a:gd name="connsiteY0-2724" fmla="*/ 398190 h 749741"/>
              <a:gd name="connsiteX1-2725" fmla="*/ 1060789 w 1228684"/>
              <a:gd name="connsiteY1-2726" fmla="*/ 323386 h 749741"/>
              <a:gd name="connsiteX2-2727" fmla="*/ 982730 w 1228684"/>
              <a:gd name="connsiteY2-2728" fmla="*/ 223025 h 749741"/>
              <a:gd name="connsiteX3-2729" fmla="*/ 1060789 w 1228684"/>
              <a:gd name="connsiteY3-2730" fmla="*/ 211874 h 749741"/>
              <a:gd name="connsiteX4-2731" fmla="*/ 960428 w 1228684"/>
              <a:gd name="connsiteY4-2732" fmla="*/ 144966 h 749741"/>
              <a:gd name="connsiteX5-2733" fmla="*/ 1049638 w 1228684"/>
              <a:gd name="connsiteY5-2734" fmla="*/ 55757 h 749741"/>
              <a:gd name="connsiteX6-2735" fmla="*/ 1049638 w 1228684"/>
              <a:gd name="connsiteY6-2736" fmla="*/ 55757 h 749741"/>
              <a:gd name="connsiteX7-2737" fmla="*/ 926974 w 1228684"/>
              <a:gd name="connsiteY7-2738" fmla="*/ 78059 h 749741"/>
              <a:gd name="connsiteX8-2739" fmla="*/ 826613 w 1228684"/>
              <a:gd name="connsiteY8-2740" fmla="*/ 78059 h 749741"/>
              <a:gd name="connsiteX9-2741" fmla="*/ 826613 w 1228684"/>
              <a:gd name="connsiteY9-2742" fmla="*/ 0 h 749741"/>
              <a:gd name="connsiteX10-2743" fmla="*/ 703950 w 1228684"/>
              <a:gd name="connsiteY10-2744" fmla="*/ 44605 h 749741"/>
              <a:gd name="connsiteX11-2745" fmla="*/ 570135 w 1228684"/>
              <a:gd name="connsiteY11-2746" fmla="*/ 78059 h 749741"/>
              <a:gd name="connsiteX12-2747" fmla="*/ 469774 w 1228684"/>
              <a:gd name="connsiteY12-2748" fmla="*/ 22303 h 749741"/>
              <a:gd name="connsiteX13-2749" fmla="*/ 380564 w 1228684"/>
              <a:gd name="connsiteY13-2750" fmla="*/ 89210 h 749741"/>
              <a:gd name="connsiteX14-2751" fmla="*/ 302506 w 1228684"/>
              <a:gd name="connsiteY14-2752" fmla="*/ 167269 h 749741"/>
              <a:gd name="connsiteX15-2753" fmla="*/ 257901 w 1228684"/>
              <a:gd name="connsiteY15-2754" fmla="*/ 289932 h 749741"/>
              <a:gd name="connsiteX16-2755" fmla="*/ 146389 w 1228684"/>
              <a:gd name="connsiteY16-2756" fmla="*/ 234176 h 749741"/>
              <a:gd name="connsiteX17-2757" fmla="*/ 202145 w 1228684"/>
              <a:gd name="connsiteY17-2758" fmla="*/ 323386 h 749741"/>
              <a:gd name="connsiteX18-2759" fmla="*/ 179843 w 1228684"/>
              <a:gd name="connsiteY18-2760" fmla="*/ 468352 h 749741"/>
              <a:gd name="connsiteX19-2761" fmla="*/ 179971 w 1228684"/>
              <a:gd name="connsiteY19-2762" fmla="*/ 474231 h 749741"/>
              <a:gd name="connsiteX20-2763" fmla="*/ 87124 w 1228684"/>
              <a:gd name="connsiteY20-2764" fmla="*/ 491690 h 749741"/>
              <a:gd name="connsiteX21-2765" fmla="*/ 118075 w 1228684"/>
              <a:gd name="connsiteY21-2766" fmla="*/ 604974 h 749741"/>
              <a:gd name="connsiteX22-2767" fmla="*/ 161725 w 1228684"/>
              <a:gd name="connsiteY22-2768" fmla="*/ 657091 h 749741"/>
              <a:gd name="connsiteX23-2769" fmla="*/ 324808 w 1228684"/>
              <a:gd name="connsiteY23-2770" fmla="*/ 735150 h 749741"/>
              <a:gd name="connsiteX24-2771" fmla="*/ 458623 w 1228684"/>
              <a:gd name="connsiteY24-2772" fmla="*/ 535259 h 749741"/>
              <a:gd name="connsiteX25-2773" fmla="*/ 543589 w 1228684"/>
              <a:gd name="connsiteY25-2774" fmla="*/ 567880 h 749741"/>
              <a:gd name="connsiteX26-2775" fmla="*/ 621937 w 1228684"/>
              <a:gd name="connsiteY26-2776" fmla="*/ 610410 h 749741"/>
              <a:gd name="connsiteX27-2777" fmla="*/ 690411 w 1228684"/>
              <a:gd name="connsiteY27-2778" fmla="*/ 665900 h 749741"/>
              <a:gd name="connsiteX28-2779" fmla="*/ 687539 w 1228684"/>
              <a:gd name="connsiteY28-2780" fmla="*/ 665900 h 749741"/>
              <a:gd name="connsiteX29-2781" fmla="*/ 797962 w 1228684"/>
              <a:gd name="connsiteY29-2782" fmla="*/ 706034 h 749741"/>
              <a:gd name="connsiteX30-2783" fmla="*/ 810921 w 1228684"/>
              <a:gd name="connsiteY30-2784" fmla="*/ 708984 h 749741"/>
              <a:gd name="connsiteX31-2785" fmla="*/ 823300 w 1228684"/>
              <a:gd name="connsiteY31-2786" fmla="*/ 581333 h 749741"/>
              <a:gd name="connsiteX32-2787" fmla="*/ 888101 w 1228684"/>
              <a:gd name="connsiteY32-2788" fmla="*/ 526225 h 749741"/>
              <a:gd name="connsiteX33-2789" fmla="*/ 954079 w 1228684"/>
              <a:gd name="connsiteY33-2790" fmla="*/ 595354 h 749741"/>
              <a:gd name="connsiteX34-2791" fmla="*/ 953701 w 1228684"/>
              <a:gd name="connsiteY34-2792" fmla="*/ 485870 h 749741"/>
              <a:gd name="connsiteX35-2793" fmla="*/ 976465 w 1228684"/>
              <a:gd name="connsiteY35-2794" fmla="*/ 356766 h 749741"/>
              <a:gd name="connsiteX0-2795" fmla="*/ 968955 w 1228684"/>
              <a:gd name="connsiteY0-2796" fmla="*/ 398190 h 749741"/>
              <a:gd name="connsiteX1-2797" fmla="*/ 1060789 w 1228684"/>
              <a:gd name="connsiteY1-2798" fmla="*/ 323386 h 749741"/>
              <a:gd name="connsiteX2-2799" fmla="*/ 982730 w 1228684"/>
              <a:gd name="connsiteY2-2800" fmla="*/ 223025 h 749741"/>
              <a:gd name="connsiteX3-2801" fmla="*/ 1060789 w 1228684"/>
              <a:gd name="connsiteY3-2802" fmla="*/ 211874 h 749741"/>
              <a:gd name="connsiteX4-2803" fmla="*/ 960428 w 1228684"/>
              <a:gd name="connsiteY4-2804" fmla="*/ 144966 h 749741"/>
              <a:gd name="connsiteX5-2805" fmla="*/ 1049638 w 1228684"/>
              <a:gd name="connsiteY5-2806" fmla="*/ 55757 h 749741"/>
              <a:gd name="connsiteX6-2807" fmla="*/ 1049638 w 1228684"/>
              <a:gd name="connsiteY6-2808" fmla="*/ 55757 h 749741"/>
              <a:gd name="connsiteX7-2809" fmla="*/ 926974 w 1228684"/>
              <a:gd name="connsiteY7-2810" fmla="*/ 78059 h 749741"/>
              <a:gd name="connsiteX8-2811" fmla="*/ 826613 w 1228684"/>
              <a:gd name="connsiteY8-2812" fmla="*/ 78059 h 749741"/>
              <a:gd name="connsiteX9-2813" fmla="*/ 826613 w 1228684"/>
              <a:gd name="connsiteY9-2814" fmla="*/ 0 h 749741"/>
              <a:gd name="connsiteX10-2815" fmla="*/ 703950 w 1228684"/>
              <a:gd name="connsiteY10-2816" fmla="*/ 44605 h 749741"/>
              <a:gd name="connsiteX11-2817" fmla="*/ 570135 w 1228684"/>
              <a:gd name="connsiteY11-2818" fmla="*/ 78059 h 749741"/>
              <a:gd name="connsiteX12-2819" fmla="*/ 469774 w 1228684"/>
              <a:gd name="connsiteY12-2820" fmla="*/ 22303 h 749741"/>
              <a:gd name="connsiteX13-2821" fmla="*/ 380564 w 1228684"/>
              <a:gd name="connsiteY13-2822" fmla="*/ 89210 h 749741"/>
              <a:gd name="connsiteX14-2823" fmla="*/ 302506 w 1228684"/>
              <a:gd name="connsiteY14-2824" fmla="*/ 167269 h 749741"/>
              <a:gd name="connsiteX15-2825" fmla="*/ 257901 w 1228684"/>
              <a:gd name="connsiteY15-2826" fmla="*/ 289932 h 749741"/>
              <a:gd name="connsiteX16-2827" fmla="*/ 146389 w 1228684"/>
              <a:gd name="connsiteY16-2828" fmla="*/ 234176 h 749741"/>
              <a:gd name="connsiteX17-2829" fmla="*/ 202145 w 1228684"/>
              <a:gd name="connsiteY17-2830" fmla="*/ 323386 h 749741"/>
              <a:gd name="connsiteX18-2831" fmla="*/ 179843 w 1228684"/>
              <a:gd name="connsiteY18-2832" fmla="*/ 468352 h 749741"/>
              <a:gd name="connsiteX19-2833" fmla="*/ 179971 w 1228684"/>
              <a:gd name="connsiteY19-2834" fmla="*/ 474231 h 749741"/>
              <a:gd name="connsiteX20-2835" fmla="*/ 87124 w 1228684"/>
              <a:gd name="connsiteY20-2836" fmla="*/ 491690 h 749741"/>
              <a:gd name="connsiteX21-2837" fmla="*/ 118075 w 1228684"/>
              <a:gd name="connsiteY21-2838" fmla="*/ 604974 h 749741"/>
              <a:gd name="connsiteX22-2839" fmla="*/ 161725 w 1228684"/>
              <a:gd name="connsiteY22-2840" fmla="*/ 657091 h 749741"/>
              <a:gd name="connsiteX23-2841" fmla="*/ 324808 w 1228684"/>
              <a:gd name="connsiteY23-2842" fmla="*/ 735150 h 749741"/>
              <a:gd name="connsiteX24-2843" fmla="*/ 458623 w 1228684"/>
              <a:gd name="connsiteY24-2844" fmla="*/ 535259 h 749741"/>
              <a:gd name="connsiteX25-2845" fmla="*/ 543589 w 1228684"/>
              <a:gd name="connsiteY25-2846" fmla="*/ 567880 h 749741"/>
              <a:gd name="connsiteX26-2847" fmla="*/ 621937 w 1228684"/>
              <a:gd name="connsiteY26-2848" fmla="*/ 610410 h 749741"/>
              <a:gd name="connsiteX27-2849" fmla="*/ 690411 w 1228684"/>
              <a:gd name="connsiteY27-2850" fmla="*/ 665900 h 749741"/>
              <a:gd name="connsiteX28-2851" fmla="*/ 687539 w 1228684"/>
              <a:gd name="connsiteY28-2852" fmla="*/ 665900 h 749741"/>
              <a:gd name="connsiteX29-2853" fmla="*/ 797962 w 1228684"/>
              <a:gd name="connsiteY29-2854" fmla="*/ 706034 h 749741"/>
              <a:gd name="connsiteX30-2855" fmla="*/ 810921 w 1228684"/>
              <a:gd name="connsiteY30-2856" fmla="*/ 708984 h 749741"/>
              <a:gd name="connsiteX31-2857" fmla="*/ 823300 w 1228684"/>
              <a:gd name="connsiteY31-2858" fmla="*/ 581333 h 749741"/>
              <a:gd name="connsiteX32-2859" fmla="*/ 888101 w 1228684"/>
              <a:gd name="connsiteY32-2860" fmla="*/ 526225 h 749741"/>
              <a:gd name="connsiteX33-2861" fmla="*/ 954079 w 1228684"/>
              <a:gd name="connsiteY33-2862" fmla="*/ 595354 h 749741"/>
              <a:gd name="connsiteX34-2863" fmla="*/ 953701 w 1228684"/>
              <a:gd name="connsiteY34-2864" fmla="*/ 485870 h 749741"/>
              <a:gd name="connsiteX35-2865" fmla="*/ 976465 w 1228684"/>
              <a:gd name="connsiteY35-2866" fmla="*/ 356766 h 749741"/>
              <a:gd name="connsiteX0-2867" fmla="*/ 968955 w 1228684"/>
              <a:gd name="connsiteY0-2868" fmla="*/ 398190 h 749741"/>
              <a:gd name="connsiteX1-2869" fmla="*/ 1060789 w 1228684"/>
              <a:gd name="connsiteY1-2870" fmla="*/ 323386 h 749741"/>
              <a:gd name="connsiteX2-2871" fmla="*/ 982730 w 1228684"/>
              <a:gd name="connsiteY2-2872" fmla="*/ 223025 h 749741"/>
              <a:gd name="connsiteX3-2873" fmla="*/ 1060789 w 1228684"/>
              <a:gd name="connsiteY3-2874" fmla="*/ 211874 h 749741"/>
              <a:gd name="connsiteX4-2875" fmla="*/ 960428 w 1228684"/>
              <a:gd name="connsiteY4-2876" fmla="*/ 144966 h 749741"/>
              <a:gd name="connsiteX5-2877" fmla="*/ 1049638 w 1228684"/>
              <a:gd name="connsiteY5-2878" fmla="*/ 55757 h 749741"/>
              <a:gd name="connsiteX6-2879" fmla="*/ 1049638 w 1228684"/>
              <a:gd name="connsiteY6-2880" fmla="*/ 55757 h 749741"/>
              <a:gd name="connsiteX7-2881" fmla="*/ 926974 w 1228684"/>
              <a:gd name="connsiteY7-2882" fmla="*/ 78059 h 749741"/>
              <a:gd name="connsiteX8-2883" fmla="*/ 826613 w 1228684"/>
              <a:gd name="connsiteY8-2884" fmla="*/ 78059 h 749741"/>
              <a:gd name="connsiteX9-2885" fmla="*/ 826613 w 1228684"/>
              <a:gd name="connsiteY9-2886" fmla="*/ 0 h 749741"/>
              <a:gd name="connsiteX10-2887" fmla="*/ 703950 w 1228684"/>
              <a:gd name="connsiteY10-2888" fmla="*/ 44605 h 749741"/>
              <a:gd name="connsiteX11-2889" fmla="*/ 570135 w 1228684"/>
              <a:gd name="connsiteY11-2890" fmla="*/ 78059 h 749741"/>
              <a:gd name="connsiteX12-2891" fmla="*/ 469774 w 1228684"/>
              <a:gd name="connsiteY12-2892" fmla="*/ 22303 h 749741"/>
              <a:gd name="connsiteX13-2893" fmla="*/ 380564 w 1228684"/>
              <a:gd name="connsiteY13-2894" fmla="*/ 89210 h 749741"/>
              <a:gd name="connsiteX14-2895" fmla="*/ 302506 w 1228684"/>
              <a:gd name="connsiteY14-2896" fmla="*/ 167269 h 749741"/>
              <a:gd name="connsiteX15-2897" fmla="*/ 257901 w 1228684"/>
              <a:gd name="connsiteY15-2898" fmla="*/ 289932 h 749741"/>
              <a:gd name="connsiteX16-2899" fmla="*/ 146389 w 1228684"/>
              <a:gd name="connsiteY16-2900" fmla="*/ 234176 h 749741"/>
              <a:gd name="connsiteX17-2901" fmla="*/ 202145 w 1228684"/>
              <a:gd name="connsiteY17-2902" fmla="*/ 323386 h 749741"/>
              <a:gd name="connsiteX18-2903" fmla="*/ 179843 w 1228684"/>
              <a:gd name="connsiteY18-2904" fmla="*/ 468352 h 749741"/>
              <a:gd name="connsiteX19-2905" fmla="*/ 179971 w 1228684"/>
              <a:gd name="connsiteY19-2906" fmla="*/ 474231 h 749741"/>
              <a:gd name="connsiteX20-2907" fmla="*/ 87124 w 1228684"/>
              <a:gd name="connsiteY20-2908" fmla="*/ 491690 h 749741"/>
              <a:gd name="connsiteX21-2909" fmla="*/ 118075 w 1228684"/>
              <a:gd name="connsiteY21-2910" fmla="*/ 604974 h 749741"/>
              <a:gd name="connsiteX22-2911" fmla="*/ 161725 w 1228684"/>
              <a:gd name="connsiteY22-2912" fmla="*/ 657091 h 749741"/>
              <a:gd name="connsiteX23-2913" fmla="*/ 324808 w 1228684"/>
              <a:gd name="connsiteY23-2914" fmla="*/ 735150 h 749741"/>
              <a:gd name="connsiteX24-2915" fmla="*/ 458623 w 1228684"/>
              <a:gd name="connsiteY24-2916" fmla="*/ 535259 h 749741"/>
              <a:gd name="connsiteX25-2917" fmla="*/ 543589 w 1228684"/>
              <a:gd name="connsiteY25-2918" fmla="*/ 567880 h 749741"/>
              <a:gd name="connsiteX26-2919" fmla="*/ 621937 w 1228684"/>
              <a:gd name="connsiteY26-2920" fmla="*/ 610410 h 749741"/>
              <a:gd name="connsiteX27-2921" fmla="*/ 690411 w 1228684"/>
              <a:gd name="connsiteY27-2922" fmla="*/ 665900 h 749741"/>
              <a:gd name="connsiteX28-2923" fmla="*/ 687539 w 1228684"/>
              <a:gd name="connsiteY28-2924" fmla="*/ 665900 h 749741"/>
              <a:gd name="connsiteX29-2925" fmla="*/ 797962 w 1228684"/>
              <a:gd name="connsiteY29-2926" fmla="*/ 706034 h 749741"/>
              <a:gd name="connsiteX30-2927" fmla="*/ 810921 w 1228684"/>
              <a:gd name="connsiteY30-2928" fmla="*/ 708984 h 749741"/>
              <a:gd name="connsiteX31-2929" fmla="*/ 823300 w 1228684"/>
              <a:gd name="connsiteY31-2930" fmla="*/ 581333 h 749741"/>
              <a:gd name="connsiteX32-2931" fmla="*/ 888101 w 1228684"/>
              <a:gd name="connsiteY32-2932" fmla="*/ 526225 h 749741"/>
              <a:gd name="connsiteX33-2933" fmla="*/ 954079 w 1228684"/>
              <a:gd name="connsiteY33-2934" fmla="*/ 595354 h 749741"/>
              <a:gd name="connsiteX34-2935" fmla="*/ 953701 w 1228684"/>
              <a:gd name="connsiteY34-2936" fmla="*/ 485870 h 749741"/>
              <a:gd name="connsiteX35-2937" fmla="*/ 976465 w 1228684"/>
              <a:gd name="connsiteY35-2938" fmla="*/ 356766 h 749741"/>
              <a:gd name="connsiteX0-2939" fmla="*/ 968955 w 1228684"/>
              <a:gd name="connsiteY0-2940" fmla="*/ 398190 h 749741"/>
              <a:gd name="connsiteX1-2941" fmla="*/ 1060789 w 1228684"/>
              <a:gd name="connsiteY1-2942" fmla="*/ 323386 h 749741"/>
              <a:gd name="connsiteX2-2943" fmla="*/ 982730 w 1228684"/>
              <a:gd name="connsiteY2-2944" fmla="*/ 223025 h 749741"/>
              <a:gd name="connsiteX3-2945" fmla="*/ 1060789 w 1228684"/>
              <a:gd name="connsiteY3-2946" fmla="*/ 211874 h 749741"/>
              <a:gd name="connsiteX4-2947" fmla="*/ 960428 w 1228684"/>
              <a:gd name="connsiteY4-2948" fmla="*/ 144966 h 749741"/>
              <a:gd name="connsiteX5-2949" fmla="*/ 1049638 w 1228684"/>
              <a:gd name="connsiteY5-2950" fmla="*/ 55757 h 749741"/>
              <a:gd name="connsiteX6-2951" fmla="*/ 1049638 w 1228684"/>
              <a:gd name="connsiteY6-2952" fmla="*/ 55757 h 749741"/>
              <a:gd name="connsiteX7-2953" fmla="*/ 926974 w 1228684"/>
              <a:gd name="connsiteY7-2954" fmla="*/ 78059 h 749741"/>
              <a:gd name="connsiteX8-2955" fmla="*/ 826613 w 1228684"/>
              <a:gd name="connsiteY8-2956" fmla="*/ 78059 h 749741"/>
              <a:gd name="connsiteX9-2957" fmla="*/ 826613 w 1228684"/>
              <a:gd name="connsiteY9-2958" fmla="*/ 0 h 749741"/>
              <a:gd name="connsiteX10-2959" fmla="*/ 703950 w 1228684"/>
              <a:gd name="connsiteY10-2960" fmla="*/ 44605 h 749741"/>
              <a:gd name="connsiteX11-2961" fmla="*/ 570135 w 1228684"/>
              <a:gd name="connsiteY11-2962" fmla="*/ 78059 h 749741"/>
              <a:gd name="connsiteX12-2963" fmla="*/ 469774 w 1228684"/>
              <a:gd name="connsiteY12-2964" fmla="*/ 22303 h 749741"/>
              <a:gd name="connsiteX13-2965" fmla="*/ 380564 w 1228684"/>
              <a:gd name="connsiteY13-2966" fmla="*/ 89210 h 749741"/>
              <a:gd name="connsiteX14-2967" fmla="*/ 302506 w 1228684"/>
              <a:gd name="connsiteY14-2968" fmla="*/ 167269 h 749741"/>
              <a:gd name="connsiteX15-2969" fmla="*/ 257901 w 1228684"/>
              <a:gd name="connsiteY15-2970" fmla="*/ 289932 h 749741"/>
              <a:gd name="connsiteX16-2971" fmla="*/ 146389 w 1228684"/>
              <a:gd name="connsiteY16-2972" fmla="*/ 234176 h 749741"/>
              <a:gd name="connsiteX17-2973" fmla="*/ 202145 w 1228684"/>
              <a:gd name="connsiteY17-2974" fmla="*/ 323386 h 749741"/>
              <a:gd name="connsiteX18-2975" fmla="*/ 179843 w 1228684"/>
              <a:gd name="connsiteY18-2976" fmla="*/ 468352 h 749741"/>
              <a:gd name="connsiteX19-2977" fmla="*/ 179971 w 1228684"/>
              <a:gd name="connsiteY19-2978" fmla="*/ 474231 h 749741"/>
              <a:gd name="connsiteX20-2979" fmla="*/ 87124 w 1228684"/>
              <a:gd name="connsiteY20-2980" fmla="*/ 491690 h 749741"/>
              <a:gd name="connsiteX21-2981" fmla="*/ 118075 w 1228684"/>
              <a:gd name="connsiteY21-2982" fmla="*/ 604974 h 749741"/>
              <a:gd name="connsiteX22-2983" fmla="*/ 161725 w 1228684"/>
              <a:gd name="connsiteY22-2984" fmla="*/ 657091 h 749741"/>
              <a:gd name="connsiteX23-2985" fmla="*/ 324808 w 1228684"/>
              <a:gd name="connsiteY23-2986" fmla="*/ 735150 h 749741"/>
              <a:gd name="connsiteX24-2987" fmla="*/ 458623 w 1228684"/>
              <a:gd name="connsiteY24-2988" fmla="*/ 535259 h 749741"/>
              <a:gd name="connsiteX25-2989" fmla="*/ 543589 w 1228684"/>
              <a:gd name="connsiteY25-2990" fmla="*/ 567880 h 749741"/>
              <a:gd name="connsiteX26-2991" fmla="*/ 621937 w 1228684"/>
              <a:gd name="connsiteY26-2992" fmla="*/ 610410 h 749741"/>
              <a:gd name="connsiteX27-2993" fmla="*/ 690411 w 1228684"/>
              <a:gd name="connsiteY27-2994" fmla="*/ 665900 h 749741"/>
              <a:gd name="connsiteX28-2995" fmla="*/ 687539 w 1228684"/>
              <a:gd name="connsiteY28-2996" fmla="*/ 665900 h 749741"/>
              <a:gd name="connsiteX29-2997" fmla="*/ 797962 w 1228684"/>
              <a:gd name="connsiteY29-2998" fmla="*/ 706034 h 749741"/>
              <a:gd name="connsiteX30-2999" fmla="*/ 810921 w 1228684"/>
              <a:gd name="connsiteY30-3000" fmla="*/ 708984 h 749741"/>
              <a:gd name="connsiteX31-3001" fmla="*/ 823300 w 1228684"/>
              <a:gd name="connsiteY31-3002" fmla="*/ 581333 h 749741"/>
              <a:gd name="connsiteX32-3003" fmla="*/ 888101 w 1228684"/>
              <a:gd name="connsiteY32-3004" fmla="*/ 526225 h 749741"/>
              <a:gd name="connsiteX33-3005" fmla="*/ 954079 w 1228684"/>
              <a:gd name="connsiteY33-3006" fmla="*/ 595354 h 749741"/>
              <a:gd name="connsiteX34-3007" fmla="*/ 953701 w 1228684"/>
              <a:gd name="connsiteY34-3008" fmla="*/ 485870 h 749741"/>
              <a:gd name="connsiteX35-3009" fmla="*/ 1077083 w 1228684"/>
              <a:gd name="connsiteY35-3010" fmla="*/ 480050 h 749741"/>
              <a:gd name="connsiteX36" fmla="*/ 976465 w 1228684"/>
              <a:gd name="connsiteY36" fmla="*/ 356766 h 749741"/>
              <a:gd name="connsiteX0-3011" fmla="*/ 968955 w 1228684"/>
              <a:gd name="connsiteY0-3012" fmla="*/ 398190 h 749741"/>
              <a:gd name="connsiteX1-3013" fmla="*/ 1060789 w 1228684"/>
              <a:gd name="connsiteY1-3014" fmla="*/ 323386 h 749741"/>
              <a:gd name="connsiteX2-3015" fmla="*/ 982730 w 1228684"/>
              <a:gd name="connsiteY2-3016" fmla="*/ 223025 h 749741"/>
              <a:gd name="connsiteX3-3017" fmla="*/ 1060789 w 1228684"/>
              <a:gd name="connsiteY3-3018" fmla="*/ 211874 h 749741"/>
              <a:gd name="connsiteX4-3019" fmla="*/ 960428 w 1228684"/>
              <a:gd name="connsiteY4-3020" fmla="*/ 144966 h 749741"/>
              <a:gd name="connsiteX5-3021" fmla="*/ 1049638 w 1228684"/>
              <a:gd name="connsiteY5-3022" fmla="*/ 55757 h 749741"/>
              <a:gd name="connsiteX6-3023" fmla="*/ 1049638 w 1228684"/>
              <a:gd name="connsiteY6-3024" fmla="*/ 55757 h 749741"/>
              <a:gd name="connsiteX7-3025" fmla="*/ 926974 w 1228684"/>
              <a:gd name="connsiteY7-3026" fmla="*/ 78059 h 749741"/>
              <a:gd name="connsiteX8-3027" fmla="*/ 826613 w 1228684"/>
              <a:gd name="connsiteY8-3028" fmla="*/ 78059 h 749741"/>
              <a:gd name="connsiteX9-3029" fmla="*/ 826613 w 1228684"/>
              <a:gd name="connsiteY9-3030" fmla="*/ 0 h 749741"/>
              <a:gd name="connsiteX10-3031" fmla="*/ 703950 w 1228684"/>
              <a:gd name="connsiteY10-3032" fmla="*/ 44605 h 749741"/>
              <a:gd name="connsiteX11-3033" fmla="*/ 570135 w 1228684"/>
              <a:gd name="connsiteY11-3034" fmla="*/ 78059 h 749741"/>
              <a:gd name="connsiteX12-3035" fmla="*/ 469774 w 1228684"/>
              <a:gd name="connsiteY12-3036" fmla="*/ 22303 h 749741"/>
              <a:gd name="connsiteX13-3037" fmla="*/ 380564 w 1228684"/>
              <a:gd name="connsiteY13-3038" fmla="*/ 89210 h 749741"/>
              <a:gd name="connsiteX14-3039" fmla="*/ 302506 w 1228684"/>
              <a:gd name="connsiteY14-3040" fmla="*/ 167269 h 749741"/>
              <a:gd name="connsiteX15-3041" fmla="*/ 257901 w 1228684"/>
              <a:gd name="connsiteY15-3042" fmla="*/ 289932 h 749741"/>
              <a:gd name="connsiteX16-3043" fmla="*/ 146389 w 1228684"/>
              <a:gd name="connsiteY16-3044" fmla="*/ 234176 h 749741"/>
              <a:gd name="connsiteX17-3045" fmla="*/ 202145 w 1228684"/>
              <a:gd name="connsiteY17-3046" fmla="*/ 323386 h 749741"/>
              <a:gd name="connsiteX18-3047" fmla="*/ 179843 w 1228684"/>
              <a:gd name="connsiteY18-3048" fmla="*/ 468352 h 749741"/>
              <a:gd name="connsiteX19-3049" fmla="*/ 179971 w 1228684"/>
              <a:gd name="connsiteY19-3050" fmla="*/ 474231 h 749741"/>
              <a:gd name="connsiteX20-3051" fmla="*/ 87124 w 1228684"/>
              <a:gd name="connsiteY20-3052" fmla="*/ 491690 h 749741"/>
              <a:gd name="connsiteX21-3053" fmla="*/ 118075 w 1228684"/>
              <a:gd name="connsiteY21-3054" fmla="*/ 604974 h 749741"/>
              <a:gd name="connsiteX22-3055" fmla="*/ 161725 w 1228684"/>
              <a:gd name="connsiteY22-3056" fmla="*/ 657091 h 749741"/>
              <a:gd name="connsiteX23-3057" fmla="*/ 324808 w 1228684"/>
              <a:gd name="connsiteY23-3058" fmla="*/ 735150 h 749741"/>
              <a:gd name="connsiteX24-3059" fmla="*/ 458623 w 1228684"/>
              <a:gd name="connsiteY24-3060" fmla="*/ 535259 h 749741"/>
              <a:gd name="connsiteX25-3061" fmla="*/ 543589 w 1228684"/>
              <a:gd name="connsiteY25-3062" fmla="*/ 567880 h 749741"/>
              <a:gd name="connsiteX26-3063" fmla="*/ 621937 w 1228684"/>
              <a:gd name="connsiteY26-3064" fmla="*/ 610410 h 749741"/>
              <a:gd name="connsiteX27-3065" fmla="*/ 690411 w 1228684"/>
              <a:gd name="connsiteY27-3066" fmla="*/ 665900 h 749741"/>
              <a:gd name="connsiteX28-3067" fmla="*/ 687539 w 1228684"/>
              <a:gd name="connsiteY28-3068" fmla="*/ 665900 h 749741"/>
              <a:gd name="connsiteX29-3069" fmla="*/ 797962 w 1228684"/>
              <a:gd name="connsiteY29-3070" fmla="*/ 706034 h 749741"/>
              <a:gd name="connsiteX30-3071" fmla="*/ 810921 w 1228684"/>
              <a:gd name="connsiteY30-3072" fmla="*/ 708984 h 749741"/>
              <a:gd name="connsiteX31-3073" fmla="*/ 823300 w 1228684"/>
              <a:gd name="connsiteY31-3074" fmla="*/ 581333 h 749741"/>
              <a:gd name="connsiteX32-3075" fmla="*/ 888101 w 1228684"/>
              <a:gd name="connsiteY32-3076" fmla="*/ 526225 h 749741"/>
              <a:gd name="connsiteX33-3077" fmla="*/ 954079 w 1228684"/>
              <a:gd name="connsiteY33-3078" fmla="*/ 595354 h 749741"/>
              <a:gd name="connsiteX34-3079" fmla="*/ 953701 w 1228684"/>
              <a:gd name="connsiteY34-3080" fmla="*/ 485870 h 749741"/>
              <a:gd name="connsiteX35-3081" fmla="*/ 1077083 w 1228684"/>
              <a:gd name="connsiteY35-3082" fmla="*/ 535136 h 749741"/>
              <a:gd name="connsiteX36-3083" fmla="*/ 1077083 w 1228684"/>
              <a:gd name="connsiteY36-3084" fmla="*/ 480050 h 749741"/>
              <a:gd name="connsiteX37" fmla="*/ 976465 w 1228684"/>
              <a:gd name="connsiteY37" fmla="*/ 356766 h 749741"/>
              <a:gd name="connsiteX0-3085" fmla="*/ 968955 w 1293455"/>
              <a:gd name="connsiteY0-3086" fmla="*/ 398190 h 749741"/>
              <a:gd name="connsiteX1-3087" fmla="*/ 1060789 w 1293455"/>
              <a:gd name="connsiteY1-3088" fmla="*/ 323386 h 749741"/>
              <a:gd name="connsiteX2-3089" fmla="*/ 982730 w 1293455"/>
              <a:gd name="connsiteY2-3090" fmla="*/ 223025 h 749741"/>
              <a:gd name="connsiteX3-3091" fmla="*/ 1060789 w 1293455"/>
              <a:gd name="connsiteY3-3092" fmla="*/ 211874 h 749741"/>
              <a:gd name="connsiteX4-3093" fmla="*/ 960428 w 1293455"/>
              <a:gd name="connsiteY4-3094" fmla="*/ 144966 h 749741"/>
              <a:gd name="connsiteX5-3095" fmla="*/ 1049638 w 1293455"/>
              <a:gd name="connsiteY5-3096" fmla="*/ 55757 h 749741"/>
              <a:gd name="connsiteX6-3097" fmla="*/ 1049638 w 1293455"/>
              <a:gd name="connsiteY6-3098" fmla="*/ 55757 h 749741"/>
              <a:gd name="connsiteX7-3099" fmla="*/ 926974 w 1293455"/>
              <a:gd name="connsiteY7-3100" fmla="*/ 78059 h 749741"/>
              <a:gd name="connsiteX8-3101" fmla="*/ 826613 w 1293455"/>
              <a:gd name="connsiteY8-3102" fmla="*/ 78059 h 749741"/>
              <a:gd name="connsiteX9-3103" fmla="*/ 826613 w 1293455"/>
              <a:gd name="connsiteY9-3104" fmla="*/ 0 h 749741"/>
              <a:gd name="connsiteX10-3105" fmla="*/ 703950 w 1293455"/>
              <a:gd name="connsiteY10-3106" fmla="*/ 44605 h 749741"/>
              <a:gd name="connsiteX11-3107" fmla="*/ 570135 w 1293455"/>
              <a:gd name="connsiteY11-3108" fmla="*/ 78059 h 749741"/>
              <a:gd name="connsiteX12-3109" fmla="*/ 469774 w 1293455"/>
              <a:gd name="connsiteY12-3110" fmla="*/ 22303 h 749741"/>
              <a:gd name="connsiteX13-3111" fmla="*/ 380564 w 1293455"/>
              <a:gd name="connsiteY13-3112" fmla="*/ 89210 h 749741"/>
              <a:gd name="connsiteX14-3113" fmla="*/ 302506 w 1293455"/>
              <a:gd name="connsiteY14-3114" fmla="*/ 167269 h 749741"/>
              <a:gd name="connsiteX15-3115" fmla="*/ 257901 w 1293455"/>
              <a:gd name="connsiteY15-3116" fmla="*/ 289932 h 749741"/>
              <a:gd name="connsiteX16-3117" fmla="*/ 146389 w 1293455"/>
              <a:gd name="connsiteY16-3118" fmla="*/ 234176 h 749741"/>
              <a:gd name="connsiteX17-3119" fmla="*/ 202145 w 1293455"/>
              <a:gd name="connsiteY17-3120" fmla="*/ 323386 h 749741"/>
              <a:gd name="connsiteX18-3121" fmla="*/ 179843 w 1293455"/>
              <a:gd name="connsiteY18-3122" fmla="*/ 468352 h 749741"/>
              <a:gd name="connsiteX19-3123" fmla="*/ 179971 w 1293455"/>
              <a:gd name="connsiteY19-3124" fmla="*/ 474231 h 749741"/>
              <a:gd name="connsiteX20-3125" fmla="*/ 87124 w 1293455"/>
              <a:gd name="connsiteY20-3126" fmla="*/ 491690 h 749741"/>
              <a:gd name="connsiteX21-3127" fmla="*/ 118075 w 1293455"/>
              <a:gd name="connsiteY21-3128" fmla="*/ 604974 h 749741"/>
              <a:gd name="connsiteX22-3129" fmla="*/ 161725 w 1293455"/>
              <a:gd name="connsiteY22-3130" fmla="*/ 657091 h 749741"/>
              <a:gd name="connsiteX23-3131" fmla="*/ 324808 w 1293455"/>
              <a:gd name="connsiteY23-3132" fmla="*/ 735150 h 749741"/>
              <a:gd name="connsiteX24-3133" fmla="*/ 458623 w 1293455"/>
              <a:gd name="connsiteY24-3134" fmla="*/ 535259 h 749741"/>
              <a:gd name="connsiteX25-3135" fmla="*/ 543589 w 1293455"/>
              <a:gd name="connsiteY25-3136" fmla="*/ 567880 h 749741"/>
              <a:gd name="connsiteX26-3137" fmla="*/ 621937 w 1293455"/>
              <a:gd name="connsiteY26-3138" fmla="*/ 610410 h 749741"/>
              <a:gd name="connsiteX27-3139" fmla="*/ 690411 w 1293455"/>
              <a:gd name="connsiteY27-3140" fmla="*/ 665900 h 749741"/>
              <a:gd name="connsiteX28-3141" fmla="*/ 687539 w 1293455"/>
              <a:gd name="connsiteY28-3142" fmla="*/ 665900 h 749741"/>
              <a:gd name="connsiteX29-3143" fmla="*/ 797962 w 1293455"/>
              <a:gd name="connsiteY29-3144" fmla="*/ 706034 h 749741"/>
              <a:gd name="connsiteX30-3145" fmla="*/ 810921 w 1293455"/>
              <a:gd name="connsiteY30-3146" fmla="*/ 708984 h 749741"/>
              <a:gd name="connsiteX31-3147" fmla="*/ 823300 w 1293455"/>
              <a:gd name="connsiteY31-3148" fmla="*/ 581333 h 749741"/>
              <a:gd name="connsiteX32-3149" fmla="*/ 888101 w 1293455"/>
              <a:gd name="connsiteY32-3150" fmla="*/ 526225 h 749741"/>
              <a:gd name="connsiteX33-3151" fmla="*/ 954079 w 1293455"/>
              <a:gd name="connsiteY33-3152" fmla="*/ 595354 h 749741"/>
              <a:gd name="connsiteX34-3153" fmla="*/ 1018472 w 1293455"/>
              <a:gd name="connsiteY34-3154" fmla="*/ 485870 h 749741"/>
              <a:gd name="connsiteX35-3155" fmla="*/ 1077083 w 1293455"/>
              <a:gd name="connsiteY35-3156" fmla="*/ 535136 h 749741"/>
              <a:gd name="connsiteX36-3157" fmla="*/ 1077083 w 1293455"/>
              <a:gd name="connsiteY36-3158" fmla="*/ 480050 h 749741"/>
              <a:gd name="connsiteX37-3159" fmla="*/ 976465 w 1293455"/>
              <a:gd name="connsiteY37-3160" fmla="*/ 356766 h 749741"/>
              <a:gd name="connsiteX0-3161" fmla="*/ 968955 w 1097583"/>
              <a:gd name="connsiteY0-3162" fmla="*/ 398190 h 749741"/>
              <a:gd name="connsiteX1-3163" fmla="*/ 1060789 w 1097583"/>
              <a:gd name="connsiteY1-3164" fmla="*/ 323386 h 749741"/>
              <a:gd name="connsiteX2-3165" fmla="*/ 982730 w 1097583"/>
              <a:gd name="connsiteY2-3166" fmla="*/ 223025 h 749741"/>
              <a:gd name="connsiteX3-3167" fmla="*/ 1060789 w 1097583"/>
              <a:gd name="connsiteY3-3168" fmla="*/ 211874 h 749741"/>
              <a:gd name="connsiteX4-3169" fmla="*/ 960428 w 1097583"/>
              <a:gd name="connsiteY4-3170" fmla="*/ 144966 h 749741"/>
              <a:gd name="connsiteX5-3171" fmla="*/ 1049638 w 1097583"/>
              <a:gd name="connsiteY5-3172" fmla="*/ 55757 h 749741"/>
              <a:gd name="connsiteX6-3173" fmla="*/ 1049638 w 1097583"/>
              <a:gd name="connsiteY6-3174" fmla="*/ 55757 h 749741"/>
              <a:gd name="connsiteX7-3175" fmla="*/ 926974 w 1097583"/>
              <a:gd name="connsiteY7-3176" fmla="*/ 78059 h 749741"/>
              <a:gd name="connsiteX8-3177" fmla="*/ 826613 w 1097583"/>
              <a:gd name="connsiteY8-3178" fmla="*/ 78059 h 749741"/>
              <a:gd name="connsiteX9-3179" fmla="*/ 826613 w 1097583"/>
              <a:gd name="connsiteY9-3180" fmla="*/ 0 h 749741"/>
              <a:gd name="connsiteX10-3181" fmla="*/ 703950 w 1097583"/>
              <a:gd name="connsiteY10-3182" fmla="*/ 44605 h 749741"/>
              <a:gd name="connsiteX11-3183" fmla="*/ 570135 w 1097583"/>
              <a:gd name="connsiteY11-3184" fmla="*/ 78059 h 749741"/>
              <a:gd name="connsiteX12-3185" fmla="*/ 469774 w 1097583"/>
              <a:gd name="connsiteY12-3186" fmla="*/ 22303 h 749741"/>
              <a:gd name="connsiteX13-3187" fmla="*/ 380564 w 1097583"/>
              <a:gd name="connsiteY13-3188" fmla="*/ 89210 h 749741"/>
              <a:gd name="connsiteX14-3189" fmla="*/ 302506 w 1097583"/>
              <a:gd name="connsiteY14-3190" fmla="*/ 167269 h 749741"/>
              <a:gd name="connsiteX15-3191" fmla="*/ 257901 w 1097583"/>
              <a:gd name="connsiteY15-3192" fmla="*/ 289932 h 749741"/>
              <a:gd name="connsiteX16-3193" fmla="*/ 146389 w 1097583"/>
              <a:gd name="connsiteY16-3194" fmla="*/ 234176 h 749741"/>
              <a:gd name="connsiteX17-3195" fmla="*/ 202145 w 1097583"/>
              <a:gd name="connsiteY17-3196" fmla="*/ 323386 h 749741"/>
              <a:gd name="connsiteX18-3197" fmla="*/ 179843 w 1097583"/>
              <a:gd name="connsiteY18-3198" fmla="*/ 468352 h 749741"/>
              <a:gd name="connsiteX19-3199" fmla="*/ 179971 w 1097583"/>
              <a:gd name="connsiteY19-3200" fmla="*/ 474231 h 749741"/>
              <a:gd name="connsiteX20-3201" fmla="*/ 87124 w 1097583"/>
              <a:gd name="connsiteY20-3202" fmla="*/ 491690 h 749741"/>
              <a:gd name="connsiteX21-3203" fmla="*/ 118075 w 1097583"/>
              <a:gd name="connsiteY21-3204" fmla="*/ 604974 h 749741"/>
              <a:gd name="connsiteX22-3205" fmla="*/ 161725 w 1097583"/>
              <a:gd name="connsiteY22-3206" fmla="*/ 657091 h 749741"/>
              <a:gd name="connsiteX23-3207" fmla="*/ 324808 w 1097583"/>
              <a:gd name="connsiteY23-3208" fmla="*/ 735150 h 749741"/>
              <a:gd name="connsiteX24-3209" fmla="*/ 458623 w 1097583"/>
              <a:gd name="connsiteY24-3210" fmla="*/ 535259 h 749741"/>
              <a:gd name="connsiteX25-3211" fmla="*/ 543589 w 1097583"/>
              <a:gd name="connsiteY25-3212" fmla="*/ 567880 h 749741"/>
              <a:gd name="connsiteX26-3213" fmla="*/ 621937 w 1097583"/>
              <a:gd name="connsiteY26-3214" fmla="*/ 610410 h 749741"/>
              <a:gd name="connsiteX27-3215" fmla="*/ 690411 w 1097583"/>
              <a:gd name="connsiteY27-3216" fmla="*/ 665900 h 749741"/>
              <a:gd name="connsiteX28-3217" fmla="*/ 687539 w 1097583"/>
              <a:gd name="connsiteY28-3218" fmla="*/ 665900 h 749741"/>
              <a:gd name="connsiteX29-3219" fmla="*/ 797962 w 1097583"/>
              <a:gd name="connsiteY29-3220" fmla="*/ 706034 h 749741"/>
              <a:gd name="connsiteX30-3221" fmla="*/ 810921 w 1097583"/>
              <a:gd name="connsiteY30-3222" fmla="*/ 708984 h 749741"/>
              <a:gd name="connsiteX31-3223" fmla="*/ 823300 w 1097583"/>
              <a:gd name="connsiteY31-3224" fmla="*/ 581333 h 749741"/>
              <a:gd name="connsiteX32-3225" fmla="*/ 888101 w 1097583"/>
              <a:gd name="connsiteY32-3226" fmla="*/ 526225 h 749741"/>
              <a:gd name="connsiteX33-3227" fmla="*/ 954079 w 1097583"/>
              <a:gd name="connsiteY33-3228" fmla="*/ 595354 h 749741"/>
              <a:gd name="connsiteX34-3229" fmla="*/ 1077083 w 1097583"/>
              <a:gd name="connsiteY34-3230" fmla="*/ 535136 h 749741"/>
              <a:gd name="connsiteX35-3231" fmla="*/ 1077083 w 1097583"/>
              <a:gd name="connsiteY35-3232" fmla="*/ 480050 h 749741"/>
              <a:gd name="connsiteX36-3233" fmla="*/ 976465 w 1097583"/>
              <a:gd name="connsiteY36-3234" fmla="*/ 356766 h 749741"/>
              <a:gd name="connsiteX0-3235" fmla="*/ 968955 w 1097583"/>
              <a:gd name="connsiteY0-3236" fmla="*/ 398190 h 749741"/>
              <a:gd name="connsiteX1-3237" fmla="*/ 1060789 w 1097583"/>
              <a:gd name="connsiteY1-3238" fmla="*/ 323386 h 749741"/>
              <a:gd name="connsiteX2-3239" fmla="*/ 982730 w 1097583"/>
              <a:gd name="connsiteY2-3240" fmla="*/ 223025 h 749741"/>
              <a:gd name="connsiteX3-3241" fmla="*/ 1060789 w 1097583"/>
              <a:gd name="connsiteY3-3242" fmla="*/ 211874 h 749741"/>
              <a:gd name="connsiteX4-3243" fmla="*/ 960428 w 1097583"/>
              <a:gd name="connsiteY4-3244" fmla="*/ 144966 h 749741"/>
              <a:gd name="connsiteX5-3245" fmla="*/ 1049638 w 1097583"/>
              <a:gd name="connsiteY5-3246" fmla="*/ 55757 h 749741"/>
              <a:gd name="connsiteX6-3247" fmla="*/ 1049638 w 1097583"/>
              <a:gd name="connsiteY6-3248" fmla="*/ 55757 h 749741"/>
              <a:gd name="connsiteX7-3249" fmla="*/ 926974 w 1097583"/>
              <a:gd name="connsiteY7-3250" fmla="*/ 78059 h 749741"/>
              <a:gd name="connsiteX8-3251" fmla="*/ 826613 w 1097583"/>
              <a:gd name="connsiteY8-3252" fmla="*/ 78059 h 749741"/>
              <a:gd name="connsiteX9-3253" fmla="*/ 826613 w 1097583"/>
              <a:gd name="connsiteY9-3254" fmla="*/ 0 h 749741"/>
              <a:gd name="connsiteX10-3255" fmla="*/ 703950 w 1097583"/>
              <a:gd name="connsiteY10-3256" fmla="*/ 44605 h 749741"/>
              <a:gd name="connsiteX11-3257" fmla="*/ 570135 w 1097583"/>
              <a:gd name="connsiteY11-3258" fmla="*/ 78059 h 749741"/>
              <a:gd name="connsiteX12-3259" fmla="*/ 469774 w 1097583"/>
              <a:gd name="connsiteY12-3260" fmla="*/ 22303 h 749741"/>
              <a:gd name="connsiteX13-3261" fmla="*/ 380564 w 1097583"/>
              <a:gd name="connsiteY13-3262" fmla="*/ 89210 h 749741"/>
              <a:gd name="connsiteX14-3263" fmla="*/ 302506 w 1097583"/>
              <a:gd name="connsiteY14-3264" fmla="*/ 167269 h 749741"/>
              <a:gd name="connsiteX15-3265" fmla="*/ 257901 w 1097583"/>
              <a:gd name="connsiteY15-3266" fmla="*/ 289932 h 749741"/>
              <a:gd name="connsiteX16-3267" fmla="*/ 146389 w 1097583"/>
              <a:gd name="connsiteY16-3268" fmla="*/ 234176 h 749741"/>
              <a:gd name="connsiteX17-3269" fmla="*/ 202145 w 1097583"/>
              <a:gd name="connsiteY17-3270" fmla="*/ 323386 h 749741"/>
              <a:gd name="connsiteX18-3271" fmla="*/ 179843 w 1097583"/>
              <a:gd name="connsiteY18-3272" fmla="*/ 468352 h 749741"/>
              <a:gd name="connsiteX19-3273" fmla="*/ 179971 w 1097583"/>
              <a:gd name="connsiteY19-3274" fmla="*/ 474231 h 749741"/>
              <a:gd name="connsiteX20-3275" fmla="*/ 87124 w 1097583"/>
              <a:gd name="connsiteY20-3276" fmla="*/ 491690 h 749741"/>
              <a:gd name="connsiteX21-3277" fmla="*/ 118075 w 1097583"/>
              <a:gd name="connsiteY21-3278" fmla="*/ 604974 h 749741"/>
              <a:gd name="connsiteX22-3279" fmla="*/ 161725 w 1097583"/>
              <a:gd name="connsiteY22-3280" fmla="*/ 657091 h 749741"/>
              <a:gd name="connsiteX23-3281" fmla="*/ 324808 w 1097583"/>
              <a:gd name="connsiteY23-3282" fmla="*/ 735150 h 749741"/>
              <a:gd name="connsiteX24-3283" fmla="*/ 458623 w 1097583"/>
              <a:gd name="connsiteY24-3284" fmla="*/ 535259 h 749741"/>
              <a:gd name="connsiteX25-3285" fmla="*/ 543589 w 1097583"/>
              <a:gd name="connsiteY25-3286" fmla="*/ 567880 h 749741"/>
              <a:gd name="connsiteX26-3287" fmla="*/ 563742 w 1097583"/>
              <a:gd name="connsiteY26-3288" fmla="*/ 573166 h 749741"/>
              <a:gd name="connsiteX27-3289" fmla="*/ 621937 w 1097583"/>
              <a:gd name="connsiteY27-3290" fmla="*/ 610410 h 749741"/>
              <a:gd name="connsiteX28-3291" fmla="*/ 690411 w 1097583"/>
              <a:gd name="connsiteY28-3292" fmla="*/ 665900 h 749741"/>
              <a:gd name="connsiteX29-3293" fmla="*/ 687539 w 1097583"/>
              <a:gd name="connsiteY29-3294" fmla="*/ 665900 h 749741"/>
              <a:gd name="connsiteX30-3295" fmla="*/ 797962 w 1097583"/>
              <a:gd name="connsiteY30-3296" fmla="*/ 706034 h 749741"/>
              <a:gd name="connsiteX31-3297" fmla="*/ 810921 w 1097583"/>
              <a:gd name="connsiteY31-3298" fmla="*/ 708984 h 749741"/>
              <a:gd name="connsiteX32-3299" fmla="*/ 823300 w 1097583"/>
              <a:gd name="connsiteY32-3300" fmla="*/ 581333 h 749741"/>
              <a:gd name="connsiteX33-3301" fmla="*/ 888101 w 1097583"/>
              <a:gd name="connsiteY33-3302" fmla="*/ 526225 h 749741"/>
              <a:gd name="connsiteX34-3303" fmla="*/ 954079 w 1097583"/>
              <a:gd name="connsiteY34-3304" fmla="*/ 595354 h 749741"/>
              <a:gd name="connsiteX35-3305" fmla="*/ 1077083 w 1097583"/>
              <a:gd name="connsiteY35-3306" fmla="*/ 535136 h 749741"/>
              <a:gd name="connsiteX36-3307" fmla="*/ 1077083 w 1097583"/>
              <a:gd name="connsiteY36-3308" fmla="*/ 480050 h 749741"/>
              <a:gd name="connsiteX37-3309" fmla="*/ 976465 w 1097583"/>
              <a:gd name="connsiteY37-3310" fmla="*/ 356766 h 749741"/>
              <a:gd name="connsiteX0-3311" fmla="*/ 881831 w 1010459"/>
              <a:gd name="connsiteY0-3312" fmla="*/ 398190 h 749741"/>
              <a:gd name="connsiteX1-3313" fmla="*/ 973665 w 1010459"/>
              <a:gd name="connsiteY1-3314" fmla="*/ 323386 h 749741"/>
              <a:gd name="connsiteX2-3315" fmla="*/ 895606 w 1010459"/>
              <a:gd name="connsiteY2-3316" fmla="*/ 223025 h 749741"/>
              <a:gd name="connsiteX3-3317" fmla="*/ 973665 w 1010459"/>
              <a:gd name="connsiteY3-3318" fmla="*/ 211874 h 749741"/>
              <a:gd name="connsiteX4-3319" fmla="*/ 873304 w 1010459"/>
              <a:gd name="connsiteY4-3320" fmla="*/ 144966 h 749741"/>
              <a:gd name="connsiteX5-3321" fmla="*/ 962514 w 1010459"/>
              <a:gd name="connsiteY5-3322" fmla="*/ 55757 h 749741"/>
              <a:gd name="connsiteX6-3323" fmla="*/ 962514 w 1010459"/>
              <a:gd name="connsiteY6-3324" fmla="*/ 55757 h 749741"/>
              <a:gd name="connsiteX7-3325" fmla="*/ 839850 w 1010459"/>
              <a:gd name="connsiteY7-3326" fmla="*/ 78059 h 749741"/>
              <a:gd name="connsiteX8-3327" fmla="*/ 739489 w 1010459"/>
              <a:gd name="connsiteY8-3328" fmla="*/ 78059 h 749741"/>
              <a:gd name="connsiteX9-3329" fmla="*/ 739489 w 1010459"/>
              <a:gd name="connsiteY9-3330" fmla="*/ 0 h 749741"/>
              <a:gd name="connsiteX10-3331" fmla="*/ 616826 w 1010459"/>
              <a:gd name="connsiteY10-3332" fmla="*/ 44605 h 749741"/>
              <a:gd name="connsiteX11-3333" fmla="*/ 483011 w 1010459"/>
              <a:gd name="connsiteY11-3334" fmla="*/ 78059 h 749741"/>
              <a:gd name="connsiteX12-3335" fmla="*/ 382650 w 1010459"/>
              <a:gd name="connsiteY12-3336" fmla="*/ 22303 h 749741"/>
              <a:gd name="connsiteX13-3337" fmla="*/ 293440 w 1010459"/>
              <a:gd name="connsiteY13-3338" fmla="*/ 89210 h 749741"/>
              <a:gd name="connsiteX14-3339" fmla="*/ 215382 w 1010459"/>
              <a:gd name="connsiteY14-3340" fmla="*/ 167269 h 749741"/>
              <a:gd name="connsiteX15-3341" fmla="*/ 170777 w 1010459"/>
              <a:gd name="connsiteY15-3342" fmla="*/ 289932 h 749741"/>
              <a:gd name="connsiteX16-3343" fmla="*/ 59265 w 1010459"/>
              <a:gd name="connsiteY16-3344" fmla="*/ 234176 h 749741"/>
              <a:gd name="connsiteX17-3345" fmla="*/ 115021 w 1010459"/>
              <a:gd name="connsiteY17-3346" fmla="*/ 323386 h 749741"/>
              <a:gd name="connsiteX18-3347" fmla="*/ 92719 w 1010459"/>
              <a:gd name="connsiteY18-3348" fmla="*/ 468352 h 749741"/>
              <a:gd name="connsiteX19-3349" fmla="*/ 92847 w 1010459"/>
              <a:gd name="connsiteY19-3350" fmla="*/ 474231 h 749741"/>
              <a:gd name="connsiteX20-3351" fmla="*/ 0 w 1010459"/>
              <a:gd name="connsiteY20-3352" fmla="*/ 491690 h 749741"/>
              <a:gd name="connsiteX21-3353" fmla="*/ 30951 w 1010459"/>
              <a:gd name="connsiteY21-3354" fmla="*/ 604974 h 749741"/>
              <a:gd name="connsiteX22-3355" fmla="*/ 74601 w 1010459"/>
              <a:gd name="connsiteY22-3356" fmla="*/ 657091 h 749741"/>
              <a:gd name="connsiteX23-3357" fmla="*/ 237684 w 1010459"/>
              <a:gd name="connsiteY23-3358" fmla="*/ 735150 h 749741"/>
              <a:gd name="connsiteX24-3359" fmla="*/ 371499 w 1010459"/>
              <a:gd name="connsiteY24-3360" fmla="*/ 535259 h 749741"/>
              <a:gd name="connsiteX25-3361" fmla="*/ 456465 w 1010459"/>
              <a:gd name="connsiteY25-3362" fmla="*/ 567880 h 749741"/>
              <a:gd name="connsiteX26-3363" fmla="*/ 476618 w 1010459"/>
              <a:gd name="connsiteY26-3364" fmla="*/ 573166 h 749741"/>
              <a:gd name="connsiteX27-3365" fmla="*/ 534813 w 1010459"/>
              <a:gd name="connsiteY27-3366" fmla="*/ 610410 h 749741"/>
              <a:gd name="connsiteX28-3367" fmla="*/ 603287 w 1010459"/>
              <a:gd name="connsiteY28-3368" fmla="*/ 665900 h 749741"/>
              <a:gd name="connsiteX29-3369" fmla="*/ 600415 w 1010459"/>
              <a:gd name="connsiteY29-3370" fmla="*/ 665900 h 749741"/>
              <a:gd name="connsiteX30-3371" fmla="*/ 710838 w 1010459"/>
              <a:gd name="connsiteY30-3372" fmla="*/ 706034 h 749741"/>
              <a:gd name="connsiteX31-3373" fmla="*/ 723797 w 1010459"/>
              <a:gd name="connsiteY31-3374" fmla="*/ 708984 h 749741"/>
              <a:gd name="connsiteX32-3375" fmla="*/ 736176 w 1010459"/>
              <a:gd name="connsiteY32-3376" fmla="*/ 581333 h 749741"/>
              <a:gd name="connsiteX33-3377" fmla="*/ 800977 w 1010459"/>
              <a:gd name="connsiteY33-3378" fmla="*/ 526225 h 749741"/>
              <a:gd name="connsiteX34-3379" fmla="*/ 866955 w 1010459"/>
              <a:gd name="connsiteY34-3380" fmla="*/ 595354 h 749741"/>
              <a:gd name="connsiteX35-3381" fmla="*/ 989959 w 1010459"/>
              <a:gd name="connsiteY35-3382" fmla="*/ 535136 h 749741"/>
              <a:gd name="connsiteX36-3383" fmla="*/ 989959 w 1010459"/>
              <a:gd name="connsiteY36-3384" fmla="*/ 480050 h 749741"/>
              <a:gd name="connsiteX37-3385" fmla="*/ 889341 w 1010459"/>
              <a:gd name="connsiteY37-3386" fmla="*/ 356766 h 749741"/>
              <a:gd name="connsiteX0-3387" fmla="*/ 881831 w 1010459"/>
              <a:gd name="connsiteY0-3388" fmla="*/ 398190 h 735150"/>
              <a:gd name="connsiteX1-3389" fmla="*/ 973665 w 1010459"/>
              <a:gd name="connsiteY1-3390" fmla="*/ 323386 h 735150"/>
              <a:gd name="connsiteX2-3391" fmla="*/ 895606 w 1010459"/>
              <a:gd name="connsiteY2-3392" fmla="*/ 223025 h 735150"/>
              <a:gd name="connsiteX3-3393" fmla="*/ 973665 w 1010459"/>
              <a:gd name="connsiteY3-3394" fmla="*/ 211874 h 735150"/>
              <a:gd name="connsiteX4-3395" fmla="*/ 873304 w 1010459"/>
              <a:gd name="connsiteY4-3396" fmla="*/ 144966 h 735150"/>
              <a:gd name="connsiteX5-3397" fmla="*/ 962514 w 1010459"/>
              <a:gd name="connsiteY5-3398" fmla="*/ 55757 h 735150"/>
              <a:gd name="connsiteX6-3399" fmla="*/ 962514 w 1010459"/>
              <a:gd name="connsiteY6-3400" fmla="*/ 55757 h 735150"/>
              <a:gd name="connsiteX7-3401" fmla="*/ 839850 w 1010459"/>
              <a:gd name="connsiteY7-3402" fmla="*/ 78059 h 735150"/>
              <a:gd name="connsiteX8-3403" fmla="*/ 739489 w 1010459"/>
              <a:gd name="connsiteY8-3404" fmla="*/ 78059 h 735150"/>
              <a:gd name="connsiteX9-3405" fmla="*/ 739489 w 1010459"/>
              <a:gd name="connsiteY9-3406" fmla="*/ 0 h 735150"/>
              <a:gd name="connsiteX10-3407" fmla="*/ 616826 w 1010459"/>
              <a:gd name="connsiteY10-3408" fmla="*/ 44605 h 735150"/>
              <a:gd name="connsiteX11-3409" fmla="*/ 483011 w 1010459"/>
              <a:gd name="connsiteY11-3410" fmla="*/ 78059 h 735150"/>
              <a:gd name="connsiteX12-3411" fmla="*/ 382650 w 1010459"/>
              <a:gd name="connsiteY12-3412" fmla="*/ 22303 h 735150"/>
              <a:gd name="connsiteX13-3413" fmla="*/ 293440 w 1010459"/>
              <a:gd name="connsiteY13-3414" fmla="*/ 89210 h 735150"/>
              <a:gd name="connsiteX14-3415" fmla="*/ 215382 w 1010459"/>
              <a:gd name="connsiteY14-3416" fmla="*/ 167269 h 735150"/>
              <a:gd name="connsiteX15-3417" fmla="*/ 170777 w 1010459"/>
              <a:gd name="connsiteY15-3418" fmla="*/ 289932 h 735150"/>
              <a:gd name="connsiteX16-3419" fmla="*/ 59265 w 1010459"/>
              <a:gd name="connsiteY16-3420" fmla="*/ 234176 h 735150"/>
              <a:gd name="connsiteX17-3421" fmla="*/ 115021 w 1010459"/>
              <a:gd name="connsiteY17-3422" fmla="*/ 323386 h 735150"/>
              <a:gd name="connsiteX18-3423" fmla="*/ 92719 w 1010459"/>
              <a:gd name="connsiteY18-3424" fmla="*/ 468352 h 735150"/>
              <a:gd name="connsiteX19-3425" fmla="*/ 92847 w 1010459"/>
              <a:gd name="connsiteY19-3426" fmla="*/ 474231 h 735150"/>
              <a:gd name="connsiteX20-3427" fmla="*/ 0 w 1010459"/>
              <a:gd name="connsiteY20-3428" fmla="*/ 491690 h 735150"/>
              <a:gd name="connsiteX21-3429" fmla="*/ 30951 w 1010459"/>
              <a:gd name="connsiteY21-3430" fmla="*/ 604974 h 735150"/>
              <a:gd name="connsiteX22-3431" fmla="*/ 74601 w 1010459"/>
              <a:gd name="connsiteY22-3432" fmla="*/ 657091 h 735150"/>
              <a:gd name="connsiteX23-3433" fmla="*/ 237684 w 1010459"/>
              <a:gd name="connsiteY23-3434" fmla="*/ 735150 h 735150"/>
              <a:gd name="connsiteX24-3435" fmla="*/ 371499 w 1010459"/>
              <a:gd name="connsiteY24-3436" fmla="*/ 535259 h 735150"/>
              <a:gd name="connsiteX25-3437" fmla="*/ 456465 w 1010459"/>
              <a:gd name="connsiteY25-3438" fmla="*/ 567880 h 735150"/>
              <a:gd name="connsiteX26-3439" fmla="*/ 476618 w 1010459"/>
              <a:gd name="connsiteY26-3440" fmla="*/ 573166 h 735150"/>
              <a:gd name="connsiteX27-3441" fmla="*/ 534813 w 1010459"/>
              <a:gd name="connsiteY27-3442" fmla="*/ 610410 h 735150"/>
              <a:gd name="connsiteX28-3443" fmla="*/ 603287 w 1010459"/>
              <a:gd name="connsiteY28-3444" fmla="*/ 665900 h 735150"/>
              <a:gd name="connsiteX29-3445" fmla="*/ 600415 w 1010459"/>
              <a:gd name="connsiteY29-3446" fmla="*/ 665900 h 735150"/>
              <a:gd name="connsiteX30-3447" fmla="*/ 710838 w 1010459"/>
              <a:gd name="connsiteY30-3448" fmla="*/ 706034 h 735150"/>
              <a:gd name="connsiteX31-3449" fmla="*/ 723797 w 1010459"/>
              <a:gd name="connsiteY31-3450" fmla="*/ 708984 h 735150"/>
              <a:gd name="connsiteX32-3451" fmla="*/ 736176 w 1010459"/>
              <a:gd name="connsiteY32-3452" fmla="*/ 581333 h 735150"/>
              <a:gd name="connsiteX33-3453" fmla="*/ 800977 w 1010459"/>
              <a:gd name="connsiteY33-3454" fmla="*/ 526225 h 735150"/>
              <a:gd name="connsiteX34-3455" fmla="*/ 866955 w 1010459"/>
              <a:gd name="connsiteY34-3456" fmla="*/ 595354 h 735150"/>
              <a:gd name="connsiteX35-3457" fmla="*/ 989959 w 1010459"/>
              <a:gd name="connsiteY35-3458" fmla="*/ 535136 h 735150"/>
              <a:gd name="connsiteX36-3459" fmla="*/ 989959 w 1010459"/>
              <a:gd name="connsiteY36-3460" fmla="*/ 480050 h 735150"/>
              <a:gd name="connsiteX37-3461" fmla="*/ 889341 w 1010459"/>
              <a:gd name="connsiteY37-3462" fmla="*/ 356766 h 735150"/>
              <a:gd name="connsiteX0-3463" fmla="*/ 931051 w 1059679"/>
              <a:gd name="connsiteY0-3464" fmla="*/ 398190 h 735150"/>
              <a:gd name="connsiteX1-3465" fmla="*/ 1022885 w 1059679"/>
              <a:gd name="connsiteY1-3466" fmla="*/ 323386 h 735150"/>
              <a:gd name="connsiteX2-3467" fmla="*/ 944826 w 1059679"/>
              <a:gd name="connsiteY2-3468" fmla="*/ 223025 h 735150"/>
              <a:gd name="connsiteX3-3469" fmla="*/ 1022885 w 1059679"/>
              <a:gd name="connsiteY3-3470" fmla="*/ 211874 h 735150"/>
              <a:gd name="connsiteX4-3471" fmla="*/ 922524 w 1059679"/>
              <a:gd name="connsiteY4-3472" fmla="*/ 144966 h 735150"/>
              <a:gd name="connsiteX5-3473" fmla="*/ 1011734 w 1059679"/>
              <a:gd name="connsiteY5-3474" fmla="*/ 55757 h 735150"/>
              <a:gd name="connsiteX6-3475" fmla="*/ 1011734 w 1059679"/>
              <a:gd name="connsiteY6-3476" fmla="*/ 55757 h 735150"/>
              <a:gd name="connsiteX7-3477" fmla="*/ 889070 w 1059679"/>
              <a:gd name="connsiteY7-3478" fmla="*/ 78059 h 735150"/>
              <a:gd name="connsiteX8-3479" fmla="*/ 788709 w 1059679"/>
              <a:gd name="connsiteY8-3480" fmla="*/ 78059 h 735150"/>
              <a:gd name="connsiteX9-3481" fmla="*/ 788709 w 1059679"/>
              <a:gd name="connsiteY9-3482" fmla="*/ 0 h 735150"/>
              <a:gd name="connsiteX10-3483" fmla="*/ 666046 w 1059679"/>
              <a:gd name="connsiteY10-3484" fmla="*/ 44605 h 735150"/>
              <a:gd name="connsiteX11-3485" fmla="*/ 532231 w 1059679"/>
              <a:gd name="connsiteY11-3486" fmla="*/ 78059 h 735150"/>
              <a:gd name="connsiteX12-3487" fmla="*/ 431870 w 1059679"/>
              <a:gd name="connsiteY12-3488" fmla="*/ 22303 h 735150"/>
              <a:gd name="connsiteX13-3489" fmla="*/ 342660 w 1059679"/>
              <a:gd name="connsiteY13-3490" fmla="*/ 89210 h 735150"/>
              <a:gd name="connsiteX14-3491" fmla="*/ 264602 w 1059679"/>
              <a:gd name="connsiteY14-3492" fmla="*/ 167269 h 735150"/>
              <a:gd name="connsiteX15-3493" fmla="*/ 219997 w 1059679"/>
              <a:gd name="connsiteY15-3494" fmla="*/ 289932 h 735150"/>
              <a:gd name="connsiteX16-3495" fmla="*/ 108485 w 1059679"/>
              <a:gd name="connsiteY16-3496" fmla="*/ 234176 h 735150"/>
              <a:gd name="connsiteX17-3497" fmla="*/ 164241 w 1059679"/>
              <a:gd name="connsiteY17-3498" fmla="*/ 323386 h 735150"/>
              <a:gd name="connsiteX18-3499" fmla="*/ 141939 w 1059679"/>
              <a:gd name="connsiteY18-3500" fmla="*/ 468352 h 735150"/>
              <a:gd name="connsiteX19-3501" fmla="*/ 142067 w 1059679"/>
              <a:gd name="connsiteY19-3502" fmla="*/ 474231 h 735150"/>
              <a:gd name="connsiteX20-3503" fmla="*/ 0 w 1059679"/>
              <a:gd name="connsiteY20-3504" fmla="*/ 463839 h 735150"/>
              <a:gd name="connsiteX21-3505" fmla="*/ 80171 w 1059679"/>
              <a:gd name="connsiteY21-3506" fmla="*/ 604974 h 735150"/>
              <a:gd name="connsiteX22-3507" fmla="*/ 123821 w 1059679"/>
              <a:gd name="connsiteY22-3508" fmla="*/ 657091 h 735150"/>
              <a:gd name="connsiteX23-3509" fmla="*/ 286904 w 1059679"/>
              <a:gd name="connsiteY23-3510" fmla="*/ 735150 h 735150"/>
              <a:gd name="connsiteX24-3511" fmla="*/ 420719 w 1059679"/>
              <a:gd name="connsiteY24-3512" fmla="*/ 535259 h 735150"/>
              <a:gd name="connsiteX25-3513" fmla="*/ 505685 w 1059679"/>
              <a:gd name="connsiteY25-3514" fmla="*/ 567880 h 735150"/>
              <a:gd name="connsiteX26-3515" fmla="*/ 525838 w 1059679"/>
              <a:gd name="connsiteY26-3516" fmla="*/ 573166 h 735150"/>
              <a:gd name="connsiteX27-3517" fmla="*/ 584033 w 1059679"/>
              <a:gd name="connsiteY27-3518" fmla="*/ 610410 h 735150"/>
              <a:gd name="connsiteX28-3519" fmla="*/ 652507 w 1059679"/>
              <a:gd name="connsiteY28-3520" fmla="*/ 665900 h 735150"/>
              <a:gd name="connsiteX29-3521" fmla="*/ 649635 w 1059679"/>
              <a:gd name="connsiteY29-3522" fmla="*/ 665900 h 735150"/>
              <a:gd name="connsiteX30-3523" fmla="*/ 760058 w 1059679"/>
              <a:gd name="connsiteY30-3524" fmla="*/ 706034 h 735150"/>
              <a:gd name="connsiteX31-3525" fmla="*/ 773017 w 1059679"/>
              <a:gd name="connsiteY31-3526" fmla="*/ 708984 h 735150"/>
              <a:gd name="connsiteX32-3527" fmla="*/ 785396 w 1059679"/>
              <a:gd name="connsiteY32-3528" fmla="*/ 581333 h 735150"/>
              <a:gd name="connsiteX33-3529" fmla="*/ 850197 w 1059679"/>
              <a:gd name="connsiteY33-3530" fmla="*/ 526225 h 735150"/>
              <a:gd name="connsiteX34-3531" fmla="*/ 916175 w 1059679"/>
              <a:gd name="connsiteY34-3532" fmla="*/ 595354 h 735150"/>
              <a:gd name="connsiteX35-3533" fmla="*/ 1039179 w 1059679"/>
              <a:gd name="connsiteY35-3534" fmla="*/ 535136 h 735150"/>
              <a:gd name="connsiteX36-3535" fmla="*/ 1039179 w 1059679"/>
              <a:gd name="connsiteY36-3536" fmla="*/ 480050 h 735150"/>
              <a:gd name="connsiteX37-3537" fmla="*/ 938561 w 1059679"/>
              <a:gd name="connsiteY37-3538" fmla="*/ 356766 h 735150"/>
              <a:gd name="connsiteX0-3539" fmla="*/ 931886 w 1060514"/>
              <a:gd name="connsiteY0-3540" fmla="*/ 398190 h 735150"/>
              <a:gd name="connsiteX1-3541" fmla="*/ 1023720 w 1060514"/>
              <a:gd name="connsiteY1-3542" fmla="*/ 323386 h 735150"/>
              <a:gd name="connsiteX2-3543" fmla="*/ 945661 w 1060514"/>
              <a:gd name="connsiteY2-3544" fmla="*/ 223025 h 735150"/>
              <a:gd name="connsiteX3-3545" fmla="*/ 1023720 w 1060514"/>
              <a:gd name="connsiteY3-3546" fmla="*/ 211874 h 735150"/>
              <a:gd name="connsiteX4-3547" fmla="*/ 923359 w 1060514"/>
              <a:gd name="connsiteY4-3548" fmla="*/ 144966 h 735150"/>
              <a:gd name="connsiteX5-3549" fmla="*/ 1012569 w 1060514"/>
              <a:gd name="connsiteY5-3550" fmla="*/ 55757 h 735150"/>
              <a:gd name="connsiteX6-3551" fmla="*/ 1012569 w 1060514"/>
              <a:gd name="connsiteY6-3552" fmla="*/ 55757 h 735150"/>
              <a:gd name="connsiteX7-3553" fmla="*/ 889905 w 1060514"/>
              <a:gd name="connsiteY7-3554" fmla="*/ 78059 h 735150"/>
              <a:gd name="connsiteX8-3555" fmla="*/ 789544 w 1060514"/>
              <a:gd name="connsiteY8-3556" fmla="*/ 78059 h 735150"/>
              <a:gd name="connsiteX9-3557" fmla="*/ 789544 w 1060514"/>
              <a:gd name="connsiteY9-3558" fmla="*/ 0 h 735150"/>
              <a:gd name="connsiteX10-3559" fmla="*/ 666881 w 1060514"/>
              <a:gd name="connsiteY10-3560" fmla="*/ 44605 h 735150"/>
              <a:gd name="connsiteX11-3561" fmla="*/ 533066 w 1060514"/>
              <a:gd name="connsiteY11-3562" fmla="*/ 78059 h 735150"/>
              <a:gd name="connsiteX12-3563" fmla="*/ 432705 w 1060514"/>
              <a:gd name="connsiteY12-3564" fmla="*/ 22303 h 735150"/>
              <a:gd name="connsiteX13-3565" fmla="*/ 343495 w 1060514"/>
              <a:gd name="connsiteY13-3566" fmla="*/ 89210 h 735150"/>
              <a:gd name="connsiteX14-3567" fmla="*/ 265437 w 1060514"/>
              <a:gd name="connsiteY14-3568" fmla="*/ 167269 h 735150"/>
              <a:gd name="connsiteX15-3569" fmla="*/ 220832 w 1060514"/>
              <a:gd name="connsiteY15-3570" fmla="*/ 289932 h 735150"/>
              <a:gd name="connsiteX16-3571" fmla="*/ 109320 w 1060514"/>
              <a:gd name="connsiteY16-3572" fmla="*/ 234176 h 735150"/>
              <a:gd name="connsiteX17-3573" fmla="*/ 165076 w 1060514"/>
              <a:gd name="connsiteY17-3574" fmla="*/ 323386 h 735150"/>
              <a:gd name="connsiteX18-3575" fmla="*/ 142774 w 1060514"/>
              <a:gd name="connsiteY18-3576" fmla="*/ 468352 h 735150"/>
              <a:gd name="connsiteX19-3577" fmla="*/ 142902 w 1060514"/>
              <a:gd name="connsiteY19-3578" fmla="*/ 474231 h 735150"/>
              <a:gd name="connsiteX20-3579" fmla="*/ 62323 w 1060514"/>
              <a:gd name="connsiteY20-3580" fmla="*/ 447940 h 735150"/>
              <a:gd name="connsiteX21-3581" fmla="*/ 835 w 1060514"/>
              <a:gd name="connsiteY21-3582" fmla="*/ 463839 h 735150"/>
              <a:gd name="connsiteX22-3583" fmla="*/ 81006 w 1060514"/>
              <a:gd name="connsiteY22-3584" fmla="*/ 604974 h 735150"/>
              <a:gd name="connsiteX23-3585" fmla="*/ 124656 w 1060514"/>
              <a:gd name="connsiteY23-3586" fmla="*/ 657091 h 735150"/>
              <a:gd name="connsiteX24-3587" fmla="*/ 287739 w 1060514"/>
              <a:gd name="connsiteY24-3588" fmla="*/ 735150 h 735150"/>
              <a:gd name="connsiteX25-3589" fmla="*/ 421554 w 1060514"/>
              <a:gd name="connsiteY25-3590" fmla="*/ 535259 h 735150"/>
              <a:gd name="connsiteX26-3591" fmla="*/ 506520 w 1060514"/>
              <a:gd name="connsiteY26-3592" fmla="*/ 567880 h 735150"/>
              <a:gd name="connsiteX27-3593" fmla="*/ 526673 w 1060514"/>
              <a:gd name="connsiteY27-3594" fmla="*/ 573166 h 735150"/>
              <a:gd name="connsiteX28-3595" fmla="*/ 584868 w 1060514"/>
              <a:gd name="connsiteY28-3596" fmla="*/ 610410 h 735150"/>
              <a:gd name="connsiteX29-3597" fmla="*/ 653342 w 1060514"/>
              <a:gd name="connsiteY29-3598" fmla="*/ 665900 h 735150"/>
              <a:gd name="connsiteX30-3599" fmla="*/ 650470 w 1060514"/>
              <a:gd name="connsiteY30-3600" fmla="*/ 665900 h 735150"/>
              <a:gd name="connsiteX31-3601" fmla="*/ 760893 w 1060514"/>
              <a:gd name="connsiteY31-3602" fmla="*/ 706034 h 735150"/>
              <a:gd name="connsiteX32-3603" fmla="*/ 773852 w 1060514"/>
              <a:gd name="connsiteY32-3604" fmla="*/ 708984 h 735150"/>
              <a:gd name="connsiteX33-3605" fmla="*/ 786231 w 1060514"/>
              <a:gd name="connsiteY33-3606" fmla="*/ 581333 h 735150"/>
              <a:gd name="connsiteX34-3607" fmla="*/ 851032 w 1060514"/>
              <a:gd name="connsiteY34-3608" fmla="*/ 526225 h 735150"/>
              <a:gd name="connsiteX35-3609" fmla="*/ 917010 w 1060514"/>
              <a:gd name="connsiteY35-3610" fmla="*/ 595354 h 735150"/>
              <a:gd name="connsiteX36-3611" fmla="*/ 1040014 w 1060514"/>
              <a:gd name="connsiteY36-3612" fmla="*/ 535136 h 735150"/>
              <a:gd name="connsiteX37-3613" fmla="*/ 1040014 w 1060514"/>
              <a:gd name="connsiteY37-3614" fmla="*/ 480050 h 735150"/>
              <a:gd name="connsiteX38" fmla="*/ 939396 w 1060514"/>
              <a:gd name="connsiteY38" fmla="*/ 356766 h 735150"/>
              <a:gd name="connsiteX0-3615" fmla="*/ 931886 w 1060514"/>
              <a:gd name="connsiteY0-3616" fmla="*/ 398190 h 735150"/>
              <a:gd name="connsiteX1-3617" fmla="*/ 1023720 w 1060514"/>
              <a:gd name="connsiteY1-3618" fmla="*/ 323386 h 735150"/>
              <a:gd name="connsiteX2-3619" fmla="*/ 945661 w 1060514"/>
              <a:gd name="connsiteY2-3620" fmla="*/ 223025 h 735150"/>
              <a:gd name="connsiteX3-3621" fmla="*/ 1023720 w 1060514"/>
              <a:gd name="connsiteY3-3622" fmla="*/ 211874 h 735150"/>
              <a:gd name="connsiteX4-3623" fmla="*/ 923359 w 1060514"/>
              <a:gd name="connsiteY4-3624" fmla="*/ 144966 h 735150"/>
              <a:gd name="connsiteX5-3625" fmla="*/ 1012569 w 1060514"/>
              <a:gd name="connsiteY5-3626" fmla="*/ 55757 h 735150"/>
              <a:gd name="connsiteX6-3627" fmla="*/ 1012569 w 1060514"/>
              <a:gd name="connsiteY6-3628" fmla="*/ 55757 h 735150"/>
              <a:gd name="connsiteX7-3629" fmla="*/ 889905 w 1060514"/>
              <a:gd name="connsiteY7-3630" fmla="*/ 78059 h 735150"/>
              <a:gd name="connsiteX8-3631" fmla="*/ 789544 w 1060514"/>
              <a:gd name="connsiteY8-3632" fmla="*/ 78059 h 735150"/>
              <a:gd name="connsiteX9-3633" fmla="*/ 789544 w 1060514"/>
              <a:gd name="connsiteY9-3634" fmla="*/ 0 h 735150"/>
              <a:gd name="connsiteX10-3635" fmla="*/ 666881 w 1060514"/>
              <a:gd name="connsiteY10-3636" fmla="*/ 44605 h 735150"/>
              <a:gd name="connsiteX11-3637" fmla="*/ 533066 w 1060514"/>
              <a:gd name="connsiteY11-3638" fmla="*/ 78059 h 735150"/>
              <a:gd name="connsiteX12-3639" fmla="*/ 432705 w 1060514"/>
              <a:gd name="connsiteY12-3640" fmla="*/ 22303 h 735150"/>
              <a:gd name="connsiteX13-3641" fmla="*/ 343495 w 1060514"/>
              <a:gd name="connsiteY13-3642" fmla="*/ 89210 h 735150"/>
              <a:gd name="connsiteX14-3643" fmla="*/ 265437 w 1060514"/>
              <a:gd name="connsiteY14-3644" fmla="*/ 167269 h 735150"/>
              <a:gd name="connsiteX15-3645" fmla="*/ 220832 w 1060514"/>
              <a:gd name="connsiteY15-3646" fmla="*/ 289932 h 735150"/>
              <a:gd name="connsiteX16-3647" fmla="*/ 109320 w 1060514"/>
              <a:gd name="connsiteY16-3648" fmla="*/ 234176 h 735150"/>
              <a:gd name="connsiteX17-3649" fmla="*/ 165076 w 1060514"/>
              <a:gd name="connsiteY17-3650" fmla="*/ 323386 h 735150"/>
              <a:gd name="connsiteX18-3651" fmla="*/ 142774 w 1060514"/>
              <a:gd name="connsiteY18-3652" fmla="*/ 468352 h 735150"/>
              <a:gd name="connsiteX19-3653" fmla="*/ 142902 w 1060514"/>
              <a:gd name="connsiteY19-3654" fmla="*/ 474231 h 735150"/>
              <a:gd name="connsiteX20-3655" fmla="*/ 62323 w 1060514"/>
              <a:gd name="connsiteY20-3656" fmla="*/ 447940 h 735150"/>
              <a:gd name="connsiteX21-3657" fmla="*/ 835 w 1060514"/>
              <a:gd name="connsiteY21-3658" fmla="*/ 463839 h 735150"/>
              <a:gd name="connsiteX22-3659" fmla="*/ 78272 w 1060514"/>
              <a:gd name="connsiteY22-3660" fmla="*/ 607759 h 735150"/>
              <a:gd name="connsiteX23-3661" fmla="*/ 124656 w 1060514"/>
              <a:gd name="connsiteY23-3662" fmla="*/ 657091 h 735150"/>
              <a:gd name="connsiteX24-3663" fmla="*/ 287739 w 1060514"/>
              <a:gd name="connsiteY24-3664" fmla="*/ 735150 h 735150"/>
              <a:gd name="connsiteX25-3665" fmla="*/ 421554 w 1060514"/>
              <a:gd name="connsiteY25-3666" fmla="*/ 535259 h 735150"/>
              <a:gd name="connsiteX26-3667" fmla="*/ 506520 w 1060514"/>
              <a:gd name="connsiteY26-3668" fmla="*/ 567880 h 735150"/>
              <a:gd name="connsiteX27-3669" fmla="*/ 526673 w 1060514"/>
              <a:gd name="connsiteY27-3670" fmla="*/ 573166 h 735150"/>
              <a:gd name="connsiteX28-3671" fmla="*/ 584868 w 1060514"/>
              <a:gd name="connsiteY28-3672" fmla="*/ 610410 h 735150"/>
              <a:gd name="connsiteX29-3673" fmla="*/ 653342 w 1060514"/>
              <a:gd name="connsiteY29-3674" fmla="*/ 665900 h 735150"/>
              <a:gd name="connsiteX30-3675" fmla="*/ 650470 w 1060514"/>
              <a:gd name="connsiteY30-3676" fmla="*/ 665900 h 735150"/>
              <a:gd name="connsiteX31-3677" fmla="*/ 760893 w 1060514"/>
              <a:gd name="connsiteY31-3678" fmla="*/ 706034 h 735150"/>
              <a:gd name="connsiteX32-3679" fmla="*/ 773852 w 1060514"/>
              <a:gd name="connsiteY32-3680" fmla="*/ 708984 h 735150"/>
              <a:gd name="connsiteX33-3681" fmla="*/ 786231 w 1060514"/>
              <a:gd name="connsiteY33-3682" fmla="*/ 581333 h 735150"/>
              <a:gd name="connsiteX34-3683" fmla="*/ 851032 w 1060514"/>
              <a:gd name="connsiteY34-3684" fmla="*/ 526225 h 735150"/>
              <a:gd name="connsiteX35-3685" fmla="*/ 917010 w 1060514"/>
              <a:gd name="connsiteY35-3686" fmla="*/ 595354 h 735150"/>
              <a:gd name="connsiteX36-3687" fmla="*/ 1040014 w 1060514"/>
              <a:gd name="connsiteY36-3688" fmla="*/ 535136 h 735150"/>
              <a:gd name="connsiteX37-3689" fmla="*/ 1040014 w 1060514"/>
              <a:gd name="connsiteY37-3690" fmla="*/ 480050 h 735150"/>
              <a:gd name="connsiteX38-3691" fmla="*/ 939396 w 1060514"/>
              <a:gd name="connsiteY38-3692" fmla="*/ 356766 h 735150"/>
              <a:gd name="connsiteX0-3693" fmla="*/ 931886 w 1060514"/>
              <a:gd name="connsiteY0-3694" fmla="*/ 398190 h 735150"/>
              <a:gd name="connsiteX1-3695" fmla="*/ 1023720 w 1060514"/>
              <a:gd name="connsiteY1-3696" fmla="*/ 323386 h 735150"/>
              <a:gd name="connsiteX2-3697" fmla="*/ 945661 w 1060514"/>
              <a:gd name="connsiteY2-3698" fmla="*/ 223025 h 735150"/>
              <a:gd name="connsiteX3-3699" fmla="*/ 1023720 w 1060514"/>
              <a:gd name="connsiteY3-3700" fmla="*/ 211874 h 735150"/>
              <a:gd name="connsiteX4-3701" fmla="*/ 923359 w 1060514"/>
              <a:gd name="connsiteY4-3702" fmla="*/ 144966 h 735150"/>
              <a:gd name="connsiteX5-3703" fmla="*/ 1012569 w 1060514"/>
              <a:gd name="connsiteY5-3704" fmla="*/ 55757 h 735150"/>
              <a:gd name="connsiteX6-3705" fmla="*/ 1012569 w 1060514"/>
              <a:gd name="connsiteY6-3706" fmla="*/ 55757 h 735150"/>
              <a:gd name="connsiteX7-3707" fmla="*/ 889905 w 1060514"/>
              <a:gd name="connsiteY7-3708" fmla="*/ 78059 h 735150"/>
              <a:gd name="connsiteX8-3709" fmla="*/ 789544 w 1060514"/>
              <a:gd name="connsiteY8-3710" fmla="*/ 78059 h 735150"/>
              <a:gd name="connsiteX9-3711" fmla="*/ 789544 w 1060514"/>
              <a:gd name="connsiteY9-3712" fmla="*/ 0 h 735150"/>
              <a:gd name="connsiteX10-3713" fmla="*/ 666881 w 1060514"/>
              <a:gd name="connsiteY10-3714" fmla="*/ 44605 h 735150"/>
              <a:gd name="connsiteX11-3715" fmla="*/ 533066 w 1060514"/>
              <a:gd name="connsiteY11-3716" fmla="*/ 78059 h 735150"/>
              <a:gd name="connsiteX12-3717" fmla="*/ 432705 w 1060514"/>
              <a:gd name="connsiteY12-3718" fmla="*/ 22303 h 735150"/>
              <a:gd name="connsiteX13-3719" fmla="*/ 343495 w 1060514"/>
              <a:gd name="connsiteY13-3720" fmla="*/ 89210 h 735150"/>
              <a:gd name="connsiteX14-3721" fmla="*/ 265437 w 1060514"/>
              <a:gd name="connsiteY14-3722" fmla="*/ 167269 h 735150"/>
              <a:gd name="connsiteX15-3723" fmla="*/ 220832 w 1060514"/>
              <a:gd name="connsiteY15-3724" fmla="*/ 289932 h 735150"/>
              <a:gd name="connsiteX16-3725" fmla="*/ 109320 w 1060514"/>
              <a:gd name="connsiteY16-3726" fmla="*/ 234176 h 735150"/>
              <a:gd name="connsiteX17-3727" fmla="*/ 165076 w 1060514"/>
              <a:gd name="connsiteY17-3728" fmla="*/ 323386 h 735150"/>
              <a:gd name="connsiteX18-3729" fmla="*/ 142774 w 1060514"/>
              <a:gd name="connsiteY18-3730" fmla="*/ 468352 h 735150"/>
              <a:gd name="connsiteX19-3731" fmla="*/ 142902 w 1060514"/>
              <a:gd name="connsiteY19-3732" fmla="*/ 474231 h 735150"/>
              <a:gd name="connsiteX20-3733" fmla="*/ 62323 w 1060514"/>
              <a:gd name="connsiteY20-3734" fmla="*/ 447940 h 735150"/>
              <a:gd name="connsiteX21-3735" fmla="*/ 835 w 1060514"/>
              <a:gd name="connsiteY21-3736" fmla="*/ 463839 h 735150"/>
              <a:gd name="connsiteX22-3737" fmla="*/ 78272 w 1060514"/>
              <a:gd name="connsiteY22-3738" fmla="*/ 607759 h 735150"/>
              <a:gd name="connsiteX23-3739" fmla="*/ 124656 w 1060514"/>
              <a:gd name="connsiteY23-3740" fmla="*/ 657091 h 735150"/>
              <a:gd name="connsiteX24-3741" fmla="*/ 287739 w 1060514"/>
              <a:gd name="connsiteY24-3742" fmla="*/ 735150 h 735150"/>
              <a:gd name="connsiteX25-3743" fmla="*/ 421554 w 1060514"/>
              <a:gd name="connsiteY25-3744" fmla="*/ 535259 h 735150"/>
              <a:gd name="connsiteX26-3745" fmla="*/ 506520 w 1060514"/>
              <a:gd name="connsiteY26-3746" fmla="*/ 567880 h 735150"/>
              <a:gd name="connsiteX27-3747" fmla="*/ 526673 w 1060514"/>
              <a:gd name="connsiteY27-3748" fmla="*/ 573166 h 735150"/>
              <a:gd name="connsiteX28-3749" fmla="*/ 584868 w 1060514"/>
              <a:gd name="connsiteY28-3750" fmla="*/ 610410 h 735150"/>
              <a:gd name="connsiteX29-3751" fmla="*/ 653342 w 1060514"/>
              <a:gd name="connsiteY29-3752" fmla="*/ 665900 h 735150"/>
              <a:gd name="connsiteX30-3753" fmla="*/ 650470 w 1060514"/>
              <a:gd name="connsiteY30-3754" fmla="*/ 665900 h 735150"/>
              <a:gd name="connsiteX31-3755" fmla="*/ 760893 w 1060514"/>
              <a:gd name="connsiteY31-3756" fmla="*/ 706034 h 735150"/>
              <a:gd name="connsiteX32-3757" fmla="*/ 773852 w 1060514"/>
              <a:gd name="connsiteY32-3758" fmla="*/ 708984 h 735150"/>
              <a:gd name="connsiteX33-3759" fmla="*/ 786231 w 1060514"/>
              <a:gd name="connsiteY33-3760" fmla="*/ 581333 h 735150"/>
              <a:gd name="connsiteX34-3761" fmla="*/ 851032 w 1060514"/>
              <a:gd name="connsiteY34-3762" fmla="*/ 526225 h 735150"/>
              <a:gd name="connsiteX35-3763" fmla="*/ 917010 w 1060514"/>
              <a:gd name="connsiteY35-3764" fmla="*/ 595354 h 735150"/>
              <a:gd name="connsiteX36-3765" fmla="*/ 1040014 w 1060514"/>
              <a:gd name="connsiteY36-3766" fmla="*/ 535136 h 735150"/>
              <a:gd name="connsiteX37-3767" fmla="*/ 1040014 w 1060514"/>
              <a:gd name="connsiteY37-3768" fmla="*/ 480050 h 735150"/>
              <a:gd name="connsiteX38-3769" fmla="*/ 939396 w 1060514"/>
              <a:gd name="connsiteY38-3770" fmla="*/ 356766 h 735150"/>
              <a:gd name="connsiteX0-3771" fmla="*/ 931886 w 1060514"/>
              <a:gd name="connsiteY0-3772" fmla="*/ 398190 h 774142"/>
              <a:gd name="connsiteX1-3773" fmla="*/ 1023720 w 1060514"/>
              <a:gd name="connsiteY1-3774" fmla="*/ 323386 h 774142"/>
              <a:gd name="connsiteX2-3775" fmla="*/ 945661 w 1060514"/>
              <a:gd name="connsiteY2-3776" fmla="*/ 223025 h 774142"/>
              <a:gd name="connsiteX3-3777" fmla="*/ 1023720 w 1060514"/>
              <a:gd name="connsiteY3-3778" fmla="*/ 211874 h 774142"/>
              <a:gd name="connsiteX4-3779" fmla="*/ 923359 w 1060514"/>
              <a:gd name="connsiteY4-3780" fmla="*/ 144966 h 774142"/>
              <a:gd name="connsiteX5-3781" fmla="*/ 1012569 w 1060514"/>
              <a:gd name="connsiteY5-3782" fmla="*/ 55757 h 774142"/>
              <a:gd name="connsiteX6-3783" fmla="*/ 1012569 w 1060514"/>
              <a:gd name="connsiteY6-3784" fmla="*/ 55757 h 774142"/>
              <a:gd name="connsiteX7-3785" fmla="*/ 889905 w 1060514"/>
              <a:gd name="connsiteY7-3786" fmla="*/ 78059 h 774142"/>
              <a:gd name="connsiteX8-3787" fmla="*/ 789544 w 1060514"/>
              <a:gd name="connsiteY8-3788" fmla="*/ 78059 h 774142"/>
              <a:gd name="connsiteX9-3789" fmla="*/ 789544 w 1060514"/>
              <a:gd name="connsiteY9-3790" fmla="*/ 0 h 774142"/>
              <a:gd name="connsiteX10-3791" fmla="*/ 666881 w 1060514"/>
              <a:gd name="connsiteY10-3792" fmla="*/ 44605 h 774142"/>
              <a:gd name="connsiteX11-3793" fmla="*/ 533066 w 1060514"/>
              <a:gd name="connsiteY11-3794" fmla="*/ 78059 h 774142"/>
              <a:gd name="connsiteX12-3795" fmla="*/ 432705 w 1060514"/>
              <a:gd name="connsiteY12-3796" fmla="*/ 22303 h 774142"/>
              <a:gd name="connsiteX13-3797" fmla="*/ 343495 w 1060514"/>
              <a:gd name="connsiteY13-3798" fmla="*/ 89210 h 774142"/>
              <a:gd name="connsiteX14-3799" fmla="*/ 265437 w 1060514"/>
              <a:gd name="connsiteY14-3800" fmla="*/ 167269 h 774142"/>
              <a:gd name="connsiteX15-3801" fmla="*/ 220832 w 1060514"/>
              <a:gd name="connsiteY15-3802" fmla="*/ 289932 h 774142"/>
              <a:gd name="connsiteX16-3803" fmla="*/ 109320 w 1060514"/>
              <a:gd name="connsiteY16-3804" fmla="*/ 234176 h 774142"/>
              <a:gd name="connsiteX17-3805" fmla="*/ 165076 w 1060514"/>
              <a:gd name="connsiteY17-3806" fmla="*/ 323386 h 774142"/>
              <a:gd name="connsiteX18-3807" fmla="*/ 142774 w 1060514"/>
              <a:gd name="connsiteY18-3808" fmla="*/ 468352 h 774142"/>
              <a:gd name="connsiteX19-3809" fmla="*/ 142902 w 1060514"/>
              <a:gd name="connsiteY19-3810" fmla="*/ 474231 h 774142"/>
              <a:gd name="connsiteX20-3811" fmla="*/ 62323 w 1060514"/>
              <a:gd name="connsiteY20-3812" fmla="*/ 447940 h 774142"/>
              <a:gd name="connsiteX21-3813" fmla="*/ 835 w 1060514"/>
              <a:gd name="connsiteY21-3814" fmla="*/ 463839 h 774142"/>
              <a:gd name="connsiteX22-3815" fmla="*/ 78272 w 1060514"/>
              <a:gd name="connsiteY22-3816" fmla="*/ 607759 h 774142"/>
              <a:gd name="connsiteX23-3817" fmla="*/ 124656 w 1060514"/>
              <a:gd name="connsiteY23-3818" fmla="*/ 657091 h 774142"/>
              <a:gd name="connsiteX24-3819" fmla="*/ 243989 w 1060514"/>
              <a:gd name="connsiteY24-3820" fmla="*/ 774142 h 774142"/>
              <a:gd name="connsiteX25-3821" fmla="*/ 421554 w 1060514"/>
              <a:gd name="connsiteY25-3822" fmla="*/ 535259 h 774142"/>
              <a:gd name="connsiteX26-3823" fmla="*/ 506520 w 1060514"/>
              <a:gd name="connsiteY26-3824" fmla="*/ 567880 h 774142"/>
              <a:gd name="connsiteX27-3825" fmla="*/ 526673 w 1060514"/>
              <a:gd name="connsiteY27-3826" fmla="*/ 573166 h 774142"/>
              <a:gd name="connsiteX28-3827" fmla="*/ 584868 w 1060514"/>
              <a:gd name="connsiteY28-3828" fmla="*/ 610410 h 774142"/>
              <a:gd name="connsiteX29-3829" fmla="*/ 653342 w 1060514"/>
              <a:gd name="connsiteY29-3830" fmla="*/ 665900 h 774142"/>
              <a:gd name="connsiteX30-3831" fmla="*/ 650470 w 1060514"/>
              <a:gd name="connsiteY30-3832" fmla="*/ 665900 h 774142"/>
              <a:gd name="connsiteX31-3833" fmla="*/ 760893 w 1060514"/>
              <a:gd name="connsiteY31-3834" fmla="*/ 706034 h 774142"/>
              <a:gd name="connsiteX32-3835" fmla="*/ 773852 w 1060514"/>
              <a:gd name="connsiteY32-3836" fmla="*/ 708984 h 774142"/>
              <a:gd name="connsiteX33-3837" fmla="*/ 786231 w 1060514"/>
              <a:gd name="connsiteY33-3838" fmla="*/ 581333 h 774142"/>
              <a:gd name="connsiteX34-3839" fmla="*/ 851032 w 1060514"/>
              <a:gd name="connsiteY34-3840" fmla="*/ 526225 h 774142"/>
              <a:gd name="connsiteX35-3841" fmla="*/ 917010 w 1060514"/>
              <a:gd name="connsiteY35-3842" fmla="*/ 595354 h 774142"/>
              <a:gd name="connsiteX36-3843" fmla="*/ 1040014 w 1060514"/>
              <a:gd name="connsiteY36-3844" fmla="*/ 535136 h 774142"/>
              <a:gd name="connsiteX37-3845" fmla="*/ 1040014 w 1060514"/>
              <a:gd name="connsiteY37-3846" fmla="*/ 480050 h 774142"/>
              <a:gd name="connsiteX38-3847" fmla="*/ 939396 w 1060514"/>
              <a:gd name="connsiteY38-3848" fmla="*/ 356766 h 774142"/>
              <a:gd name="connsiteX0-3849" fmla="*/ 931886 w 1060514"/>
              <a:gd name="connsiteY0-3850" fmla="*/ 398190 h 774142"/>
              <a:gd name="connsiteX1-3851" fmla="*/ 1023720 w 1060514"/>
              <a:gd name="connsiteY1-3852" fmla="*/ 323386 h 774142"/>
              <a:gd name="connsiteX2-3853" fmla="*/ 945661 w 1060514"/>
              <a:gd name="connsiteY2-3854" fmla="*/ 223025 h 774142"/>
              <a:gd name="connsiteX3-3855" fmla="*/ 1023720 w 1060514"/>
              <a:gd name="connsiteY3-3856" fmla="*/ 211874 h 774142"/>
              <a:gd name="connsiteX4-3857" fmla="*/ 923359 w 1060514"/>
              <a:gd name="connsiteY4-3858" fmla="*/ 144966 h 774142"/>
              <a:gd name="connsiteX5-3859" fmla="*/ 1012569 w 1060514"/>
              <a:gd name="connsiteY5-3860" fmla="*/ 55757 h 774142"/>
              <a:gd name="connsiteX6-3861" fmla="*/ 1012569 w 1060514"/>
              <a:gd name="connsiteY6-3862" fmla="*/ 55757 h 774142"/>
              <a:gd name="connsiteX7-3863" fmla="*/ 889905 w 1060514"/>
              <a:gd name="connsiteY7-3864" fmla="*/ 78059 h 774142"/>
              <a:gd name="connsiteX8-3865" fmla="*/ 789544 w 1060514"/>
              <a:gd name="connsiteY8-3866" fmla="*/ 78059 h 774142"/>
              <a:gd name="connsiteX9-3867" fmla="*/ 789544 w 1060514"/>
              <a:gd name="connsiteY9-3868" fmla="*/ 0 h 774142"/>
              <a:gd name="connsiteX10-3869" fmla="*/ 666881 w 1060514"/>
              <a:gd name="connsiteY10-3870" fmla="*/ 44605 h 774142"/>
              <a:gd name="connsiteX11-3871" fmla="*/ 533066 w 1060514"/>
              <a:gd name="connsiteY11-3872" fmla="*/ 78059 h 774142"/>
              <a:gd name="connsiteX12-3873" fmla="*/ 432705 w 1060514"/>
              <a:gd name="connsiteY12-3874" fmla="*/ 22303 h 774142"/>
              <a:gd name="connsiteX13-3875" fmla="*/ 343495 w 1060514"/>
              <a:gd name="connsiteY13-3876" fmla="*/ 89210 h 774142"/>
              <a:gd name="connsiteX14-3877" fmla="*/ 265437 w 1060514"/>
              <a:gd name="connsiteY14-3878" fmla="*/ 167269 h 774142"/>
              <a:gd name="connsiteX15-3879" fmla="*/ 220832 w 1060514"/>
              <a:gd name="connsiteY15-3880" fmla="*/ 289932 h 774142"/>
              <a:gd name="connsiteX16-3881" fmla="*/ 109320 w 1060514"/>
              <a:gd name="connsiteY16-3882" fmla="*/ 234176 h 774142"/>
              <a:gd name="connsiteX17-3883" fmla="*/ 165076 w 1060514"/>
              <a:gd name="connsiteY17-3884" fmla="*/ 323386 h 774142"/>
              <a:gd name="connsiteX18-3885" fmla="*/ 142774 w 1060514"/>
              <a:gd name="connsiteY18-3886" fmla="*/ 468352 h 774142"/>
              <a:gd name="connsiteX19-3887" fmla="*/ 142902 w 1060514"/>
              <a:gd name="connsiteY19-3888" fmla="*/ 474231 h 774142"/>
              <a:gd name="connsiteX20-3889" fmla="*/ 62323 w 1060514"/>
              <a:gd name="connsiteY20-3890" fmla="*/ 447940 h 774142"/>
              <a:gd name="connsiteX21-3891" fmla="*/ 835 w 1060514"/>
              <a:gd name="connsiteY21-3892" fmla="*/ 463839 h 774142"/>
              <a:gd name="connsiteX22-3893" fmla="*/ 78272 w 1060514"/>
              <a:gd name="connsiteY22-3894" fmla="*/ 607759 h 774142"/>
              <a:gd name="connsiteX23-3895" fmla="*/ 124656 w 1060514"/>
              <a:gd name="connsiteY23-3896" fmla="*/ 657091 h 774142"/>
              <a:gd name="connsiteX24-3897" fmla="*/ 243989 w 1060514"/>
              <a:gd name="connsiteY24-3898" fmla="*/ 774142 h 774142"/>
              <a:gd name="connsiteX25-3899" fmla="*/ 319357 w 1060514"/>
              <a:gd name="connsiteY25-3900" fmla="*/ 720887 h 774142"/>
              <a:gd name="connsiteX26-3901" fmla="*/ 421554 w 1060514"/>
              <a:gd name="connsiteY26-3902" fmla="*/ 535259 h 774142"/>
              <a:gd name="connsiteX27-3903" fmla="*/ 506520 w 1060514"/>
              <a:gd name="connsiteY27-3904" fmla="*/ 567880 h 774142"/>
              <a:gd name="connsiteX28-3905" fmla="*/ 526673 w 1060514"/>
              <a:gd name="connsiteY28-3906" fmla="*/ 573166 h 774142"/>
              <a:gd name="connsiteX29-3907" fmla="*/ 584868 w 1060514"/>
              <a:gd name="connsiteY29-3908" fmla="*/ 610410 h 774142"/>
              <a:gd name="connsiteX30-3909" fmla="*/ 653342 w 1060514"/>
              <a:gd name="connsiteY30-3910" fmla="*/ 665900 h 774142"/>
              <a:gd name="connsiteX31-3911" fmla="*/ 650470 w 1060514"/>
              <a:gd name="connsiteY31-3912" fmla="*/ 665900 h 774142"/>
              <a:gd name="connsiteX32-3913" fmla="*/ 760893 w 1060514"/>
              <a:gd name="connsiteY32-3914" fmla="*/ 706034 h 774142"/>
              <a:gd name="connsiteX33-3915" fmla="*/ 773852 w 1060514"/>
              <a:gd name="connsiteY33-3916" fmla="*/ 708984 h 774142"/>
              <a:gd name="connsiteX34-3917" fmla="*/ 786231 w 1060514"/>
              <a:gd name="connsiteY34-3918" fmla="*/ 581333 h 774142"/>
              <a:gd name="connsiteX35-3919" fmla="*/ 851032 w 1060514"/>
              <a:gd name="connsiteY35-3920" fmla="*/ 526225 h 774142"/>
              <a:gd name="connsiteX36-3921" fmla="*/ 917010 w 1060514"/>
              <a:gd name="connsiteY36-3922" fmla="*/ 595354 h 774142"/>
              <a:gd name="connsiteX37-3923" fmla="*/ 1040014 w 1060514"/>
              <a:gd name="connsiteY37-3924" fmla="*/ 535136 h 774142"/>
              <a:gd name="connsiteX38-3925" fmla="*/ 1040014 w 1060514"/>
              <a:gd name="connsiteY38-3926" fmla="*/ 480050 h 774142"/>
              <a:gd name="connsiteX39" fmla="*/ 939396 w 1060514"/>
              <a:gd name="connsiteY39" fmla="*/ 356766 h 774142"/>
              <a:gd name="connsiteX0-3927" fmla="*/ 931886 w 1060514"/>
              <a:gd name="connsiteY0-3928" fmla="*/ 398190 h 774142"/>
              <a:gd name="connsiteX1-3929" fmla="*/ 1023720 w 1060514"/>
              <a:gd name="connsiteY1-3930" fmla="*/ 323386 h 774142"/>
              <a:gd name="connsiteX2-3931" fmla="*/ 945661 w 1060514"/>
              <a:gd name="connsiteY2-3932" fmla="*/ 223025 h 774142"/>
              <a:gd name="connsiteX3-3933" fmla="*/ 1023720 w 1060514"/>
              <a:gd name="connsiteY3-3934" fmla="*/ 211874 h 774142"/>
              <a:gd name="connsiteX4-3935" fmla="*/ 923359 w 1060514"/>
              <a:gd name="connsiteY4-3936" fmla="*/ 144966 h 774142"/>
              <a:gd name="connsiteX5-3937" fmla="*/ 1012569 w 1060514"/>
              <a:gd name="connsiteY5-3938" fmla="*/ 55757 h 774142"/>
              <a:gd name="connsiteX6-3939" fmla="*/ 1012569 w 1060514"/>
              <a:gd name="connsiteY6-3940" fmla="*/ 55757 h 774142"/>
              <a:gd name="connsiteX7-3941" fmla="*/ 889905 w 1060514"/>
              <a:gd name="connsiteY7-3942" fmla="*/ 78059 h 774142"/>
              <a:gd name="connsiteX8-3943" fmla="*/ 789544 w 1060514"/>
              <a:gd name="connsiteY8-3944" fmla="*/ 78059 h 774142"/>
              <a:gd name="connsiteX9-3945" fmla="*/ 789544 w 1060514"/>
              <a:gd name="connsiteY9-3946" fmla="*/ 0 h 774142"/>
              <a:gd name="connsiteX10-3947" fmla="*/ 666881 w 1060514"/>
              <a:gd name="connsiteY10-3948" fmla="*/ 44605 h 774142"/>
              <a:gd name="connsiteX11-3949" fmla="*/ 533066 w 1060514"/>
              <a:gd name="connsiteY11-3950" fmla="*/ 78059 h 774142"/>
              <a:gd name="connsiteX12-3951" fmla="*/ 432705 w 1060514"/>
              <a:gd name="connsiteY12-3952" fmla="*/ 22303 h 774142"/>
              <a:gd name="connsiteX13-3953" fmla="*/ 343495 w 1060514"/>
              <a:gd name="connsiteY13-3954" fmla="*/ 89210 h 774142"/>
              <a:gd name="connsiteX14-3955" fmla="*/ 265437 w 1060514"/>
              <a:gd name="connsiteY14-3956" fmla="*/ 167269 h 774142"/>
              <a:gd name="connsiteX15-3957" fmla="*/ 220832 w 1060514"/>
              <a:gd name="connsiteY15-3958" fmla="*/ 289932 h 774142"/>
              <a:gd name="connsiteX16-3959" fmla="*/ 109320 w 1060514"/>
              <a:gd name="connsiteY16-3960" fmla="*/ 234176 h 774142"/>
              <a:gd name="connsiteX17-3961" fmla="*/ 165076 w 1060514"/>
              <a:gd name="connsiteY17-3962" fmla="*/ 323386 h 774142"/>
              <a:gd name="connsiteX18-3963" fmla="*/ 142774 w 1060514"/>
              <a:gd name="connsiteY18-3964" fmla="*/ 468352 h 774142"/>
              <a:gd name="connsiteX19-3965" fmla="*/ 142902 w 1060514"/>
              <a:gd name="connsiteY19-3966" fmla="*/ 474231 h 774142"/>
              <a:gd name="connsiteX20-3967" fmla="*/ 62323 w 1060514"/>
              <a:gd name="connsiteY20-3968" fmla="*/ 447940 h 774142"/>
              <a:gd name="connsiteX21-3969" fmla="*/ 835 w 1060514"/>
              <a:gd name="connsiteY21-3970" fmla="*/ 463839 h 774142"/>
              <a:gd name="connsiteX22-3971" fmla="*/ 78272 w 1060514"/>
              <a:gd name="connsiteY22-3972" fmla="*/ 607759 h 774142"/>
              <a:gd name="connsiteX23-3973" fmla="*/ 124656 w 1060514"/>
              <a:gd name="connsiteY23-3974" fmla="*/ 657091 h 774142"/>
              <a:gd name="connsiteX24-3975" fmla="*/ 243989 w 1060514"/>
              <a:gd name="connsiteY24-3976" fmla="*/ 774142 h 774142"/>
              <a:gd name="connsiteX25-3977" fmla="*/ 319357 w 1060514"/>
              <a:gd name="connsiteY25-3978" fmla="*/ 720887 h 774142"/>
              <a:gd name="connsiteX26-3979" fmla="*/ 358662 w 1060514"/>
              <a:gd name="connsiteY26-3980" fmla="*/ 599318 h 774142"/>
              <a:gd name="connsiteX27-3981" fmla="*/ 506520 w 1060514"/>
              <a:gd name="connsiteY27-3982" fmla="*/ 567880 h 774142"/>
              <a:gd name="connsiteX28-3983" fmla="*/ 526673 w 1060514"/>
              <a:gd name="connsiteY28-3984" fmla="*/ 573166 h 774142"/>
              <a:gd name="connsiteX29-3985" fmla="*/ 584868 w 1060514"/>
              <a:gd name="connsiteY29-3986" fmla="*/ 610410 h 774142"/>
              <a:gd name="connsiteX30-3987" fmla="*/ 653342 w 1060514"/>
              <a:gd name="connsiteY30-3988" fmla="*/ 665900 h 774142"/>
              <a:gd name="connsiteX31-3989" fmla="*/ 650470 w 1060514"/>
              <a:gd name="connsiteY31-3990" fmla="*/ 665900 h 774142"/>
              <a:gd name="connsiteX32-3991" fmla="*/ 760893 w 1060514"/>
              <a:gd name="connsiteY32-3992" fmla="*/ 706034 h 774142"/>
              <a:gd name="connsiteX33-3993" fmla="*/ 773852 w 1060514"/>
              <a:gd name="connsiteY33-3994" fmla="*/ 708984 h 774142"/>
              <a:gd name="connsiteX34-3995" fmla="*/ 786231 w 1060514"/>
              <a:gd name="connsiteY34-3996" fmla="*/ 581333 h 774142"/>
              <a:gd name="connsiteX35-3997" fmla="*/ 851032 w 1060514"/>
              <a:gd name="connsiteY35-3998" fmla="*/ 526225 h 774142"/>
              <a:gd name="connsiteX36-3999" fmla="*/ 917010 w 1060514"/>
              <a:gd name="connsiteY36-4000" fmla="*/ 595354 h 774142"/>
              <a:gd name="connsiteX37-4001" fmla="*/ 1040014 w 1060514"/>
              <a:gd name="connsiteY37-4002" fmla="*/ 535136 h 774142"/>
              <a:gd name="connsiteX38-4003" fmla="*/ 1040014 w 1060514"/>
              <a:gd name="connsiteY38-4004" fmla="*/ 480050 h 774142"/>
              <a:gd name="connsiteX39-4005" fmla="*/ 939396 w 1060514"/>
              <a:gd name="connsiteY39-4006" fmla="*/ 356766 h 774142"/>
              <a:gd name="connsiteX0-4007" fmla="*/ 931886 w 1060514"/>
              <a:gd name="connsiteY0-4008" fmla="*/ 398190 h 774142"/>
              <a:gd name="connsiteX1-4009" fmla="*/ 1023720 w 1060514"/>
              <a:gd name="connsiteY1-4010" fmla="*/ 323386 h 774142"/>
              <a:gd name="connsiteX2-4011" fmla="*/ 945661 w 1060514"/>
              <a:gd name="connsiteY2-4012" fmla="*/ 223025 h 774142"/>
              <a:gd name="connsiteX3-4013" fmla="*/ 1023720 w 1060514"/>
              <a:gd name="connsiteY3-4014" fmla="*/ 211874 h 774142"/>
              <a:gd name="connsiteX4-4015" fmla="*/ 923359 w 1060514"/>
              <a:gd name="connsiteY4-4016" fmla="*/ 144966 h 774142"/>
              <a:gd name="connsiteX5-4017" fmla="*/ 1012569 w 1060514"/>
              <a:gd name="connsiteY5-4018" fmla="*/ 55757 h 774142"/>
              <a:gd name="connsiteX6-4019" fmla="*/ 1012569 w 1060514"/>
              <a:gd name="connsiteY6-4020" fmla="*/ 55757 h 774142"/>
              <a:gd name="connsiteX7-4021" fmla="*/ 889905 w 1060514"/>
              <a:gd name="connsiteY7-4022" fmla="*/ 78059 h 774142"/>
              <a:gd name="connsiteX8-4023" fmla="*/ 789544 w 1060514"/>
              <a:gd name="connsiteY8-4024" fmla="*/ 78059 h 774142"/>
              <a:gd name="connsiteX9-4025" fmla="*/ 789544 w 1060514"/>
              <a:gd name="connsiteY9-4026" fmla="*/ 0 h 774142"/>
              <a:gd name="connsiteX10-4027" fmla="*/ 666881 w 1060514"/>
              <a:gd name="connsiteY10-4028" fmla="*/ 44605 h 774142"/>
              <a:gd name="connsiteX11-4029" fmla="*/ 533066 w 1060514"/>
              <a:gd name="connsiteY11-4030" fmla="*/ 78059 h 774142"/>
              <a:gd name="connsiteX12-4031" fmla="*/ 432705 w 1060514"/>
              <a:gd name="connsiteY12-4032" fmla="*/ 22303 h 774142"/>
              <a:gd name="connsiteX13-4033" fmla="*/ 343495 w 1060514"/>
              <a:gd name="connsiteY13-4034" fmla="*/ 89210 h 774142"/>
              <a:gd name="connsiteX14-4035" fmla="*/ 265437 w 1060514"/>
              <a:gd name="connsiteY14-4036" fmla="*/ 167269 h 774142"/>
              <a:gd name="connsiteX15-4037" fmla="*/ 220832 w 1060514"/>
              <a:gd name="connsiteY15-4038" fmla="*/ 289932 h 774142"/>
              <a:gd name="connsiteX16-4039" fmla="*/ 109320 w 1060514"/>
              <a:gd name="connsiteY16-4040" fmla="*/ 234176 h 774142"/>
              <a:gd name="connsiteX17-4041" fmla="*/ 165076 w 1060514"/>
              <a:gd name="connsiteY17-4042" fmla="*/ 323386 h 774142"/>
              <a:gd name="connsiteX18-4043" fmla="*/ 142774 w 1060514"/>
              <a:gd name="connsiteY18-4044" fmla="*/ 468352 h 774142"/>
              <a:gd name="connsiteX19-4045" fmla="*/ 142902 w 1060514"/>
              <a:gd name="connsiteY19-4046" fmla="*/ 474231 h 774142"/>
              <a:gd name="connsiteX20-4047" fmla="*/ 62323 w 1060514"/>
              <a:gd name="connsiteY20-4048" fmla="*/ 447940 h 774142"/>
              <a:gd name="connsiteX21-4049" fmla="*/ 835 w 1060514"/>
              <a:gd name="connsiteY21-4050" fmla="*/ 463839 h 774142"/>
              <a:gd name="connsiteX22-4051" fmla="*/ 78272 w 1060514"/>
              <a:gd name="connsiteY22-4052" fmla="*/ 607759 h 774142"/>
              <a:gd name="connsiteX23-4053" fmla="*/ 124656 w 1060514"/>
              <a:gd name="connsiteY23-4054" fmla="*/ 657091 h 774142"/>
              <a:gd name="connsiteX24-4055" fmla="*/ 243989 w 1060514"/>
              <a:gd name="connsiteY24-4056" fmla="*/ 774142 h 774142"/>
              <a:gd name="connsiteX25-4057" fmla="*/ 319357 w 1060514"/>
              <a:gd name="connsiteY25-4058" fmla="*/ 720887 h 774142"/>
              <a:gd name="connsiteX26-4059" fmla="*/ 358662 w 1060514"/>
              <a:gd name="connsiteY26-4060" fmla="*/ 599318 h 774142"/>
              <a:gd name="connsiteX27-4061" fmla="*/ 506520 w 1060514"/>
              <a:gd name="connsiteY27-4062" fmla="*/ 567880 h 774142"/>
              <a:gd name="connsiteX28-4063" fmla="*/ 526673 w 1060514"/>
              <a:gd name="connsiteY28-4064" fmla="*/ 573166 h 774142"/>
              <a:gd name="connsiteX29-4065" fmla="*/ 604009 w 1060514"/>
              <a:gd name="connsiteY29-4066" fmla="*/ 610410 h 774142"/>
              <a:gd name="connsiteX30-4067" fmla="*/ 653342 w 1060514"/>
              <a:gd name="connsiteY30-4068" fmla="*/ 665900 h 774142"/>
              <a:gd name="connsiteX31-4069" fmla="*/ 650470 w 1060514"/>
              <a:gd name="connsiteY31-4070" fmla="*/ 665900 h 774142"/>
              <a:gd name="connsiteX32-4071" fmla="*/ 760893 w 1060514"/>
              <a:gd name="connsiteY32-4072" fmla="*/ 706034 h 774142"/>
              <a:gd name="connsiteX33-4073" fmla="*/ 773852 w 1060514"/>
              <a:gd name="connsiteY33-4074" fmla="*/ 708984 h 774142"/>
              <a:gd name="connsiteX34-4075" fmla="*/ 786231 w 1060514"/>
              <a:gd name="connsiteY34-4076" fmla="*/ 581333 h 774142"/>
              <a:gd name="connsiteX35-4077" fmla="*/ 851032 w 1060514"/>
              <a:gd name="connsiteY35-4078" fmla="*/ 526225 h 774142"/>
              <a:gd name="connsiteX36-4079" fmla="*/ 917010 w 1060514"/>
              <a:gd name="connsiteY36-4080" fmla="*/ 595354 h 774142"/>
              <a:gd name="connsiteX37-4081" fmla="*/ 1040014 w 1060514"/>
              <a:gd name="connsiteY37-4082" fmla="*/ 535136 h 774142"/>
              <a:gd name="connsiteX38-4083" fmla="*/ 1040014 w 1060514"/>
              <a:gd name="connsiteY38-4084" fmla="*/ 480050 h 774142"/>
              <a:gd name="connsiteX39-4085" fmla="*/ 939396 w 1060514"/>
              <a:gd name="connsiteY39-4086" fmla="*/ 356766 h 774142"/>
              <a:gd name="connsiteX0-4087" fmla="*/ 931886 w 1060514"/>
              <a:gd name="connsiteY0-4088" fmla="*/ 398190 h 774142"/>
              <a:gd name="connsiteX1-4089" fmla="*/ 1023720 w 1060514"/>
              <a:gd name="connsiteY1-4090" fmla="*/ 323386 h 774142"/>
              <a:gd name="connsiteX2-4091" fmla="*/ 945661 w 1060514"/>
              <a:gd name="connsiteY2-4092" fmla="*/ 223025 h 774142"/>
              <a:gd name="connsiteX3-4093" fmla="*/ 1023720 w 1060514"/>
              <a:gd name="connsiteY3-4094" fmla="*/ 211874 h 774142"/>
              <a:gd name="connsiteX4-4095" fmla="*/ 923359 w 1060514"/>
              <a:gd name="connsiteY4-4096" fmla="*/ 144966 h 774142"/>
              <a:gd name="connsiteX5-4097" fmla="*/ 1012569 w 1060514"/>
              <a:gd name="connsiteY5-4098" fmla="*/ 55757 h 774142"/>
              <a:gd name="connsiteX6-4099" fmla="*/ 1012569 w 1060514"/>
              <a:gd name="connsiteY6-4100" fmla="*/ 55757 h 774142"/>
              <a:gd name="connsiteX7-4101" fmla="*/ 889905 w 1060514"/>
              <a:gd name="connsiteY7-4102" fmla="*/ 78059 h 774142"/>
              <a:gd name="connsiteX8-4103" fmla="*/ 789544 w 1060514"/>
              <a:gd name="connsiteY8-4104" fmla="*/ 78059 h 774142"/>
              <a:gd name="connsiteX9-4105" fmla="*/ 789544 w 1060514"/>
              <a:gd name="connsiteY9-4106" fmla="*/ 0 h 774142"/>
              <a:gd name="connsiteX10-4107" fmla="*/ 666881 w 1060514"/>
              <a:gd name="connsiteY10-4108" fmla="*/ 44605 h 774142"/>
              <a:gd name="connsiteX11-4109" fmla="*/ 533066 w 1060514"/>
              <a:gd name="connsiteY11-4110" fmla="*/ 78059 h 774142"/>
              <a:gd name="connsiteX12-4111" fmla="*/ 432705 w 1060514"/>
              <a:gd name="connsiteY12-4112" fmla="*/ 22303 h 774142"/>
              <a:gd name="connsiteX13-4113" fmla="*/ 343495 w 1060514"/>
              <a:gd name="connsiteY13-4114" fmla="*/ 89210 h 774142"/>
              <a:gd name="connsiteX14-4115" fmla="*/ 265437 w 1060514"/>
              <a:gd name="connsiteY14-4116" fmla="*/ 167269 h 774142"/>
              <a:gd name="connsiteX15-4117" fmla="*/ 220832 w 1060514"/>
              <a:gd name="connsiteY15-4118" fmla="*/ 289932 h 774142"/>
              <a:gd name="connsiteX16-4119" fmla="*/ 109320 w 1060514"/>
              <a:gd name="connsiteY16-4120" fmla="*/ 234176 h 774142"/>
              <a:gd name="connsiteX17-4121" fmla="*/ 165076 w 1060514"/>
              <a:gd name="connsiteY17-4122" fmla="*/ 323386 h 774142"/>
              <a:gd name="connsiteX18-4123" fmla="*/ 142774 w 1060514"/>
              <a:gd name="connsiteY18-4124" fmla="*/ 468352 h 774142"/>
              <a:gd name="connsiteX19-4125" fmla="*/ 142902 w 1060514"/>
              <a:gd name="connsiteY19-4126" fmla="*/ 474231 h 774142"/>
              <a:gd name="connsiteX20-4127" fmla="*/ 62323 w 1060514"/>
              <a:gd name="connsiteY20-4128" fmla="*/ 447940 h 774142"/>
              <a:gd name="connsiteX21-4129" fmla="*/ 835 w 1060514"/>
              <a:gd name="connsiteY21-4130" fmla="*/ 463839 h 774142"/>
              <a:gd name="connsiteX22-4131" fmla="*/ 78272 w 1060514"/>
              <a:gd name="connsiteY22-4132" fmla="*/ 607759 h 774142"/>
              <a:gd name="connsiteX23-4133" fmla="*/ 141062 w 1060514"/>
              <a:gd name="connsiteY23-4134" fmla="*/ 654307 h 774142"/>
              <a:gd name="connsiteX24-4135" fmla="*/ 243989 w 1060514"/>
              <a:gd name="connsiteY24-4136" fmla="*/ 774142 h 774142"/>
              <a:gd name="connsiteX25-4137" fmla="*/ 319357 w 1060514"/>
              <a:gd name="connsiteY25-4138" fmla="*/ 720887 h 774142"/>
              <a:gd name="connsiteX26-4139" fmla="*/ 358662 w 1060514"/>
              <a:gd name="connsiteY26-4140" fmla="*/ 599318 h 774142"/>
              <a:gd name="connsiteX27-4141" fmla="*/ 506520 w 1060514"/>
              <a:gd name="connsiteY27-4142" fmla="*/ 567880 h 774142"/>
              <a:gd name="connsiteX28-4143" fmla="*/ 526673 w 1060514"/>
              <a:gd name="connsiteY28-4144" fmla="*/ 573166 h 774142"/>
              <a:gd name="connsiteX29-4145" fmla="*/ 604009 w 1060514"/>
              <a:gd name="connsiteY29-4146" fmla="*/ 610410 h 774142"/>
              <a:gd name="connsiteX30-4147" fmla="*/ 653342 w 1060514"/>
              <a:gd name="connsiteY30-4148" fmla="*/ 665900 h 774142"/>
              <a:gd name="connsiteX31-4149" fmla="*/ 650470 w 1060514"/>
              <a:gd name="connsiteY31-4150" fmla="*/ 665900 h 774142"/>
              <a:gd name="connsiteX32-4151" fmla="*/ 760893 w 1060514"/>
              <a:gd name="connsiteY32-4152" fmla="*/ 706034 h 774142"/>
              <a:gd name="connsiteX33-4153" fmla="*/ 773852 w 1060514"/>
              <a:gd name="connsiteY33-4154" fmla="*/ 708984 h 774142"/>
              <a:gd name="connsiteX34-4155" fmla="*/ 786231 w 1060514"/>
              <a:gd name="connsiteY34-4156" fmla="*/ 581333 h 774142"/>
              <a:gd name="connsiteX35-4157" fmla="*/ 851032 w 1060514"/>
              <a:gd name="connsiteY35-4158" fmla="*/ 526225 h 774142"/>
              <a:gd name="connsiteX36-4159" fmla="*/ 917010 w 1060514"/>
              <a:gd name="connsiteY36-4160" fmla="*/ 595354 h 774142"/>
              <a:gd name="connsiteX37-4161" fmla="*/ 1040014 w 1060514"/>
              <a:gd name="connsiteY37-4162" fmla="*/ 535136 h 774142"/>
              <a:gd name="connsiteX38-4163" fmla="*/ 1040014 w 1060514"/>
              <a:gd name="connsiteY38-4164" fmla="*/ 480050 h 774142"/>
              <a:gd name="connsiteX39-4165" fmla="*/ 939396 w 1060514"/>
              <a:gd name="connsiteY39-4166" fmla="*/ 356766 h 774142"/>
              <a:gd name="connsiteX0-4167" fmla="*/ 931886 w 1060514"/>
              <a:gd name="connsiteY0-4168" fmla="*/ 398190 h 774142"/>
              <a:gd name="connsiteX1-4169" fmla="*/ 1023720 w 1060514"/>
              <a:gd name="connsiteY1-4170" fmla="*/ 323386 h 774142"/>
              <a:gd name="connsiteX2-4171" fmla="*/ 945661 w 1060514"/>
              <a:gd name="connsiteY2-4172" fmla="*/ 223025 h 774142"/>
              <a:gd name="connsiteX3-4173" fmla="*/ 1023720 w 1060514"/>
              <a:gd name="connsiteY3-4174" fmla="*/ 211874 h 774142"/>
              <a:gd name="connsiteX4-4175" fmla="*/ 923359 w 1060514"/>
              <a:gd name="connsiteY4-4176" fmla="*/ 144966 h 774142"/>
              <a:gd name="connsiteX5-4177" fmla="*/ 1012569 w 1060514"/>
              <a:gd name="connsiteY5-4178" fmla="*/ 55757 h 774142"/>
              <a:gd name="connsiteX6-4179" fmla="*/ 1012569 w 1060514"/>
              <a:gd name="connsiteY6-4180" fmla="*/ 55757 h 774142"/>
              <a:gd name="connsiteX7-4181" fmla="*/ 889905 w 1060514"/>
              <a:gd name="connsiteY7-4182" fmla="*/ 78059 h 774142"/>
              <a:gd name="connsiteX8-4183" fmla="*/ 789544 w 1060514"/>
              <a:gd name="connsiteY8-4184" fmla="*/ 78059 h 774142"/>
              <a:gd name="connsiteX9-4185" fmla="*/ 789544 w 1060514"/>
              <a:gd name="connsiteY9-4186" fmla="*/ 0 h 774142"/>
              <a:gd name="connsiteX10-4187" fmla="*/ 666881 w 1060514"/>
              <a:gd name="connsiteY10-4188" fmla="*/ 44605 h 774142"/>
              <a:gd name="connsiteX11-4189" fmla="*/ 533066 w 1060514"/>
              <a:gd name="connsiteY11-4190" fmla="*/ 78059 h 774142"/>
              <a:gd name="connsiteX12-4191" fmla="*/ 432705 w 1060514"/>
              <a:gd name="connsiteY12-4192" fmla="*/ 22303 h 774142"/>
              <a:gd name="connsiteX13-4193" fmla="*/ 343495 w 1060514"/>
              <a:gd name="connsiteY13-4194" fmla="*/ 89210 h 774142"/>
              <a:gd name="connsiteX14-4195" fmla="*/ 265437 w 1060514"/>
              <a:gd name="connsiteY14-4196" fmla="*/ 167269 h 774142"/>
              <a:gd name="connsiteX15-4197" fmla="*/ 220832 w 1060514"/>
              <a:gd name="connsiteY15-4198" fmla="*/ 289932 h 774142"/>
              <a:gd name="connsiteX16-4199" fmla="*/ 109320 w 1060514"/>
              <a:gd name="connsiteY16-4200" fmla="*/ 234176 h 774142"/>
              <a:gd name="connsiteX17-4201" fmla="*/ 165076 w 1060514"/>
              <a:gd name="connsiteY17-4202" fmla="*/ 323386 h 774142"/>
              <a:gd name="connsiteX18-4203" fmla="*/ 142774 w 1060514"/>
              <a:gd name="connsiteY18-4204" fmla="*/ 468352 h 774142"/>
              <a:gd name="connsiteX19-4205" fmla="*/ 142902 w 1060514"/>
              <a:gd name="connsiteY19-4206" fmla="*/ 474231 h 774142"/>
              <a:gd name="connsiteX20-4207" fmla="*/ 62323 w 1060514"/>
              <a:gd name="connsiteY20-4208" fmla="*/ 447940 h 774142"/>
              <a:gd name="connsiteX21-4209" fmla="*/ 835 w 1060514"/>
              <a:gd name="connsiteY21-4210" fmla="*/ 463839 h 774142"/>
              <a:gd name="connsiteX22-4211" fmla="*/ 78272 w 1060514"/>
              <a:gd name="connsiteY22-4212" fmla="*/ 607759 h 774142"/>
              <a:gd name="connsiteX23-4213" fmla="*/ 141062 w 1060514"/>
              <a:gd name="connsiteY23-4214" fmla="*/ 654307 h 774142"/>
              <a:gd name="connsiteX24-4215" fmla="*/ 243989 w 1060514"/>
              <a:gd name="connsiteY24-4216" fmla="*/ 774142 h 774142"/>
              <a:gd name="connsiteX25-4217" fmla="*/ 319357 w 1060514"/>
              <a:gd name="connsiteY25-4218" fmla="*/ 720887 h 774142"/>
              <a:gd name="connsiteX26-4219" fmla="*/ 358662 w 1060514"/>
              <a:gd name="connsiteY26-4220" fmla="*/ 599318 h 774142"/>
              <a:gd name="connsiteX27-4221" fmla="*/ 506520 w 1060514"/>
              <a:gd name="connsiteY27-4222" fmla="*/ 567880 h 774142"/>
              <a:gd name="connsiteX28-4223" fmla="*/ 526673 w 1060514"/>
              <a:gd name="connsiteY28-4224" fmla="*/ 573166 h 774142"/>
              <a:gd name="connsiteX29-4225" fmla="*/ 604009 w 1060514"/>
              <a:gd name="connsiteY29-4226" fmla="*/ 610410 h 774142"/>
              <a:gd name="connsiteX30-4227" fmla="*/ 653342 w 1060514"/>
              <a:gd name="connsiteY30-4228" fmla="*/ 665900 h 774142"/>
              <a:gd name="connsiteX31-4229" fmla="*/ 650470 w 1060514"/>
              <a:gd name="connsiteY31-4230" fmla="*/ 665900 h 774142"/>
              <a:gd name="connsiteX32-4231" fmla="*/ 760893 w 1060514"/>
              <a:gd name="connsiteY32-4232" fmla="*/ 706034 h 774142"/>
              <a:gd name="connsiteX33-4233" fmla="*/ 773852 w 1060514"/>
              <a:gd name="connsiteY33-4234" fmla="*/ 708984 h 774142"/>
              <a:gd name="connsiteX34-4235" fmla="*/ 786231 w 1060514"/>
              <a:gd name="connsiteY34-4236" fmla="*/ 581333 h 774142"/>
              <a:gd name="connsiteX35-4237" fmla="*/ 851032 w 1060514"/>
              <a:gd name="connsiteY35-4238" fmla="*/ 526225 h 774142"/>
              <a:gd name="connsiteX36-4239" fmla="*/ 917010 w 1060514"/>
              <a:gd name="connsiteY36-4240" fmla="*/ 595354 h 774142"/>
              <a:gd name="connsiteX37-4241" fmla="*/ 1040014 w 1060514"/>
              <a:gd name="connsiteY37-4242" fmla="*/ 535136 h 774142"/>
              <a:gd name="connsiteX38-4243" fmla="*/ 1040014 w 1060514"/>
              <a:gd name="connsiteY38-4244" fmla="*/ 480050 h 774142"/>
              <a:gd name="connsiteX39-4245" fmla="*/ 939396 w 1060514"/>
              <a:gd name="connsiteY39-4246" fmla="*/ 356766 h 774142"/>
              <a:gd name="connsiteX0-4247" fmla="*/ 931886 w 1060514"/>
              <a:gd name="connsiteY0-4248" fmla="*/ 398190 h 774142"/>
              <a:gd name="connsiteX1-4249" fmla="*/ 1023720 w 1060514"/>
              <a:gd name="connsiteY1-4250" fmla="*/ 323386 h 774142"/>
              <a:gd name="connsiteX2-4251" fmla="*/ 945661 w 1060514"/>
              <a:gd name="connsiteY2-4252" fmla="*/ 223025 h 774142"/>
              <a:gd name="connsiteX3-4253" fmla="*/ 1023720 w 1060514"/>
              <a:gd name="connsiteY3-4254" fmla="*/ 211874 h 774142"/>
              <a:gd name="connsiteX4-4255" fmla="*/ 923359 w 1060514"/>
              <a:gd name="connsiteY4-4256" fmla="*/ 144966 h 774142"/>
              <a:gd name="connsiteX5-4257" fmla="*/ 1012569 w 1060514"/>
              <a:gd name="connsiteY5-4258" fmla="*/ 55757 h 774142"/>
              <a:gd name="connsiteX6-4259" fmla="*/ 1012569 w 1060514"/>
              <a:gd name="connsiteY6-4260" fmla="*/ 55757 h 774142"/>
              <a:gd name="connsiteX7-4261" fmla="*/ 889905 w 1060514"/>
              <a:gd name="connsiteY7-4262" fmla="*/ 78059 h 774142"/>
              <a:gd name="connsiteX8-4263" fmla="*/ 789544 w 1060514"/>
              <a:gd name="connsiteY8-4264" fmla="*/ 78059 h 774142"/>
              <a:gd name="connsiteX9-4265" fmla="*/ 789544 w 1060514"/>
              <a:gd name="connsiteY9-4266" fmla="*/ 0 h 774142"/>
              <a:gd name="connsiteX10-4267" fmla="*/ 666881 w 1060514"/>
              <a:gd name="connsiteY10-4268" fmla="*/ 44605 h 774142"/>
              <a:gd name="connsiteX11-4269" fmla="*/ 533066 w 1060514"/>
              <a:gd name="connsiteY11-4270" fmla="*/ 78059 h 774142"/>
              <a:gd name="connsiteX12-4271" fmla="*/ 432705 w 1060514"/>
              <a:gd name="connsiteY12-4272" fmla="*/ 22303 h 774142"/>
              <a:gd name="connsiteX13-4273" fmla="*/ 343495 w 1060514"/>
              <a:gd name="connsiteY13-4274" fmla="*/ 89210 h 774142"/>
              <a:gd name="connsiteX14-4275" fmla="*/ 265437 w 1060514"/>
              <a:gd name="connsiteY14-4276" fmla="*/ 167269 h 774142"/>
              <a:gd name="connsiteX15-4277" fmla="*/ 220832 w 1060514"/>
              <a:gd name="connsiteY15-4278" fmla="*/ 289932 h 774142"/>
              <a:gd name="connsiteX16-4279" fmla="*/ 109320 w 1060514"/>
              <a:gd name="connsiteY16-4280" fmla="*/ 234176 h 774142"/>
              <a:gd name="connsiteX17-4281" fmla="*/ 165076 w 1060514"/>
              <a:gd name="connsiteY17-4282" fmla="*/ 323386 h 774142"/>
              <a:gd name="connsiteX18-4283" fmla="*/ 142774 w 1060514"/>
              <a:gd name="connsiteY18-4284" fmla="*/ 468352 h 774142"/>
              <a:gd name="connsiteX19-4285" fmla="*/ 142902 w 1060514"/>
              <a:gd name="connsiteY19-4286" fmla="*/ 474231 h 774142"/>
              <a:gd name="connsiteX20-4287" fmla="*/ 62323 w 1060514"/>
              <a:gd name="connsiteY20-4288" fmla="*/ 447940 h 774142"/>
              <a:gd name="connsiteX21-4289" fmla="*/ 835 w 1060514"/>
              <a:gd name="connsiteY21-4290" fmla="*/ 463839 h 774142"/>
              <a:gd name="connsiteX22-4291" fmla="*/ 78272 w 1060514"/>
              <a:gd name="connsiteY22-4292" fmla="*/ 607759 h 774142"/>
              <a:gd name="connsiteX23-4293" fmla="*/ 141062 w 1060514"/>
              <a:gd name="connsiteY23-4294" fmla="*/ 654307 h 774142"/>
              <a:gd name="connsiteX24-4295" fmla="*/ 243989 w 1060514"/>
              <a:gd name="connsiteY24-4296" fmla="*/ 774142 h 774142"/>
              <a:gd name="connsiteX25-4297" fmla="*/ 319357 w 1060514"/>
              <a:gd name="connsiteY25-4298" fmla="*/ 720887 h 774142"/>
              <a:gd name="connsiteX26-4299" fmla="*/ 366865 w 1060514"/>
              <a:gd name="connsiteY26-4300" fmla="*/ 599318 h 774142"/>
              <a:gd name="connsiteX27-4301" fmla="*/ 506520 w 1060514"/>
              <a:gd name="connsiteY27-4302" fmla="*/ 567880 h 774142"/>
              <a:gd name="connsiteX28-4303" fmla="*/ 526673 w 1060514"/>
              <a:gd name="connsiteY28-4304" fmla="*/ 573166 h 774142"/>
              <a:gd name="connsiteX29-4305" fmla="*/ 604009 w 1060514"/>
              <a:gd name="connsiteY29-4306" fmla="*/ 610410 h 774142"/>
              <a:gd name="connsiteX30-4307" fmla="*/ 653342 w 1060514"/>
              <a:gd name="connsiteY30-4308" fmla="*/ 665900 h 774142"/>
              <a:gd name="connsiteX31-4309" fmla="*/ 650470 w 1060514"/>
              <a:gd name="connsiteY31-4310" fmla="*/ 665900 h 774142"/>
              <a:gd name="connsiteX32-4311" fmla="*/ 760893 w 1060514"/>
              <a:gd name="connsiteY32-4312" fmla="*/ 706034 h 774142"/>
              <a:gd name="connsiteX33-4313" fmla="*/ 773852 w 1060514"/>
              <a:gd name="connsiteY33-4314" fmla="*/ 708984 h 774142"/>
              <a:gd name="connsiteX34-4315" fmla="*/ 786231 w 1060514"/>
              <a:gd name="connsiteY34-4316" fmla="*/ 581333 h 774142"/>
              <a:gd name="connsiteX35-4317" fmla="*/ 851032 w 1060514"/>
              <a:gd name="connsiteY35-4318" fmla="*/ 526225 h 774142"/>
              <a:gd name="connsiteX36-4319" fmla="*/ 917010 w 1060514"/>
              <a:gd name="connsiteY36-4320" fmla="*/ 595354 h 774142"/>
              <a:gd name="connsiteX37-4321" fmla="*/ 1040014 w 1060514"/>
              <a:gd name="connsiteY37-4322" fmla="*/ 535136 h 774142"/>
              <a:gd name="connsiteX38-4323" fmla="*/ 1040014 w 1060514"/>
              <a:gd name="connsiteY38-4324" fmla="*/ 480050 h 774142"/>
              <a:gd name="connsiteX39-4325" fmla="*/ 939396 w 1060514"/>
              <a:gd name="connsiteY39-4326" fmla="*/ 356766 h 774142"/>
              <a:gd name="connsiteX0-4327" fmla="*/ 931886 w 1060514"/>
              <a:gd name="connsiteY0-4328" fmla="*/ 398190 h 774142"/>
              <a:gd name="connsiteX1-4329" fmla="*/ 1023720 w 1060514"/>
              <a:gd name="connsiteY1-4330" fmla="*/ 323386 h 774142"/>
              <a:gd name="connsiteX2-4331" fmla="*/ 945661 w 1060514"/>
              <a:gd name="connsiteY2-4332" fmla="*/ 223025 h 774142"/>
              <a:gd name="connsiteX3-4333" fmla="*/ 1023720 w 1060514"/>
              <a:gd name="connsiteY3-4334" fmla="*/ 211874 h 774142"/>
              <a:gd name="connsiteX4-4335" fmla="*/ 923359 w 1060514"/>
              <a:gd name="connsiteY4-4336" fmla="*/ 144966 h 774142"/>
              <a:gd name="connsiteX5-4337" fmla="*/ 1012569 w 1060514"/>
              <a:gd name="connsiteY5-4338" fmla="*/ 55757 h 774142"/>
              <a:gd name="connsiteX6-4339" fmla="*/ 1012569 w 1060514"/>
              <a:gd name="connsiteY6-4340" fmla="*/ 55757 h 774142"/>
              <a:gd name="connsiteX7-4341" fmla="*/ 889905 w 1060514"/>
              <a:gd name="connsiteY7-4342" fmla="*/ 78059 h 774142"/>
              <a:gd name="connsiteX8-4343" fmla="*/ 789544 w 1060514"/>
              <a:gd name="connsiteY8-4344" fmla="*/ 78059 h 774142"/>
              <a:gd name="connsiteX9-4345" fmla="*/ 789544 w 1060514"/>
              <a:gd name="connsiteY9-4346" fmla="*/ 0 h 774142"/>
              <a:gd name="connsiteX10-4347" fmla="*/ 666881 w 1060514"/>
              <a:gd name="connsiteY10-4348" fmla="*/ 44605 h 774142"/>
              <a:gd name="connsiteX11-4349" fmla="*/ 533066 w 1060514"/>
              <a:gd name="connsiteY11-4350" fmla="*/ 78059 h 774142"/>
              <a:gd name="connsiteX12-4351" fmla="*/ 432705 w 1060514"/>
              <a:gd name="connsiteY12-4352" fmla="*/ 22303 h 774142"/>
              <a:gd name="connsiteX13-4353" fmla="*/ 343495 w 1060514"/>
              <a:gd name="connsiteY13-4354" fmla="*/ 89210 h 774142"/>
              <a:gd name="connsiteX14-4355" fmla="*/ 265437 w 1060514"/>
              <a:gd name="connsiteY14-4356" fmla="*/ 167269 h 774142"/>
              <a:gd name="connsiteX15-4357" fmla="*/ 220832 w 1060514"/>
              <a:gd name="connsiteY15-4358" fmla="*/ 289932 h 774142"/>
              <a:gd name="connsiteX16-4359" fmla="*/ 109320 w 1060514"/>
              <a:gd name="connsiteY16-4360" fmla="*/ 234176 h 774142"/>
              <a:gd name="connsiteX17-4361" fmla="*/ 165076 w 1060514"/>
              <a:gd name="connsiteY17-4362" fmla="*/ 323386 h 774142"/>
              <a:gd name="connsiteX18-4363" fmla="*/ 142774 w 1060514"/>
              <a:gd name="connsiteY18-4364" fmla="*/ 468352 h 774142"/>
              <a:gd name="connsiteX19-4365" fmla="*/ 142902 w 1060514"/>
              <a:gd name="connsiteY19-4366" fmla="*/ 474231 h 774142"/>
              <a:gd name="connsiteX20-4367" fmla="*/ 62323 w 1060514"/>
              <a:gd name="connsiteY20-4368" fmla="*/ 447940 h 774142"/>
              <a:gd name="connsiteX21-4369" fmla="*/ 835 w 1060514"/>
              <a:gd name="connsiteY21-4370" fmla="*/ 463839 h 774142"/>
              <a:gd name="connsiteX22-4371" fmla="*/ 78272 w 1060514"/>
              <a:gd name="connsiteY22-4372" fmla="*/ 607759 h 774142"/>
              <a:gd name="connsiteX23-4373" fmla="*/ 141062 w 1060514"/>
              <a:gd name="connsiteY23-4374" fmla="*/ 654307 h 774142"/>
              <a:gd name="connsiteX24-4375" fmla="*/ 243989 w 1060514"/>
              <a:gd name="connsiteY24-4376" fmla="*/ 774142 h 774142"/>
              <a:gd name="connsiteX25-4377" fmla="*/ 319357 w 1060514"/>
              <a:gd name="connsiteY25-4378" fmla="*/ 720887 h 774142"/>
              <a:gd name="connsiteX26-4379" fmla="*/ 366865 w 1060514"/>
              <a:gd name="connsiteY26-4380" fmla="*/ 599318 h 774142"/>
              <a:gd name="connsiteX27-4381" fmla="*/ 506520 w 1060514"/>
              <a:gd name="connsiteY27-4382" fmla="*/ 567880 h 774142"/>
              <a:gd name="connsiteX28-4383" fmla="*/ 526673 w 1060514"/>
              <a:gd name="connsiteY28-4384" fmla="*/ 573166 h 774142"/>
              <a:gd name="connsiteX29-4385" fmla="*/ 604009 w 1060514"/>
              <a:gd name="connsiteY29-4386" fmla="*/ 610410 h 774142"/>
              <a:gd name="connsiteX30-4387" fmla="*/ 653342 w 1060514"/>
              <a:gd name="connsiteY30-4388" fmla="*/ 665900 h 774142"/>
              <a:gd name="connsiteX31-4389" fmla="*/ 650470 w 1060514"/>
              <a:gd name="connsiteY31-4390" fmla="*/ 665900 h 774142"/>
              <a:gd name="connsiteX32-4391" fmla="*/ 688503 w 1060514"/>
              <a:gd name="connsiteY32-4392" fmla="*/ 698606 h 774142"/>
              <a:gd name="connsiteX33-4393" fmla="*/ 760893 w 1060514"/>
              <a:gd name="connsiteY33-4394" fmla="*/ 706034 h 774142"/>
              <a:gd name="connsiteX34-4395" fmla="*/ 773852 w 1060514"/>
              <a:gd name="connsiteY34-4396" fmla="*/ 708984 h 774142"/>
              <a:gd name="connsiteX35-4397" fmla="*/ 786231 w 1060514"/>
              <a:gd name="connsiteY35-4398" fmla="*/ 581333 h 774142"/>
              <a:gd name="connsiteX36-4399" fmla="*/ 851032 w 1060514"/>
              <a:gd name="connsiteY36-4400" fmla="*/ 526225 h 774142"/>
              <a:gd name="connsiteX37-4401" fmla="*/ 917010 w 1060514"/>
              <a:gd name="connsiteY37-4402" fmla="*/ 595354 h 774142"/>
              <a:gd name="connsiteX38-4403" fmla="*/ 1040014 w 1060514"/>
              <a:gd name="connsiteY38-4404" fmla="*/ 535136 h 774142"/>
              <a:gd name="connsiteX39-4405" fmla="*/ 1040014 w 1060514"/>
              <a:gd name="connsiteY39-4406" fmla="*/ 480050 h 774142"/>
              <a:gd name="connsiteX40" fmla="*/ 939396 w 1060514"/>
              <a:gd name="connsiteY40" fmla="*/ 356766 h 774142"/>
              <a:gd name="connsiteX0-4407" fmla="*/ 931886 w 1060514"/>
              <a:gd name="connsiteY0-4408" fmla="*/ 398190 h 774142"/>
              <a:gd name="connsiteX1-4409" fmla="*/ 1023720 w 1060514"/>
              <a:gd name="connsiteY1-4410" fmla="*/ 323386 h 774142"/>
              <a:gd name="connsiteX2-4411" fmla="*/ 945661 w 1060514"/>
              <a:gd name="connsiteY2-4412" fmla="*/ 223025 h 774142"/>
              <a:gd name="connsiteX3-4413" fmla="*/ 1023720 w 1060514"/>
              <a:gd name="connsiteY3-4414" fmla="*/ 211874 h 774142"/>
              <a:gd name="connsiteX4-4415" fmla="*/ 923359 w 1060514"/>
              <a:gd name="connsiteY4-4416" fmla="*/ 144966 h 774142"/>
              <a:gd name="connsiteX5-4417" fmla="*/ 1012569 w 1060514"/>
              <a:gd name="connsiteY5-4418" fmla="*/ 55757 h 774142"/>
              <a:gd name="connsiteX6-4419" fmla="*/ 1012569 w 1060514"/>
              <a:gd name="connsiteY6-4420" fmla="*/ 55757 h 774142"/>
              <a:gd name="connsiteX7-4421" fmla="*/ 889905 w 1060514"/>
              <a:gd name="connsiteY7-4422" fmla="*/ 78059 h 774142"/>
              <a:gd name="connsiteX8-4423" fmla="*/ 789544 w 1060514"/>
              <a:gd name="connsiteY8-4424" fmla="*/ 78059 h 774142"/>
              <a:gd name="connsiteX9-4425" fmla="*/ 789544 w 1060514"/>
              <a:gd name="connsiteY9-4426" fmla="*/ 0 h 774142"/>
              <a:gd name="connsiteX10-4427" fmla="*/ 666881 w 1060514"/>
              <a:gd name="connsiteY10-4428" fmla="*/ 44605 h 774142"/>
              <a:gd name="connsiteX11-4429" fmla="*/ 533066 w 1060514"/>
              <a:gd name="connsiteY11-4430" fmla="*/ 78059 h 774142"/>
              <a:gd name="connsiteX12-4431" fmla="*/ 432705 w 1060514"/>
              <a:gd name="connsiteY12-4432" fmla="*/ 22303 h 774142"/>
              <a:gd name="connsiteX13-4433" fmla="*/ 343495 w 1060514"/>
              <a:gd name="connsiteY13-4434" fmla="*/ 89210 h 774142"/>
              <a:gd name="connsiteX14-4435" fmla="*/ 265437 w 1060514"/>
              <a:gd name="connsiteY14-4436" fmla="*/ 167269 h 774142"/>
              <a:gd name="connsiteX15-4437" fmla="*/ 220832 w 1060514"/>
              <a:gd name="connsiteY15-4438" fmla="*/ 289932 h 774142"/>
              <a:gd name="connsiteX16-4439" fmla="*/ 109320 w 1060514"/>
              <a:gd name="connsiteY16-4440" fmla="*/ 234176 h 774142"/>
              <a:gd name="connsiteX17-4441" fmla="*/ 165076 w 1060514"/>
              <a:gd name="connsiteY17-4442" fmla="*/ 323386 h 774142"/>
              <a:gd name="connsiteX18-4443" fmla="*/ 142774 w 1060514"/>
              <a:gd name="connsiteY18-4444" fmla="*/ 468352 h 774142"/>
              <a:gd name="connsiteX19-4445" fmla="*/ 142902 w 1060514"/>
              <a:gd name="connsiteY19-4446" fmla="*/ 474231 h 774142"/>
              <a:gd name="connsiteX20-4447" fmla="*/ 62323 w 1060514"/>
              <a:gd name="connsiteY20-4448" fmla="*/ 447940 h 774142"/>
              <a:gd name="connsiteX21-4449" fmla="*/ 835 w 1060514"/>
              <a:gd name="connsiteY21-4450" fmla="*/ 463839 h 774142"/>
              <a:gd name="connsiteX22-4451" fmla="*/ 78272 w 1060514"/>
              <a:gd name="connsiteY22-4452" fmla="*/ 607759 h 774142"/>
              <a:gd name="connsiteX23-4453" fmla="*/ 141062 w 1060514"/>
              <a:gd name="connsiteY23-4454" fmla="*/ 654307 h 774142"/>
              <a:gd name="connsiteX24-4455" fmla="*/ 243989 w 1060514"/>
              <a:gd name="connsiteY24-4456" fmla="*/ 774142 h 774142"/>
              <a:gd name="connsiteX25-4457" fmla="*/ 319357 w 1060514"/>
              <a:gd name="connsiteY25-4458" fmla="*/ 720887 h 774142"/>
              <a:gd name="connsiteX26-4459" fmla="*/ 366865 w 1060514"/>
              <a:gd name="connsiteY26-4460" fmla="*/ 599318 h 774142"/>
              <a:gd name="connsiteX27-4461" fmla="*/ 506520 w 1060514"/>
              <a:gd name="connsiteY27-4462" fmla="*/ 567880 h 774142"/>
              <a:gd name="connsiteX28-4463" fmla="*/ 526673 w 1060514"/>
              <a:gd name="connsiteY28-4464" fmla="*/ 573166 h 774142"/>
              <a:gd name="connsiteX29-4465" fmla="*/ 604009 w 1060514"/>
              <a:gd name="connsiteY29-4466" fmla="*/ 610410 h 774142"/>
              <a:gd name="connsiteX30-4467" fmla="*/ 653342 w 1060514"/>
              <a:gd name="connsiteY30-4468" fmla="*/ 665900 h 774142"/>
              <a:gd name="connsiteX31-4469" fmla="*/ 650470 w 1060514"/>
              <a:gd name="connsiteY31-4470" fmla="*/ 665900 h 774142"/>
              <a:gd name="connsiteX32-4471" fmla="*/ 688503 w 1060514"/>
              <a:gd name="connsiteY32-4472" fmla="*/ 698606 h 774142"/>
              <a:gd name="connsiteX33-4473" fmla="*/ 773852 w 1060514"/>
              <a:gd name="connsiteY33-4474" fmla="*/ 708984 h 774142"/>
              <a:gd name="connsiteX34-4475" fmla="*/ 786231 w 1060514"/>
              <a:gd name="connsiteY34-4476" fmla="*/ 581333 h 774142"/>
              <a:gd name="connsiteX35-4477" fmla="*/ 851032 w 1060514"/>
              <a:gd name="connsiteY35-4478" fmla="*/ 526225 h 774142"/>
              <a:gd name="connsiteX36-4479" fmla="*/ 917010 w 1060514"/>
              <a:gd name="connsiteY36-4480" fmla="*/ 595354 h 774142"/>
              <a:gd name="connsiteX37-4481" fmla="*/ 1040014 w 1060514"/>
              <a:gd name="connsiteY37-4482" fmla="*/ 535136 h 774142"/>
              <a:gd name="connsiteX38-4483" fmla="*/ 1040014 w 1060514"/>
              <a:gd name="connsiteY38-4484" fmla="*/ 480050 h 774142"/>
              <a:gd name="connsiteX39-4485" fmla="*/ 939396 w 1060514"/>
              <a:gd name="connsiteY39-4486" fmla="*/ 356766 h 774142"/>
              <a:gd name="connsiteX0-4487" fmla="*/ 931886 w 1060514"/>
              <a:gd name="connsiteY0-4488" fmla="*/ 398190 h 774142"/>
              <a:gd name="connsiteX1-4489" fmla="*/ 1023720 w 1060514"/>
              <a:gd name="connsiteY1-4490" fmla="*/ 323386 h 774142"/>
              <a:gd name="connsiteX2-4491" fmla="*/ 945661 w 1060514"/>
              <a:gd name="connsiteY2-4492" fmla="*/ 223025 h 774142"/>
              <a:gd name="connsiteX3-4493" fmla="*/ 1023720 w 1060514"/>
              <a:gd name="connsiteY3-4494" fmla="*/ 211874 h 774142"/>
              <a:gd name="connsiteX4-4495" fmla="*/ 923359 w 1060514"/>
              <a:gd name="connsiteY4-4496" fmla="*/ 144966 h 774142"/>
              <a:gd name="connsiteX5-4497" fmla="*/ 1012569 w 1060514"/>
              <a:gd name="connsiteY5-4498" fmla="*/ 55757 h 774142"/>
              <a:gd name="connsiteX6-4499" fmla="*/ 1012569 w 1060514"/>
              <a:gd name="connsiteY6-4500" fmla="*/ 55757 h 774142"/>
              <a:gd name="connsiteX7-4501" fmla="*/ 889905 w 1060514"/>
              <a:gd name="connsiteY7-4502" fmla="*/ 78059 h 774142"/>
              <a:gd name="connsiteX8-4503" fmla="*/ 789544 w 1060514"/>
              <a:gd name="connsiteY8-4504" fmla="*/ 78059 h 774142"/>
              <a:gd name="connsiteX9-4505" fmla="*/ 789544 w 1060514"/>
              <a:gd name="connsiteY9-4506" fmla="*/ 0 h 774142"/>
              <a:gd name="connsiteX10-4507" fmla="*/ 666881 w 1060514"/>
              <a:gd name="connsiteY10-4508" fmla="*/ 44605 h 774142"/>
              <a:gd name="connsiteX11-4509" fmla="*/ 533066 w 1060514"/>
              <a:gd name="connsiteY11-4510" fmla="*/ 78059 h 774142"/>
              <a:gd name="connsiteX12-4511" fmla="*/ 432705 w 1060514"/>
              <a:gd name="connsiteY12-4512" fmla="*/ 22303 h 774142"/>
              <a:gd name="connsiteX13-4513" fmla="*/ 343495 w 1060514"/>
              <a:gd name="connsiteY13-4514" fmla="*/ 89210 h 774142"/>
              <a:gd name="connsiteX14-4515" fmla="*/ 265437 w 1060514"/>
              <a:gd name="connsiteY14-4516" fmla="*/ 167269 h 774142"/>
              <a:gd name="connsiteX15-4517" fmla="*/ 220832 w 1060514"/>
              <a:gd name="connsiteY15-4518" fmla="*/ 289932 h 774142"/>
              <a:gd name="connsiteX16-4519" fmla="*/ 109320 w 1060514"/>
              <a:gd name="connsiteY16-4520" fmla="*/ 234176 h 774142"/>
              <a:gd name="connsiteX17-4521" fmla="*/ 165076 w 1060514"/>
              <a:gd name="connsiteY17-4522" fmla="*/ 323386 h 774142"/>
              <a:gd name="connsiteX18-4523" fmla="*/ 142774 w 1060514"/>
              <a:gd name="connsiteY18-4524" fmla="*/ 468352 h 774142"/>
              <a:gd name="connsiteX19-4525" fmla="*/ 142902 w 1060514"/>
              <a:gd name="connsiteY19-4526" fmla="*/ 474231 h 774142"/>
              <a:gd name="connsiteX20-4527" fmla="*/ 62323 w 1060514"/>
              <a:gd name="connsiteY20-4528" fmla="*/ 447940 h 774142"/>
              <a:gd name="connsiteX21-4529" fmla="*/ 835 w 1060514"/>
              <a:gd name="connsiteY21-4530" fmla="*/ 463839 h 774142"/>
              <a:gd name="connsiteX22-4531" fmla="*/ 78272 w 1060514"/>
              <a:gd name="connsiteY22-4532" fmla="*/ 607759 h 774142"/>
              <a:gd name="connsiteX23-4533" fmla="*/ 141062 w 1060514"/>
              <a:gd name="connsiteY23-4534" fmla="*/ 654307 h 774142"/>
              <a:gd name="connsiteX24-4535" fmla="*/ 243989 w 1060514"/>
              <a:gd name="connsiteY24-4536" fmla="*/ 774142 h 774142"/>
              <a:gd name="connsiteX25-4537" fmla="*/ 319357 w 1060514"/>
              <a:gd name="connsiteY25-4538" fmla="*/ 720887 h 774142"/>
              <a:gd name="connsiteX26-4539" fmla="*/ 366865 w 1060514"/>
              <a:gd name="connsiteY26-4540" fmla="*/ 599318 h 774142"/>
              <a:gd name="connsiteX27-4541" fmla="*/ 506520 w 1060514"/>
              <a:gd name="connsiteY27-4542" fmla="*/ 567880 h 774142"/>
              <a:gd name="connsiteX28-4543" fmla="*/ 526673 w 1060514"/>
              <a:gd name="connsiteY28-4544" fmla="*/ 573166 h 774142"/>
              <a:gd name="connsiteX29-4545" fmla="*/ 604009 w 1060514"/>
              <a:gd name="connsiteY29-4546" fmla="*/ 610410 h 774142"/>
              <a:gd name="connsiteX30-4547" fmla="*/ 653342 w 1060514"/>
              <a:gd name="connsiteY30-4548" fmla="*/ 665900 h 774142"/>
              <a:gd name="connsiteX31-4549" fmla="*/ 650470 w 1060514"/>
              <a:gd name="connsiteY31-4550" fmla="*/ 665900 h 774142"/>
              <a:gd name="connsiteX32-4551" fmla="*/ 688503 w 1060514"/>
              <a:gd name="connsiteY32-4552" fmla="*/ 698606 h 774142"/>
              <a:gd name="connsiteX33-4553" fmla="*/ 771117 w 1060514"/>
              <a:gd name="connsiteY33-4554" fmla="*/ 728480 h 774142"/>
              <a:gd name="connsiteX34-4555" fmla="*/ 786231 w 1060514"/>
              <a:gd name="connsiteY34-4556" fmla="*/ 581333 h 774142"/>
              <a:gd name="connsiteX35-4557" fmla="*/ 851032 w 1060514"/>
              <a:gd name="connsiteY35-4558" fmla="*/ 526225 h 774142"/>
              <a:gd name="connsiteX36-4559" fmla="*/ 917010 w 1060514"/>
              <a:gd name="connsiteY36-4560" fmla="*/ 595354 h 774142"/>
              <a:gd name="connsiteX37-4561" fmla="*/ 1040014 w 1060514"/>
              <a:gd name="connsiteY37-4562" fmla="*/ 535136 h 774142"/>
              <a:gd name="connsiteX38-4563" fmla="*/ 1040014 w 1060514"/>
              <a:gd name="connsiteY38-4564" fmla="*/ 480050 h 774142"/>
              <a:gd name="connsiteX39-4565" fmla="*/ 939396 w 1060514"/>
              <a:gd name="connsiteY39-4566" fmla="*/ 356766 h 774142"/>
              <a:gd name="connsiteX0-4567" fmla="*/ 931886 w 1060514"/>
              <a:gd name="connsiteY0-4568" fmla="*/ 398190 h 774142"/>
              <a:gd name="connsiteX1-4569" fmla="*/ 1023720 w 1060514"/>
              <a:gd name="connsiteY1-4570" fmla="*/ 323386 h 774142"/>
              <a:gd name="connsiteX2-4571" fmla="*/ 945661 w 1060514"/>
              <a:gd name="connsiteY2-4572" fmla="*/ 223025 h 774142"/>
              <a:gd name="connsiteX3-4573" fmla="*/ 1023720 w 1060514"/>
              <a:gd name="connsiteY3-4574" fmla="*/ 211874 h 774142"/>
              <a:gd name="connsiteX4-4575" fmla="*/ 923359 w 1060514"/>
              <a:gd name="connsiteY4-4576" fmla="*/ 144966 h 774142"/>
              <a:gd name="connsiteX5-4577" fmla="*/ 1012569 w 1060514"/>
              <a:gd name="connsiteY5-4578" fmla="*/ 55757 h 774142"/>
              <a:gd name="connsiteX6-4579" fmla="*/ 1012569 w 1060514"/>
              <a:gd name="connsiteY6-4580" fmla="*/ 55757 h 774142"/>
              <a:gd name="connsiteX7-4581" fmla="*/ 889905 w 1060514"/>
              <a:gd name="connsiteY7-4582" fmla="*/ 78059 h 774142"/>
              <a:gd name="connsiteX8-4583" fmla="*/ 789544 w 1060514"/>
              <a:gd name="connsiteY8-4584" fmla="*/ 78059 h 774142"/>
              <a:gd name="connsiteX9-4585" fmla="*/ 789544 w 1060514"/>
              <a:gd name="connsiteY9-4586" fmla="*/ 0 h 774142"/>
              <a:gd name="connsiteX10-4587" fmla="*/ 666881 w 1060514"/>
              <a:gd name="connsiteY10-4588" fmla="*/ 44605 h 774142"/>
              <a:gd name="connsiteX11-4589" fmla="*/ 533066 w 1060514"/>
              <a:gd name="connsiteY11-4590" fmla="*/ 78059 h 774142"/>
              <a:gd name="connsiteX12-4591" fmla="*/ 432705 w 1060514"/>
              <a:gd name="connsiteY12-4592" fmla="*/ 22303 h 774142"/>
              <a:gd name="connsiteX13-4593" fmla="*/ 343495 w 1060514"/>
              <a:gd name="connsiteY13-4594" fmla="*/ 89210 h 774142"/>
              <a:gd name="connsiteX14-4595" fmla="*/ 265437 w 1060514"/>
              <a:gd name="connsiteY14-4596" fmla="*/ 167269 h 774142"/>
              <a:gd name="connsiteX15-4597" fmla="*/ 220832 w 1060514"/>
              <a:gd name="connsiteY15-4598" fmla="*/ 289932 h 774142"/>
              <a:gd name="connsiteX16-4599" fmla="*/ 109320 w 1060514"/>
              <a:gd name="connsiteY16-4600" fmla="*/ 234176 h 774142"/>
              <a:gd name="connsiteX17-4601" fmla="*/ 165076 w 1060514"/>
              <a:gd name="connsiteY17-4602" fmla="*/ 323386 h 774142"/>
              <a:gd name="connsiteX18-4603" fmla="*/ 142774 w 1060514"/>
              <a:gd name="connsiteY18-4604" fmla="*/ 468352 h 774142"/>
              <a:gd name="connsiteX19-4605" fmla="*/ 142902 w 1060514"/>
              <a:gd name="connsiteY19-4606" fmla="*/ 474231 h 774142"/>
              <a:gd name="connsiteX20-4607" fmla="*/ 62323 w 1060514"/>
              <a:gd name="connsiteY20-4608" fmla="*/ 447940 h 774142"/>
              <a:gd name="connsiteX21-4609" fmla="*/ 835 w 1060514"/>
              <a:gd name="connsiteY21-4610" fmla="*/ 463839 h 774142"/>
              <a:gd name="connsiteX22-4611" fmla="*/ 78272 w 1060514"/>
              <a:gd name="connsiteY22-4612" fmla="*/ 607759 h 774142"/>
              <a:gd name="connsiteX23-4613" fmla="*/ 141062 w 1060514"/>
              <a:gd name="connsiteY23-4614" fmla="*/ 654307 h 774142"/>
              <a:gd name="connsiteX24-4615" fmla="*/ 243989 w 1060514"/>
              <a:gd name="connsiteY24-4616" fmla="*/ 774142 h 774142"/>
              <a:gd name="connsiteX25-4617" fmla="*/ 319357 w 1060514"/>
              <a:gd name="connsiteY25-4618" fmla="*/ 720887 h 774142"/>
              <a:gd name="connsiteX26-4619" fmla="*/ 366865 w 1060514"/>
              <a:gd name="connsiteY26-4620" fmla="*/ 599318 h 774142"/>
              <a:gd name="connsiteX27-4621" fmla="*/ 506520 w 1060514"/>
              <a:gd name="connsiteY27-4622" fmla="*/ 567880 h 774142"/>
              <a:gd name="connsiteX28-4623" fmla="*/ 526673 w 1060514"/>
              <a:gd name="connsiteY28-4624" fmla="*/ 573166 h 774142"/>
              <a:gd name="connsiteX29-4625" fmla="*/ 604009 w 1060514"/>
              <a:gd name="connsiteY29-4626" fmla="*/ 610410 h 774142"/>
              <a:gd name="connsiteX30-4627" fmla="*/ 653342 w 1060514"/>
              <a:gd name="connsiteY30-4628" fmla="*/ 665900 h 774142"/>
              <a:gd name="connsiteX31-4629" fmla="*/ 650470 w 1060514"/>
              <a:gd name="connsiteY31-4630" fmla="*/ 665900 h 774142"/>
              <a:gd name="connsiteX32-4631" fmla="*/ 688503 w 1060514"/>
              <a:gd name="connsiteY32-4632" fmla="*/ 698606 h 774142"/>
              <a:gd name="connsiteX33-4633" fmla="*/ 771117 w 1060514"/>
              <a:gd name="connsiteY33-4634" fmla="*/ 728480 h 774142"/>
              <a:gd name="connsiteX34-4635" fmla="*/ 786231 w 1060514"/>
              <a:gd name="connsiteY34-4636" fmla="*/ 581333 h 774142"/>
              <a:gd name="connsiteX35-4637" fmla="*/ 864703 w 1060514"/>
              <a:gd name="connsiteY35-4638" fmla="*/ 545721 h 774142"/>
              <a:gd name="connsiteX36-4639" fmla="*/ 917010 w 1060514"/>
              <a:gd name="connsiteY36-4640" fmla="*/ 595354 h 774142"/>
              <a:gd name="connsiteX37-4641" fmla="*/ 1040014 w 1060514"/>
              <a:gd name="connsiteY37-4642" fmla="*/ 535136 h 774142"/>
              <a:gd name="connsiteX38-4643" fmla="*/ 1040014 w 1060514"/>
              <a:gd name="connsiteY38-4644" fmla="*/ 480050 h 774142"/>
              <a:gd name="connsiteX39-4645" fmla="*/ 939396 w 1060514"/>
              <a:gd name="connsiteY39-4646" fmla="*/ 356766 h 774142"/>
              <a:gd name="connsiteX0-4647" fmla="*/ 931886 w 1060514"/>
              <a:gd name="connsiteY0-4648" fmla="*/ 398190 h 774142"/>
              <a:gd name="connsiteX1-4649" fmla="*/ 1023720 w 1060514"/>
              <a:gd name="connsiteY1-4650" fmla="*/ 323386 h 774142"/>
              <a:gd name="connsiteX2-4651" fmla="*/ 945661 w 1060514"/>
              <a:gd name="connsiteY2-4652" fmla="*/ 223025 h 774142"/>
              <a:gd name="connsiteX3-4653" fmla="*/ 1023720 w 1060514"/>
              <a:gd name="connsiteY3-4654" fmla="*/ 211874 h 774142"/>
              <a:gd name="connsiteX4-4655" fmla="*/ 923359 w 1060514"/>
              <a:gd name="connsiteY4-4656" fmla="*/ 144966 h 774142"/>
              <a:gd name="connsiteX5-4657" fmla="*/ 1012569 w 1060514"/>
              <a:gd name="connsiteY5-4658" fmla="*/ 55757 h 774142"/>
              <a:gd name="connsiteX6-4659" fmla="*/ 1012569 w 1060514"/>
              <a:gd name="connsiteY6-4660" fmla="*/ 55757 h 774142"/>
              <a:gd name="connsiteX7-4661" fmla="*/ 889905 w 1060514"/>
              <a:gd name="connsiteY7-4662" fmla="*/ 78059 h 774142"/>
              <a:gd name="connsiteX8-4663" fmla="*/ 789544 w 1060514"/>
              <a:gd name="connsiteY8-4664" fmla="*/ 78059 h 774142"/>
              <a:gd name="connsiteX9-4665" fmla="*/ 789544 w 1060514"/>
              <a:gd name="connsiteY9-4666" fmla="*/ 0 h 774142"/>
              <a:gd name="connsiteX10-4667" fmla="*/ 666881 w 1060514"/>
              <a:gd name="connsiteY10-4668" fmla="*/ 44605 h 774142"/>
              <a:gd name="connsiteX11-4669" fmla="*/ 533066 w 1060514"/>
              <a:gd name="connsiteY11-4670" fmla="*/ 78059 h 774142"/>
              <a:gd name="connsiteX12-4671" fmla="*/ 432705 w 1060514"/>
              <a:gd name="connsiteY12-4672" fmla="*/ 22303 h 774142"/>
              <a:gd name="connsiteX13-4673" fmla="*/ 343495 w 1060514"/>
              <a:gd name="connsiteY13-4674" fmla="*/ 89210 h 774142"/>
              <a:gd name="connsiteX14-4675" fmla="*/ 265437 w 1060514"/>
              <a:gd name="connsiteY14-4676" fmla="*/ 167269 h 774142"/>
              <a:gd name="connsiteX15-4677" fmla="*/ 220832 w 1060514"/>
              <a:gd name="connsiteY15-4678" fmla="*/ 289932 h 774142"/>
              <a:gd name="connsiteX16-4679" fmla="*/ 109320 w 1060514"/>
              <a:gd name="connsiteY16-4680" fmla="*/ 234176 h 774142"/>
              <a:gd name="connsiteX17-4681" fmla="*/ 165076 w 1060514"/>
              <a:gd name="connsiteY17-4682" fmla="*/ 323386 h 774142"/>
              <a:gd name="connsiteX18-4683" fmla="*/ 142774 w 1060514"/>
              <a:gd name="connsiteY18-4684" fmla="*/ 468352 h 774142"/>
              <a:gd name="connsiteX19-4685" fmla="*/ 142902 w 1060514"/>
              <a:gd name="connsiteY19-4686" fmla="*/ 474231 h 774142"/>
              <a:gd name="connsiteX20-4687" fmla="*/ 62323 w 1060514"/>
              <a:gd name="connsiteY20-4688" fmla="*/ 447940 h 774142"/>
              <a:gd name="connsiteX21-4689" fmla="*/ 835 w 1060514"/>
              <a:gd name="connsiteY21-4690" fmla="*/ 463839 h 774142"/>
              <a:gd name="connsiteX22-4691" fmla="*/ 78272 w 1060514"/>
              <a:gd name="connsiteY22-4692" fmla="*/ 607759 h 774142"/>
              <a:gd name="connsiteX23-4693" fmla="*/ 141062 w 1060514"/>
              <a:gd name="connsiteY23-4694" fmla="*/ 654307 h 774142"/>
              <a:gd name="connsiteX24-4695" fmla="*/ 243989 w 1060514"/>
              <a:gd name="connsiteY24-4696" fmla="*/ 774142 h 774142"/>
              <a:gd name="connsiteX25-4697" fmla="*/ 319357 w 1060514"/>
              <a:gd name="connsiteY25-4698" fmla="*/ 720887 h 774142"/>
              <a:gd name="connsiteX26-4699" fmla="*/ 366865 w 1060514"/>
              <a:gd name="connsiteY26-4700" fmla="*/ 599318 h 774142"/>
              <a:gd name="connsiteX27-4701" fmla="*/ 506520 w 1060514"/>
              <a:gd name="connsiteY27-4702" fmla="*/ 567880 h 774142"/>
              <a:gd name="connsiteX28-4703" fmla="*/ 526673 w 1060514"/>
              <a:gd name="connsiteY28-4704" fmla="*/ 573166 h 774142"/>
              <a:gd name="connsiteX29-4705" fmla="*/ 604009 w 1060514"/>
              <a:gd name="connsiteY29-4706" fmla="*/ 610410 h 774142"/>
              <a:gd name="connsiteX30-4707" fmla="*/ 653342 w 1060514"/>
              <a:gd name="connsiteY30-4708" fmla="*/ 665900 h 774142"/>
              <a:gd name="connsiteX31-4709" fmla="*/ 650470 w 1060514"/>
              <a:gd name="connsiteY31-4710" fmla="*/ 665900 h 774142"/>
              <a:gd name="connsiteX32-4711" fmla="*/ 688503 w 1060514"/>
              <a:gd name="connsiteY32-4712" fmla="*/ 698606 h 774142"/>
              <a:gd name="connsiteX33-4713" fmla="*/ 771117 w 1060514"/>
              <a:gd name="connsiteY33-4714" fmla="*/ 728480 h 774142"/>
              <a:gd name="connsiteX34-4715" fmla="*/ 761621 w 1060514"/>
              <a:gd name="connsiteY34-4716" fmla="*/ 606400 h 774142"/>
              <a:gd name="connsiteX35-4717" fmla="*/ 864703 w 1060514"/>
              <a:gd name="connsiteY35-4718" fmla="*/ 545721 h 774142"/>
              <a:gd name="connsiteX36-4719" fmla="*/ 917010 w 1060514"/>
              <a:gd name="connsiteY36-4720" fmla="*/ 595354 h 774142"/>
              <a:gd name="connsiteX37-4721" fmla="*/ 1040014 w 1060514"/>
              <a:gd name="connsiteY37-4722" fmla="*/ 535136 h 774142"/>
              <a:gd name="connsiteX38-4723" fmla="*/ 1040014 w 1060514"/>
              <a:gd name="connsiteY38-4724" fmla="*/ 480050 h 774142"/>
              <a:gd name="connsiteX39-4725" fmla="*/ 939396 w 1060514"/>
              <a:gd name="connsiteY39-4726" fmla="*/ 356766 h 774142"/>
              <a:gd name="connsiteX0-4727" fmla="*/ 931886 w 1060514"/>
              <a:gd name="connsiteY0-4728" fmla="*/ 398190 h 774142"/>
              <a:gd name="connsiteX1-4729" fmla="*/ 1023720 w 1060514"/>
              <a:gd name="connsiteY1-4730" fmla="*/ 323386 h 774142"/>
              <a:gd name="connsiteX2-4731" fmla="*/ 945661 w 1060514"/>
              <a:gd name="connsiteY2-4732" fmla="*/ 223025 h 774142"/>
              <a:gd name="connsiteX3-4733" fmla="*/ 1023720 w 1060514"/>
              <a:gd name="connsiteY3-4734" fmla="*/ 211874 h 774142"/>
              <a:gd name="connsiteX4-4735" fmla="*/ 923359 w 1060514"/>
              <a:gd name="connsiteY4-4736" fmla="*/ 144966 h 774142"/>
              <a:gd name="connsiteX5-4737" fmla="*/ 1012569 w 1060514"/>
              <a:gd name="connsiteY5-4738" fmla="*/ 55757 h 774142"/>
              <a:gd name="connsiteX6-4739" fmla="*/ 1012569 w 1060514"/>
              <a:gd name="connsiteY6-4740" fmla="*/ 55757 h 774142"/>
              <a:gd name="connsiteX7-4741" fmla="*/ 889905 w 1060514"/>
              <a:gd name="connsiteY7-4742" fmla="*/ 78059 h 774142"/>
              <a:gd name="connsiteX8-4743" fmla="*/ 789544 w 1060514"/>
              <a:gd name="connsiteY8-4744" fmla="*/ 78059 h 774142"/>
              <a:gd name="connsiteX9-4745" fmla="*/ 789544 w 1060514"/>
              <a:gd name="connsiteY9-4746" fmla="*/ 0 h 774142"/>
              <a:gd name="connsiteX10-4747" fmla="*/ 666881 w 1060514"/>
              <a:gd name="connsiteY10-4748" fmla="*/ 44605 h 774142"/>
              <a:gd name="connsiteX11-4749" fmla="*/ 533066 w 1060514"/>
              <a:gd name="connsiteY11-4750" fmla="*/ 78059 h 774142"/>
              <a:gd name="connsiteX12-4751" fmla="*/ 432705 w 1060514"/>
              <a:gd name="connsiteY12-4752" fmla="*/ 22303 h 774142"/>
              <a:gd name="connsiteX13-4753" fmla="*/ 343495 w 1060514"/>
              <a:gd name="connsiteY13-4754" fmla="*/ 89210 h 774142"/>
              <a:gd name="connsiteX14-4755" fmla="*/ 265437 w 1060514"/>
              <a:gd name="connsiteY14-4756" fmla="*/ 167269 h 774142"/>
              <a:gd name="connsiteX15-4757" fmla="*/ 220832 w 1060514"/>
              <a:gd name="connsiteY15-4758" fmla="*/ 289932 h 774142"/>
              <a:gd name="connsiteX16-4759" fmla="*/ 109320 w 1060514"/>
              <a:gd name="connsiteY16-4760" fmla="*/ 234176 h 774142"/>
              <a:gd name="connsiteX17-4761" fmla="*/ 165076 w 1060514"/>
              <a:gd name="connsiteY17-4762" fmla="*/ 323386 h 774142"/>
              <a:gd name="connsiteX18-4763" fmla="*/ 142774 w 1060514"/>
              <a:gd name="connsiteY18-4764" fmla="*/ 468352 h 774142"/>
              <a:gd name="connsiteX19-4765" fmla="*/ 142902 w 1060514"/>
              <a:gd name="connsiteY19-4766" fmla="*/ 474231 h 774142"/>
              <a:gd name="connsiteX20-4767" fmla="*/ 62323 w 1060514"/>
              <a:gd name="connsiteY20-4768" fmla="*/ 447940 h 774142"/>
              <a:gd name="connsiteX21-4769" fmla="*/ 835 w 1060514"/>
              <a:gd name="connsiteY21-4770" fmla="*/ 463839 h 774142"/>
              <a:gd name="connsiteX22-4771" fmla="*/ 78272 w 1060514"/>
              <a:gd name="connsiteY22-4772" fmla="*/ 607759 h 774142"/>
              <a:gd name="connsiteX23-4773" fmla="*/ 141062 w 1060514"/>
              <a:gd name="connsiteY23-4774" fmla="*/ 654307 h 774142"/>
              <a:gd name="connsiteX24-4775" fmla="*/ 243989 w 1060514"/>
              <a:gd name="connsiteY24-4776" fmla="*/ 774142 h 774142"/>
              <a:gd name="connsiteX25-4777" fmla="*/ 319357 w 1060514"/>
              <a:gd name="connsiteY25-4778" fmla="*/ 720887 h 774142"/>
              <a:gd name="connsiteX26-4779" fmla="*/ 366865 w 1060514"/>
              <a:gd name="connsiteY26-4780" fmla="*/ 599318 h 774142"/>
              <a:gd name="connsiteX27-4781" fmla="*/ 506520 w 1060514"/>
              <a:gd name="connsiteY27-4782" fmla="*/ 567880 h 774142"/>
              <a:gd name="connsiteX28-4783" fmla="*/ 526673 w 1060514"/>
              <a:gd name="connsiteY28-4784" fmla="*/ 573166 h 774142"/>
              <a:gd name="connsiteX29-4785" fmla="*/ 604009 w 1060514"/>
              <a:gd name="connsiteY29-4786" fmla="*/ 610410 h 774142"/>
              <a:gd name="connsiteX30-4787" fmla="*/ 653342 w 1060514"/>
              <a:gd name="connsiteY30-4788" fmla="*/ 665900 h 774142"/>
              <a:gd name="connsiteX31-4789" fmla="*/ 650470 w 1060514"/>
              <a:gd name="connsiteY31-4790" fmla="*/ 665900 h 774142"/>
              <a:gd name="connsiteX32-4791" fmla="*/ 688503 w 1060514"/>
              <a:gd name="connsiteY32-4792" fmla="*/ 698606 h 774142"/>
              <a:gd name="connsiteX33-4793" fmla="*/ 768383 w 1060514"/>
              <a:gd name="connsiteY33-4794" fmla="*/ 720124 h 774142"/>
              <a:gd name="connsiteX34-4795" fmla="*/ 761621 w 1060514"/>
              <a:gd name="connsiteY34-4796" fmla="*/ 606400 h 774142"/>
              <a:gd name="connsiteX35-4797" fmla="*/ 864703 w 1060514"/>
              <a:gd name="connsiteY35-4798" fmla="*/ 545721 h 774142"/>
              <a:gd name="connsiteX36-4799" fmla="*/ 917010 w 1060514"/>
              <a:gd name="connsiteY36-4800" fmla="*/ 595354 h 774142"/>
              <a:gd name="connsiteX37-4801" fmla="*/ 1040014 w 1060514"/>
              <a:gd name="connsiteY37-4802" fmla="*/ 535136 h 774142"/>
              <a:gd name="connsiteX38-4803" fmla="*/ 1040014 w 1060514"/>
              <a:gd name="connsiteY38-4804" fmla="*/ 480050 h 774142"/>
              <a:gd name="connsiteX39-4805" fmla="*/ 939396 w 1060514"/>
              <a:gd name="connsiteY39-4806" fmla="*/ 356766 h 774142"/>
              <a:gd name="connsiteX0-4807" fmla="*/ 931886 w 1060514"/>
              <a:gd name="connsiteY0-4808" fmla="*/ 398190 h 774142"/>
              <a:gd name="connsiteX1-4809" fmla="*/ 1023720 w 1060514"/>
              <a:gd name="connsiteY1-4810" fmla="*/ 323386 h 774142"/>
              <a:gd name="connsiteX2-4811" fmla="*/ 945661 w 1060514"/>
              <a:gd name="connsiteY2-4812" fmla="*/ 223025 h 774142"/>
              <a:gd name="connsiteX3-4813" fmla="*/ 1023720 w 1060514"/>
              <a:gd name="connsiteY3-4814" fmla="*/ 211874 h 774142"/>
              <a:gd name="connsiteX4-4815" fmla="*/ 923359 w 1060514"/>
              <a:gd name="connsiteY4-4816" fmla="*/ 144966 h 774142"/>
              <a:gd name="connsiteX5-4817" fmla="*/ 1012569 w 1060514"/>
              <a:gd name="connsiteY5-4818" fmla="*/ 55757 h 774142"/>
              <a:gd name="connsiteX6-4819" fmla="*/ 1012569 w 1060514"/>
              <a:gd name="connsiteY6-4820" fmla="*/ 55757 h 774142"/>
              <a:gd name="connsiteX7-4821" fmla="*/ 889905 w 1060514"/>
              <a:gd name="connsiteY7-4822" fmla="*/ 78059 h 774142"/>
              <a:gd name="connsiteX8-4823" fmla="*/ 789544 w 1060514"/>
              <a:gd name="connsiteY8-4824" fmla="*/ 78059 h 774142"/>
              <a:gd name="connsiteX9-4825" fmla="*/ 789544 w 1060514"/>
              <a:gd name="connsiteY9-4826" fmla="*/ 0 h 774142"/>
              <a:gd name="connsiteX10-4827" fmla="*/ 666881 w 1060514"/>
              <a:gd name="connsiteY10-4828" fmla="*/ 44605 h 774142"/>
              <a:gd name="connsiteX11-4829" fmla="*/ 533066 w 1060514"/>
              <a:gd name="connsiteY11-4830" fmla="*/ 78059 h 774142"/>
              <a:gd name="connsiteX12-4831" fmla="*/ 432705 w 1060514"/>
              <a:gd name="connsiteY12-4832" fmla="*/ 22303 h 774142"/>
              <a:gd name="connsiteX13-4833" fmla="*/ 343495 w 1060514"/>
              <a:gd name="connsiteY13-4834" fmla="*/ 89210 h 774142"/>
              <a:gd name="connsiteX14-4835" fmla="*/ 265437 w 1060514"/>
              <a:gd name="connsiteY14-4836" fmla="*/ 167269 h 774142"/>
              <a:gd name="connsiteX15-4837" fmla="*/ 220832 w 1060514"/>
              <a:gd name="connsiteY15-4838" fmla="*/ 289932 h 774142"/>
              <a:gd name="connsiteX16-4839" fmla="*/ 109320 w 1060514"/>
              <a:gd name="connsiteY16-4840" fmla="*/ 234176 h 774142"/>
              <a:gd name="connsiteX17-4841" fmla="*/ 165076 w 1060514"/>
              <a:gd name="connsiteY17-4842" fmla="*/ 323386 h 774142"/>
              <a:gd name="connsiteX18-4843" fmla="*/ 142774 w 1060514"/>
              <a:gd name="connsiteY18-4844" fmla="*/ 468352 h 774142"/>
              <a:gd name="connsiteX19-4845" fmla="*/ 142902 w 1060514"/>
              <a:gd name="connsiteY19-4846" fmla="*/ 474231 h 774142"/>
              <a:gd name="connsiteX20-4847" fmla="*/ 62323 w 1060514"/>
              <a:gd name="connsiteY20-4848" fmla="*/ 447940 h 774142"/>
              <a:gd name="connsiteX21-4849" fmla="*/ 835 w 1060514"/>
              <a:gd name="connsiteY21-4850" fmla="*/ 463839 h 774142"/>
              <a:gd name="connsiteX22-4851" fmla="*/ 78272 w 1060514"/>
              <a:gd name="connsiteY22-4852" fmla="*/ 607759 h 774142"/>
              <a:gd name="connsiteX23-4853" fmla="*/ 141062 w 1060514"/>
              <a:gd name="connsiteY23-4854" fmla="*/ 654307 h 774142"/>
              <a:gd name="connsiteX24-4855" fmla="*/ 243989 w 1060514"/>
              <a:gd name="connsiteY24-4856" fmla="*/ 774142 h 774142"/>
              <a:gd name="connsiteX25-4857" fmla="*/ 319357 w 1060514"/>
              <a:gd name="connsiteY25-4858" fmla="*/ 720887 h 774142"/>
              <a:gd name="connsiteX26-4859" fmla="*/ 366865 w 1060514"/>
              <a:gd name="connsiteY26-4860" fmla="*/ 599318 h 774142"/>
              <a:gd name="connsiteX27-4861" fmla="*/ 506520 w 1060514"/>
              <a:gd name="connsiteY27-4862" fmla="*/ 567880 h 774142"/>
              <a:gd name="connsiteX28-4863" fmla="*/ 526673 w 1060514"/>
              <a:gd name="connsiteY28-4864" fmla="*/ 573166 h 774142"/>
              <a:gd name="connsiteX29-4865" fmla="*/ 604009 w 1060514"/>
              <a:gd name="connsiteY29-4866" fmla="*/ 610410 h 774142"/>
              <a:gd name="connsiteX30-4867" fmla="*/ 653342 w 1060514"/>
              <a:gd name="connsiteY30-4868" fmla="*/ 665900 h 774142"/>
              <a:gd name="connsiteX31-4869" fmla="*/ 650470 w 1060514"/>
              <a:gd name="connsiteY31-4870" fmla="*/ 665900 h 774142"/>
              <a:gd name="connsiteX32-4871" fmla="*/ 688503 w 1060514"/>
              <a:gd name="connsiteY32-4872" fmla="*/ 698606 h 774142"/>
              <a:gd name="connsiteX33-4873" fmla="*/ 768383 w 1060514"/>
              <a:gd name="connsiteY33-4874" fmla="*/ 720124 h 774142"/>
              <a:gd name="connsiteX34-4875" fmla="*/ 761621 w 1060514"/>
              <a:gd name="connsiteY34-4876" fmla="*/ 606400 h 774142"/>
              <a:gd name="connsiteX35-4877" fmla="*/ 864703 w 1060514"/>
              <a:gd name="connsiteY35-4878" fmla="*/ 545721 h 774142"/>
              <a:gd name="connsiteX36-4879" fmla="*/ 917010 w 1060514"/>
              <a:gd name="connsiteY36-4880" fmla="*/ 595354 h 774142"/>
              <a:gd name="connsiteX37-4881" fmla="*/ 1040014 w 1060514"/>
              <a:gd name="connsiteY37-4882" fmla="*/ 535136 h 774142"/>
              <a:gd name="connsiteX38-4883" fmla="*/ 1040014 w 1060514"/>
              <a:gd name="connsiteY38-4884" fmla="*/ 480050 h 774142"/>
              <a:gd name="connsiteX39-4885" fmla="*/ 939396 w 1060514"/>
              <a:gd name="connsiteY39-4886" fmla="*/ 356766 h 774142"/>
              <a:gd name="connsiteX0-4887" fmla="*/ 931051 w 1059679"/>
              <a:gd name="connsiteY0-4888" fmla="*/ 398190 h 774142"/>
              <a:gd name="connsiteX1-4889" fmla="*/ 1022885 w 1059679"/>
              <a:gd name="connsiteY1-4890" fmla="*/ 323386 h 774142"/>
              <a:gd name="connsiteX2-4891" fmla="*/ 944826 w 1059679"/>
              <a:gd name="connsiteY2-4892" fmla="*/ 223025 h 774142"/>
              <a:gd name="connsiteX3-4893" fmla="*/ 1022885 w 1059679"/>
              <a:gd name="connsiteY3-4894" fmla="*/ 211874 h 774142"/>
              <a:gd name="connsiteX4-4895" fmla="*/ 922524 w 1059679"/>
              <a:gd name="connsiteY4-4896" fmla="*/ 144966 h 774142"/>
              <a:gd name="connsiteX5-4897" fmla="*/ 1011734 w 1059679"/>
              <a:gd name="connsiteY5-4898" fmla="*/ 55757 h 774142"/>
              <a:gd name="connsiteX6-4899" fmla="*/ 1011734 w 1059679"/>
              <a:gd name="connsiteY6-4900" fmla="*/ 55757 h 774142"/>
              <a:gd name="connsiteX7-4901" fmla="*/ 889070 w 1059679"/>
              <a:gd name="connsiteY7-4902" fmla="*/ 78059 h 774142"/>
              <a:gd name="connsiteX8-4903" fmla="*/ 788709 w 1059679"/>
              <a:gd name="connsiteY8-4904" fmla="*/ 78059 h 774142"/>
              <a:gd name="connsiteX9-4905" fmla="*/ 788709 w 1059679"/>
              <a:gd name="connsiteY9-4906" fmla="*/ 0 h 774142"/>
              <a:gd name="connsiteX10-4907" fmla="*/ 666046 w 1059679"/>
              <a:gd name="connsiteY10-4908" fmla="*/ 44605 h 774142"/>
              <a:gd name="connsiteX11-4909" fmla="*/ 532231 w 1059679"/>
              <a:gd name="connsiteY11-4910" fmla="*/ 78059 h 774142"/>
              <a:gd name="connsiteX12-4911" fmla="*/ 431870 w 1059679"/>
              <a:gd name="connsiteY12-4912" fmla="*/ 22303 h 774142"/>
              <a:gd name="connsiteX13-4913" fmla="*/ 342660 w 1059679"/>
              <a:gd name="connsiteY13-4914" fmla="*/ 89210 h 774142"/>
              <a:gd name="connsiteX14-4915" fmla="*/ 264602 w 1059679"/>
              <a:gd name="connsiteY14-4916" fmla="*/ 167269 h 774142"/>
              <a:gd name="connsiteX15-4917" fmla="*/ 219997 w 1059679"/>
              <a:gd name="connsiteY15-4918" fmla="*/ 289932 h 774142"/>
              <a:gd name="connsiteX16-4919" fmla="*/ 108485 w 1059679"/>
              <a:gd name="connsiteY16-4920" fmla="*/ 234176 h 774142"/>
              <a:gd name="connsiteX17-4921" fmla="*/ 164241 w 1059679"/>
              <a:gd name="connsiteY17-4922" fmla="*/ 323386 h 774142"/>
              <a:gd name="connsiteX18-4923" fmla="*/ 141939 w 1059679"/>
              <a:gd name="connsiteY18-4924" fmla="*/ 468352 h 774142"/>
              <a:gd name="connsiteX19-4925" fmla="*/ 142067 w 1059679"/>
              <a:gd name="connsiteY19-4926" fmla="*/ 474231 h 774142"/>
              <a:gd name="connsiteX20-4927" fmla="*/ 61488 w 1059679"/>
              <a:gd name="connsiteY20-4928" fmla="*/ 447940 h 774142"/>
              <a:gd name="connsiteX21-4929" fmla="*/ 0 w 1059679"/>
              <a:gd name="connsiteY21-4930" fmla="*/ 463839 h 774142"/>
              <a:gd name="connsiteX22-4931" fmla="*/ 77437 w 1059679"/>
              <a:gd name="connsiteY22-4932" fmla="*/ 607759 h 774142"/>
              <a:gd name="connsiteX23-4933" fmla="*/ 140227 w 1059679"/>
              <a:gd name="connsiteY23-4934" fmla="*/ 654307 h 774142"/>
              <a:gd name="connsiteX24-4935" fmla="*/ 243154 w 1059679"/>
              <a:gd name="connsiteY24-4936" fmla="*/ 774142 h 774142"/>
              <a:gd name="connsiteX25-4937" fmla="*/ 318522 w 1059679"/>
              <a:gd name="connsiteY25-4938" fmla="*/ 720887 h 774142"/>
              <a:gd name="connsiteX26-4939" fmla="*/ 366030 w 1059679"/>
              <a:gd name="connsiteY26-4940" fmla="*/ 599318 h 774142"/>
              <a:gd name="connsiteX27-4941" fmla="*/ 505685 w 1059679"/>
              <a:gd name="connsiteY27-4942" fmla="*/ 567880 h 774142"/>
              <a:gd name="connsiteX28-4943" fmla="*/ 525838 w 1059679"/>
              <a:gd name="connsiteY28-4944" fmla="*/ 573166 h 774142"/>
              <a:gd name="connsiteX29-4945" fmla="*/ 603174 w 1059679"/>
              <a:gd name="connsiteY29-4946" fmla="*/ 610410 h 774142"/>
              <a:gd name="connsiteX30-4947" fmla="*/ 652507 w 1059679"/>
              <a:gd name="connsiteY30-4948" fmla="*/ 665900 h 774142"/>
              <a:gd name="connsiteX31-4949" fmla="*/ 649635 w 1059679"/>
              <a:gd name="connsiteY31-4950" fmla="*/ 665900 h 774142"/>
              <a:gd name="connsiteX32-4951" fmla="*/ 687668 w 1059679"/>
              <a:gd name="connsiteY32-4952" fmla="*/ 698606 h 774142"/>
              <a:gd name="connsiteX33-4953" fmla="*/ 767548 w 1059679"/>
              <a:gd name="connsiteY33-4954" fmla="*/ 720124 h 774142"/>
              <a:gd name="connsiteX34-4955" fmla="*/ 760786 w 1059679"/>
              <a:gd name="connsiteY34-4956" fmla="*/ 606400 h 774142"/>
              <a:gd name="connsiteX35-4957" fmla="*/ 863868 w 1059679"/>
              <a:gd name="connsiteY35-4958" fmla="*/ 545721 h 774142"/>
              <a:gd name="connsiteX36-4959" fmla="*/ 916175 w 1059679"/>
              <a:gd name="connsiteY36-4960" fmla="*/ 595354 h 774142"/>
              <a:gd name="connsiteX37-4961" fmla="*/ 1039179 w 1059679"/>
              <a:gd name="connsiteY37-4962" fmla="*/ 535136 h 774142"/>
              <a:gd name="connsiteX38-4963" fmla="*/ 1039179 w 1059679"/>
              <a:gd name="connsiteY38-4964" fmla="*/ 480050 h 774142"/>
              <a:gd name="connsiteX39-4965" fmla="*/ 938561 w 1059679"/>
              <a:gd name="connsiteY39-4966" fmla="*/ 356766 h 774142"/>
              <a:gd name="connsiteX0-4967" fmla="*/ 931051 w 1059679"/>
              <a:gd name="connsiteY0-4968" fmla="*/ 398190 h 774142"/>
              <a:gd name="connsiteX1-4969" fmla="*/ 1022885 w 1059679"/>
              <a:gd name="connsiteY1-4970" fmla="*/ 323386 h 774142"/>
              <a:gd name="connsiteX2-4971" fmla="*/ 944826 w 1059679"/>
              <a:gd name="connsiteY2-4972" fmla="*/ 223025 h 774142"/>
              <a:gd name="connsiteX3-4973" fmla="*/ 1022885 w 1059679"/>
              <a:gd name="connsiteY3-4974" fmla="*/ 211874 h 774142"/>
              <a:gd name="connsiteX4-4975" fmla="*/ 922524 w 1059679"/>
              <a:gd name="connsiteY4-4976" fmla="*/ 144966 h 774142"/>
              <a:gd name="connsiteX5-4977" fmla="*/ 1011734 w 1059679"/>
              <a:gd name="connsiteY5-4978" fmla="*/ 55757 h 774142"/>
              <a:gd name="connsiteX6-4979" fmla="*/ 1011734 w 1059679"/>
              <a:gd name="connsiteY6-4980" fmla="*/ 55757 h 774142"/>
              <a:gd name="connsiteX7-4981" fmla="*/ 889070 w 1059679"/>
              <a:gd name="connsiteY7-4982" fmla="*/ 78059 h 774142"/>
              <a:gd name="connsiteX8-4983" fmla="*/ 788709 w 1059679"/>
              <a:gd name="connsiteY8-4984" fmla="*/ 78059 h 774142"/>
              <a:gd name="connsiteX9-4985" fmla="*/ 788709 w 1059679"/>
              <a:gd name="connsiteY9-4986" fmla="*/ 0 h 774142"/>
              <a:gd name="connsiteX10-4987" fmla="*/ 666046 w 1059679"/>
              <a:gd name="connsiteY10-4988" fmla="*/ 44605 h 774142"/>
              <a:gd name="connsiteX11-4989" fmla="*/ 532231 w 1059679"/>
              <a:gd name="connsiteY11-4990" fmla="*/ 78059 h 774142"/>
              <a:gd name="connsiteX12-4991" fmla="*/ 431870 w 1059679"/>
              <a:gd name="connsiteY12-4992" fmla="*/ 22303 h 774142"/>
              <a:gd name="connsiteX13-4993" fmla="*/ 342660 w 1059679"/>
              <a:gd name="connsiteY13-4994" fmla="*/ 89210 h 774142"/>
              <a:gd name="connsiteX14-4995" fmla="*/ 264602 w 1059679"/>
              <a:gd name="connsiteY14-4996" fmla="*/ 167269 h 774142"/>
              <a:gd name="connsiteX15-4997" fmla="*/ 219997 w 1059679"/>
              <a:gd name="connsiteY15-4998" fmla="*/ 289932 h 774142"/>
              <a:gd name="connsiteX16-4999" fmla="*/ 108485 w 1059679"/>
              <a:gd name="connsiteY16-5000" fmla="*/ 234176 h 774142"/>
              <a:gd name="connsiteX17-5001" fmla="*/ 164241 w 1059679"/>
              <a:gd name="connsiteY17-5002" fmla="*/ 323386 h 774142"/>
              <a:gd name="connsiteX18-5003" fmla="*/ 141939 w 1059679"/>
              <a:gd name="connsiteY18-5004" fmla="*/ 468352 h 774142"/>
              <a:gd name="connsiteX19-5005" fmla="*/ 79176 w 1059679"/>
              <a:gd name="connsiteY19-5006" fmla="*/ 507652 h 774142"/>
              <a:gd name="connsiteX20-5007" fmla="*/ 61488 w 1059679"/>
              <a:gd name="connsiteY20-5008" fmla="*/ 447940 h 774142"/>
              <a:gd name="connsiteX21-5009" fmla="*/ 0 w 1059679"/>
              <a:gd name="connsiteY21-5010" fmla="*/ 463839 h 774142"/>
              <a:gd name="connsiteX22-5011" fmla="*/ 77437 w 1059679"/>
              <a:gd name="connsiteY22-5012" fmla="*/ 607759 h 774142"/>
              <a:gd name="connsiteX23-5013" fmla="*/ 140227 w 1059679"/>
              <a:gd name="connsiteY23-5014" fmla="*/ 654307 h 774142"/>
              <a:gd name="connsiteX24-5015" fmla="*/ 243154 w 1059679"/>
              <a:gd name="connsiteY24-5016" fmla="*/ 774142 h 774142"/>
              <a:gd name="connsiteX25-5017" fmla="*/ 318522 w 1059679"/>
              <a:gd name="connsiteY25-5018" fmla="*/ 720887 h 774142"/>
              <a:gd name="connsiteX26-5019" fmla="*/ 366030 w 1059679"/>
              <a:gd name="connsiteY26-5020" fmla="*/ 599318 h 774142"/>
              <a:gd name="connsiteX27-5021" fmla="*/ 505685 w 1059679"/>
              <a:gd name="connsiteY27-5022" fmla="*/ 567880 h 774142"/>
              <a:gd name="connsiteX28-5023" fmla="*/ 525838 w 1059679"/>
              <a:gd name="connsiteY28-5024" fmla="*/ 573166 h 774142"/>
              <a:gd name="connsiteX29-5025" fmla="*/ 603174 w 1059679"/>
              <a:gd name="connsiteY29-5026" fmla="*/ 610410 h 774142"/>
              <a:gd name="connsiteX30-5027" fmla="*/ 652507 w 1059679"/>
              <a:gd name="connsiteY30-5028" fmla="*/ 665900 h 774142"/>
              <a:gd name="connsiteX31-5029" fmla="*/ 649635 w 1059679"/>
              <a:gd name="connsiteY31-5030" fmla="*/ 665900 h 774142"/>
              <a:gd name="connsiteX32-5031" fmla="*/ 687668 w 1059679"/>
              <a:gd name="connsiteY32-5032" fmla="*/ 698606 h 774142"/>
              <a:gd name="connsiteX33-5033" fmla="*/ 767548 w 1059679"/>
              <a:gd name="connsiteY33-5034" fmla="*/ 720124 h 774142"/>
              <a:gd name="connsiteX34-5035" fmla="*/ 760786 w 1059679"/>
              <a:gd name="connsiteY34-5036" fmla="*/ 606400 h 774142"/>
              <a:gd name="connsiteX35-5037" fmla="*/ 863868 w 1059679"/>
              <a:gd name="connsiteY35-5038" fmla="*/ 545721 h 774142"/>
              <a:gd name="connsiteX36-5039" fmla="*/ 916175 w 1059679"/>
              <a:gd name="connsiteY36-5040" fmla="*/ 595354 h 774142"/>
              <a:gd name="connsiteX37-5041" fmla="*/ 1039179 w 1059679"/>
              <a:gd name="connsiteY37-5042" fmla="*/ 535136 h 774142"/>
              <a:gd name="connsiteX38-5043" fmla="*/ 1039179 w 1059679"/>
              <a:gd name="connsiteY38-5044" fmla="*/ 480050 h 774142"/>
              <a:gd name="connsiteX39-5045" fmla="*/ 938561 w 1059679"/>
              <a:gd name="connsiteY39-5046" fmla="*/ 356766 h 774142"/>
              <a:gd name="connsiteX0-5047" fmla="*/ 931051 w 1059679"/>
              <a:gd name="connsiteY0-5048" fmla="*/ 398190 h 774142"/>
              <a:gd name="connsiteX1-5049" fmla="*/ 1022885 w 1059679"/>
              <a:gd name="connsiteY1-5050" fmla="*/ 323386 h 774142"/>
              <a:gd name="connsiteX2-5051" fmla="*/ 944826 w 1059679"/>
              <a:gd name="connsiteY2-5052" fmla="*/ 223025 h 774142"/>
              <a:gd name="connsiteX3-5053" fmla="*/ 1022885 w 1059679"/>
              <a:gd name="connsiteY3-5054" fmla="*/ 211874 h 774142"/>
              <a:gd name="connsiteX4-5055" fmla="*/ 922524 w 1059679"/>
              <a:gd name="connsiteY4-5056" fmla="*/ 144966 h 774142"/>
              <a:gd name="connsiteX5-5057" fmla="*/ 1011734 w 1059679"/>
              <a:gd name="connsiteY5-5058" fmla="*/ 55757 h 774142"/>
              <a:gd name="connsiteX6-5059" fmla="*/ 1011734 w 1059679"/>
              <a:gd name="connsiteY6-5060" fmla="*/ 55757 h 774142"/>
              <a:gd name="connsiteX7-5061" fmla="*/ 889070 w 1059679"/>
              <a:gd name="connsiteY7-5062" fmla="*/ 78059 h 774142"/>
              <a:gd name="connsiteX8-5063" fmla="*/ 788709 w 1059679"/>
              <a:gd name="connsiteY8-5064" fmla="*/ 78059 h 774142"/>
              <a:gd name="connsiteX9-5065" fmla="*/ 788709 w 1059679"/>
              <a:gd name="connsiteY9-5066" fmla="*/ 0 h 774142"/>
              <a:gd name="connsiteX10-5067" fmla="*/ 666046 w 1059679"/>
              <a:gd name="connsiteY10-5068" fmla="*/ 44605 h 774142"/>
              <a:gd name="connsiteX11-5069" fmla="*/ 532231 w 1059679"/>
              <a:gd name="connsiteY11-5070" fmla="*/ 78059 h 774142"/>
              <a:gd name="connsiteX12-5071" fmla="*/ 431870 w 1059679"/>
              <a:gd name="connsiteY12-5072" fmla="*/ 22303 h 774142"/>
              <a:gd name="connsiteX13-5073" fmla="*/ 342660 w 1059679"/>
              <a:gd name="connsiteY13-5074" fmla="*/ 89210 h 774142"/>
              <a:gd name="connsiteX14-5075" fmla="*/ 264602 w 1059679"/>
              <a:gd name="connsiteY14-5076" fmla="*/ 167269 h 774142"/>
              <a:gd name="connsiteX15-5077" fmla="*/ 219997 w 1059679"/>
              <a:gd name="connsiteY15-5078" fmla="*/ 289932 h 774142"/>
              <a:gd name="connsiteX16-5079" fmla="*/ 108485 w 1059679"/>
              <a:gd name="connsiteY16-5080" fmla="*/ 234176 h 774142"/>
              <a:gd name="connsiteX17-5081" fmla="*/ 164241 w 1059679"/>
              <a:gd name="connsiteY17-5082" fmla="*/ 323386 h 774142"/>
              <a:gd name="connsiteX18-5083" fmla="*/ 141939 w 1059679"/>
              <a:gd name="connsiteY18-5084" fmla="*/ 468352 h 774142"/>
              <a:gd name="connsiteX19-5085" fmla="*/ 79176 w 1059679"/>
              <a:gd name="connsiteY19-5086" fmla="*/ 507652 h 774142"/>
              <a:gd name="connsiteX20-5087" fmla="*/ 61488 w 1059679"/>
              <a:gd name="connsiteY20-5088" fmla="*/ 447940 h 774142"/>
              <a:gd name="connsiteX21-5089" fmla="*/ 0 w 1059679"/>
              <a:gd name="connsiteY21-5090" fmla="*/ 463839 h 774142"/>
              <a:gd name="connsiteX22-5091" fmla="*/ 77437 w 1059679"/>
              <a:gd name="connsiteY22-5092" fmla="*/ 607759 h 774142"/>
              <a:gd name="connsiteX23-5093" fmla="*/ 140227 w 1059679"/>
              <a:gd name="connsiteY23-5094" fmla="*/ 654307 h 774142"/>
              <a:gd name="connsiteX24-5095" fmla="*/ 243154 w 1059679"/>
              <a:gd name="connsiteY24-5096" fmla="*/ 774142 h 774142"/>
              <a:gd name="connsiteX25-5097" fmla="*/ 318522 w 1059679"/>
              <a:gd name="connsiteY25-5098" fmla="*/ 720887 h 774142"/>
              <a:gd name="connsiteX26-5099" fmla="*/ 366030 w 1059679"/>
              <a:gd name="connsiteY26-5100" fmla="*/ 599318 h 774142"/>
              <a:gd name="connsiteX27-5101" fmla="*/ 505685 w 1059679"/>
              <a:gd name="connsiteY27-5102" fmla="*/ 567880 h 774142"/>
              <a:gd name="connsiteX28-5103" fmla="*/ 525838 w 1059679"/>
              <a:gd name="connsiteY28-5104" fmla="*/ 573166 h 774142"/>
              <a:gd name="connsiteX29-5105" fmla="*/ 603174 w 1059679"/>
              <a:gd name="connsiteY29-5106" fmla="*/ 610410 h 774142"/>
              <a:gd name="connsiteX30-5107" fmla="*/ 652507 w 1059679"/>
              <a:gd name="connsiteY30-5108" fmla="*/ 665900 h 774142"/>
              <a:gd name="connsiteX31-5109" fmla="*/ 649635 w 1059679"/>
              <a:gd name="connsiteY31-5110" fmla="*/ 665900 h 774142"/>
              <a:gd name="connsiteX32-5111" fmla="*/ 687668 w 1059679"/>
              <a:gd name="connsiteY32-5112" fmla="*/ 698606 h 774142"/>
              <a:gd name="connsiteX33-5113" fmla="*/ 767548 w 1059679"/>
              <a:gd name="connsiteY33-5114" fmla="*/ 720124 h 774142"/>
              <a:gd name="connsiteX34-5115" fmla="*/ 760786 w 1059679"/>
              <a:gd name="connsiteY34-5116" fmla="*/ 606400 h 774142"/>
              <a:gd name="connsiteX35-5117" fmla="*/ 863868 w 1059679"/>
              <a:gd name="connsiteY35-5118" fmla="*/ 545721 h 774142"/>
              <a:gd name="connsiteX36-5119" fmla="*/ 916175 w 1059679"/>
              <a:gd name="connsiteY36-5120" fmla="*/ 595354 h 774142"/>
              <a:gd name="connsiteX37-5121" fmla="*/ 1039179 w 1059679"/>
              <a:gd name="connsiteY37-5122" fmla="*/ 535136 h 774142"/>
              <a:gd name="connsiteX38-5123" fmla="*/ 1039179 w 1059679"/>
              <a:gd name="connsiteY38-5124" fmla="*/ 480050 h 774142"/>
              <a:gd name="connsiteX39-5125" fmla="*/ 938561 w 1059679"/>
              <a:gd name="connsiteY39-5126" fmla="*/ 356766 h 774142"/>
              <a:gd name="connsiteX0-5127" fmla="*/ 931051 w 1059679"/>
              <a:gd name="connsiteY0-5128" fmla="*/ 398190 h 774142"/>
              <a:gd name="connsiteX1-5129" fmla="*/ 1022885 w 1059679"/>
              <a:gd name="connsiteY1-5130" fmla="*/ 323386 h 774142"/>
              <a:gd name="connsiteX2-5131" fmla="*/ 944826 w 1059679"/>
              <a:gd name="connsiteY2-5132" fmla="*/ 223025 h 774142"/>
              <a:gd name="connsiteX3-5133" fmla="*/ 1022885 w 1059679"/>
              <a:gd name="connsiteY3-5134" fmla="*/ 211874 h 774142"/>
              <a:gd name="connsiteX4-5135" fmla="*/ 922524 w 1059679"/>
              <a:gd name="connsiteY4-5136" fmla="*/ 144966 h 774142"/>
              <a:gd name="connsiteX5-5137" fmla="*/ 1011734 w 1059679"/>
              <a:gd name="connsiteY5-5138" fmla="*/ 55757 h 774142"/>
              <a:gd name="connsiteX6-5139" fmla="*/ 1011734 w 1059679"/>
              <a:gd name="connsiteY6-5140" fmla="*/ 55757 h 774142"/>
              <a:gd name="connsiteX7-5141" fmla="*/ 889070 w 1059679"/>
              <a:gd name="connsiteY7-5142" fmla="*/ 78059 h 774142"/>
              <a:gd name="connsiteX8-5143" fmla="*/ 788709 w 1059679"/>
              <a:gd name="connsiteY8-5144" fmla="*/ 78059 h 774142"/>
              <a:gd name="connsiteX9-5145" fmla="*/ 788709 w 1059679"/>
              <a:gd name="connsiteY9-5146" fmla="*/ 0 h 774142"/>
              <a:gd name="connsiteX10-5147" fmla="*/ 666046 w 1059679"/>
              <a:gd name="connsiteY10-5148" fmla="*/ 44605 h 774142"/>
              <a:gd name="connsiteX11-5149" fmla="*/ 532231 w 1059679"/>
              <a:gd name="connsiteY11-5150" fmla="*/ 78059 h 774142"/>
              <a:gd name="connsiteX12-5151" fmla="*/ 431870 w 1059679"/>
              <a:gd name="connsiteY12-5152" fmla="*/ 22303 h 774142"/>
              <a:gd name="connsiteX13-5153" fmla="*/ 342660 w 1059679"/>
              <a:gd name="connsiteY13-5154" fmla="*/ 89210 h 774142"/>
              <a:gd name="connsiteX14-5155" fmla="*/ 264602 w 1059679"/>
              <a:gd name="connsiteY14-5156" fmla="*/ 167269 h 774142"/>
              <a:gd name="connsiteX15-5157" fmla="*/ 219997 w 1059679"/>
              <a:gd name="connsiteY15-5158" fmla="*/ 289932 h 774142"/>
              <a:gd name="connsiteX16-5159" fmla="*/ 108485 w 1059679"/>
              <a:gd name="connsiteY16-5160" fmla="*/ 234176 h 774142"/>
              <a:gd name="connsiteX17-5161" fmla="*/ 164241 w 1059679"/>
              <a:gd name="connsiteY17-5162" fmla="*/ 323386 h 774142"/>
              <a:gd name="connsiteX18-5163" fmla="*/ 185690 w 1059679"/>
              <a:gd name="connsiteY18-5164" fmla="*/ 485063 h 774142"/>
              <a:gd name="connsiteX19-5165" fmla="*/ 79176 w 1059679"/>
              <a:gd name="connsiteY19-5166" fmla="*/ 507652 h 774142"/>
              <a:gd name="connsiteX20-5167" fmla="*/ 61488 w 1059679"/>
              <a:gd name="connsiteY20-5168" fmla="*/ 447940 h 774142"/>
              <a:gd name="connsiteX21-5169" fmla="*/ 0 w 1059679"/>
              <a:gd name="connsiteY21-5170" fmla="*/ 463839 h 774142"/>
              <a:gd name="connsiteX22-5171" fmla="*/ 77437 w 1059679"/>
              <a:gd name="connsiteY22-5172" fmla="*/ 607759 h 774142"/>
              <a:gd name="connsiteX23-5173" fmla="*/ 140227 w 1059679"/>
              <a:gd name="connsiteY23-5174" fmla="*/ 654307 h 774142"/>
              <a:gd name="connsiteX24-5175" fmla="*/ 243154 w 1059679"/>
              <a:gd name="connsiteY24-5176" fmla="*/ 774142 h 774142"/>
              <a:gd name="connsiteX25-5177" fmla="*/ 318522 w 1059679"/>
              <a:gd name="connsiteY25-5178" fmla="*/ 720887 h 774142"/>
              <a:gd name="connsiteX26-5179" fmla="*/ 366030 w 1059679"/>
              <a:gd name="connsiteY26-5180" fmla="*/ 599318 h 774142"/>
              <a:gd name="connsiteX27-5181" fmla="*/ 505685 w 1059679"/>
              <a:gd name="connsiteY27-5182" fmla="*/ 567880 h 774142"/>
              <a:gd name="connsiteX28-5183" fmla="*/ 525838 w 1059679"/>
              <a:gd name="connsiteY28-5184" fmla="*/ 573166 h 774142"/>
              <a:gd name="connsiteX29-5185" fmla="*/ 603174 w 1059679"/>
              <a:gd name="connsiteY29-5186" fmla="*/ 610410 h 774142"/>
              <a:gd name="connsiteX30-5187" fmla="*/ 652507 w 1059679"/>
              <a:gd name="connsiteY30-5188" fmla="*/ 665900 h 774142"/>
              <a:gd name="connsiteX31-5189" fmla="*/ 649635 w 1059679"/>
              <a:gd name="connsiteY31-5190" fmla="*/ 665900 h 774142"/>
              <a:gd name="connsiteX32-5191" fmla="*/ 687668 w 1059679"/>
              <a:gd name="connsiteY32-5192" fmla="*/ 698606 h 774142"/>
              <a:gd name="connsiteX33-5193" fmla="*/ 767548 w 1059679"/>
              <a:gd name="connsiteY33-5194" fmla="*/ 720124 h 774142"/>
              <a:gd name="connsiteX34-5195" fmla="*/ 760786 w 1059679"/>
              <a:gd name="connsiteY34-5196" fmla="*/ 606400 h 774142"/>
              <a:gd name="connsiteX35-5197" fmla="*/ 863868 w 1059679"/>
              <a:gd name="connsiteY35-5198" fmla="*/ 545721 h 774142"/>
              <a:gd name="connsiteX36-5199" fmla="*/ 916175 w 1059679"/>
              <a:gd name="connsiteY36-5200" fmla="*/ 595354 h 774142"/>
              <a:gd name="connsiteX37-5201" fmla="*/ 1039179 w 1059679"/>
              <a:gd name="connsiteY37-5202" fmla="*/ 535136 h 774142"/>
              <a:gd name="connsiteX38-5203" fmla="*/ 1039179 w 1059679"/>
              <a:gd name="connsiteY38-5204" fmla="*/ 480050 h 774142"/>
              <a:gd name="connsiteX39-5205" fmla="*/ 938561 w 1059679"/>
              <a:gd name="connsiteY39-5206" fmla="*/ 356766 h 774142"/>
              <a:gd name="connsiteX0-5207" fmla="*/ 931051 w 1059679"/>
              <a:gd name="connsiteY0-5208" fmla="*/ 398190 h 774142"/>
              <a:gd name="connsiteX1-5209" fmla="*/ 1022885 w 1059679"/>
              <a:gd name="connsiteY1-5210" fmla="*/ 323386 h 774142"/>
              <a:gd name="connsiteX2-5211" fmla="*/ 944826 w 1059679"/>
              <a:gd name="connsiteY2-5212" fmla="*/ 223025 h 774142"/>
              <a:gd name="connsiteX3-5213" fmla="*/ 1022885 w 1059679"/>
              <a:gd name="connsiteY3-5214" fmla="*/ 211874 h 774142"/>
              <a:gd name="connsiteX4-5215" fmla="*/ 922524 w 1059679"/>
              <a:gd name="connsiteY4-5216" fmla="*/ 144966 h 774142"/>
              <a:gd name="connsiteX5-5217" fmla="*/ 1011734 w 1059679"/>
              <a:gd name="connsiteY5-5218" fmla="*/ 55757 h 774142"/>
              <a:gd name="connsiteX6-5219" fmla="*/ 1011734 w 1059679"/>
              <a:gd name="connsiteY6-5220" fmla="*/ 55757 h 774142"/>
              <a:gd name="connsiteX7-5221" fmla="*/ 889070 w 1059679"/>
              <a:gd name="connsiteY7-5222" fmla="*/ 78059 h 774142"/>
              <a:gd name="connsiteX8-5223" fmla="*/ 788709 w 1059679"/>
              <a:gd name="connsiteY8-5224" fmla="*/ 78059 h 774142"/>
              <a:gd name="connsiteX9-5225" fmla="*/ 788709 w 1059679"/>
              <a:gd name="connsiteY9-5226" fmla="*/ 0 h 774142"/>
              <a:gd name="connsiteX10-5227" fmla="*/ 666046 w 1059679"/>
              <a:gd name="connsiteY10-5228" fmla="*/ 44605 h 774142"/>
              <a:gd name="connsiteX11-5229" fmla="*/ 532231 w 1059679"/>
              <a:gd name="connsiteY11-5230" fmla="*/ 78059 h 774142"/>
              <a:gd name="connsiteX12-5231" fmla="*/ 431870 w 1059679"/>
              <a:gd name="connsiteY12-5232" fmla="*/ 22303 h 774142"/>
              <a:gd name="connsiteX13-5233" fmla="*/ 342660 w 1059679"/>
              <a:gd name="connsiteY13-5234" fmla="*/ 89210 h 774142"/>
              <a:gd name="connsiteX14-5235" fmla="*/ 264602 w 1059679"/>
              <a:gd name="connsiteY14-5236" fmla="*/ 167269 h 774142"/>
              <a:gd name="connsiteX15-5237" fmla="*/ 219997 w 1059679"/>
              <a:gd name="connsiteY15-5238" fmla="*/ 289932 h 774142"/>
              <a:gd name="connsiteX16-5239" fmla="*/ 108485 w 1059679"/>
              <a:gd name="connsiteY16-5240" fmla="*/ 234176 h 774142"/>
              <a:gd name="connsiteX17-5241" fmla="*/ 207993 w 1059679"/>
              <a:gd name="connsiteY17-5242" fmla="*/ 351238 h 774142"/>
              <a:gd name="connsiteX18-5243" fmla="*/ 185690 w 1059679"/>
              <a:gd name="connsiteY18-5244" fmla="*/ 485063 h 774142"/>
              <a:gd name="connsiteX19-5245" fmla="*/ 79176 w 1059679"/>
              <a:gd name="connsiteY19-5246" fmla="*/ 507652 h 774142"/>
              <a:gd name="connsiteX20-5247" fmla="*/ 61488 w 1059679"/>
              <a:gd name="connsiteY20-5248" fmla="*/ 447940 h 774142"/>
              <a:gd name="connsiteX21-5249" fmla="*/ 0 w 1059679"/>
              <a:gd name="connsiteY21-5250" fmla="*/ 463839 h 774142"/>
              <a:gd name="connsiteX22-5251" fmla="*/ 77437 w 1059679"/>
              <a:gd name="connsiteY22-5252" fmla="*/ 607759 h 774142"/>
              <a:gd name="connsiteX23-5253" fmla="*/ 140227 w 1059679"/>
              <a:gd name="connsiteY23-5254" fmla="*/ 654307 h 774142"/>
              <a:gd name="connsiteX24-5255" fmla="*/ 243154 w 1059679"/>
              <a:gd name="connsiteY24-5256" fmla="*/ 774142 h 774142"/>
              <a:gd name="connsiteX25-5257" fmla="*/ 318522 w 1059679"/>
              <a:gd name="connsiteY25-5258" fmla="*/ 720887 h 774142"/>
              <a:gd name="connsiteX26-5259" fmla="*/ 366030 w 1059679"/>
              <a:gd name="connsiteY26-5260" fmla="*/ 599318 h 774142"/>
              <a:gd name="connsiteX27-5261" fmla="*/ 505685 w 1059679"/>
              <a:gd name="connsiteY27-5262" fmla="*/ 567880 h 774142"/>
              <a:gd name="connsiteX28-5263" fmla="*/ 525838 w 1059679"/>
              <a:gd name="connsiteY28-5264" fmla="*/ 573166 h 774142"/>
              <a:gd name="connsiteX29-5265" fmla="*/ 603174 w 1059679"/>
              <a:gd name="connsiteY29-5266" fmla="*/ 610410 h 774142"/>
              <a:gd name="connsiteX30-5267" fmla="*/ 652507 w 1059679"/>
              <a:gd name="connsiteY30-5268" fmla="*/ 665900 h 774142"/>
              <a:gd name="connsiteX31-5269" fmla="*/ 649635 w 1059679"/>
              <a:gd name="connsiteY31-5270" fmla="*/ 665900 h 774142"/>
              <a:gd name="connsiteX32-5271" fmla="*/ 687668 w 1059679"/>
              <a:gd name="connsiteY32-5272" fmla="*/ 698606 h 774142"/>
              <a:gd name="connsiteX33-5273" fmla="*/ 767548 w 1059679"/>
              <a:gd name="connsiteY33-5274" fmla="*/ 720124 h 774142"/>
              <a:gd name="connsiteX34-5275" fmla="*/ 760786 w 1059679"/>
              <a:gd name="connsiteY34-5276" fmla="*/ 606400 h 774142"/>
              <a:gd name="connsiteX35-5277" fmla="*/ 863868 w 1059679"/>
              <a:gd name="connsiteY35-5278" fmla="*/ 545721 h 774142"/>
              <a:gd name="connsiteX36-5279" fmla="*/ 916175 w 1059679"/>
              <a:gd name="connsiteY36-5280" fmla="*/ 595354 h 774142"/>
              <a:gd name="connsiteX37-5281" fmla="*/ 1039179 w 1059679"/>
              <a:gd name="connsiteY37-5282" fmla="*/ 535136 h 774142"/>
              <a:gd name="connsiteX38-5283" fmla="*/ 1039179 w 1059679"/>
              <a:gd name="connsiteY38-5284" fmla="*/ 480050 h 774142"/>
              <a:gd name="connsiteX39-5285" fmla="*/ 938561 w 1059679"/>
              <a:gd name="connsiteY39-5286" fmla="*/ 356766 h 774142"/>
              <a:gd name="connsiteX0-5287" fmla="*/ 931051 w 1059679"/>
              <a:gd name="connsiteY0-5288" fmla="*/ 398190 h 774142"/>
              <a:gd name="connsiteX1-5289" fmla="*/ 1022885 w 1059679"/>
              <a:gd name="connsiteY1-5290" fmla="*/ 323386 h 774142"/>
              <a:gd name="connsiteX2-5291" fmla="*/ 944826 w 1059679"/>
              <a:gd name="connsiteY2-5292" fmla="*/ 223025 h 774142"/>
              <a:gd name="connsiteX3-5293" fmla="*/ 1022885 w 1059679"/>
              <a:gd name="connsiteY3-5294" fmla="*/ 211874 h 774142"/>
              <a:gd name="connsiteX4-5295" fmla="*/ 922524 w 1059679"/>
              <a:gd name="connsiteY4-5296" fmla="*/ 144966 h 774142"/>
              <a:gd name="connsiteX5-5297" fmla="*/ 1011734 w 1059679"/>
              <a:gd name="connsiteY5-5298" fmla="*/ 55757 h 774142"/>
              <a:gd name="connsiteX6-5299" fmla="*/ 1011734 w 1059679"/>
              <a:gd name="connsiteY6-5300" fmla="*/ 55757 h 774142"/>
              <a:gd name="connsiteX7-5301" fmla="*/ 889070 w 1059679"/>
              <a:gd name="connsiteY7-5302" fmla="*/ 78059 h 774142"/>
              <a:gd name="connsiteX8-5303" fmla="*/ 788709 w 1059679"/>
              <a:gd name="connsiteY8-5304" fmla="*/ 78059 h 774142"/>
              <a:gd name="connsiteX9-5305" fmla="*/ 788709 w 1059679"/>
              <a:gd name="connsiteY9-5306" fmla="*/ 0 h 774142"/>
              <a:gd name="connsiteX10-5307" fmla="*/ 666046 w 1059679"/>
              <a:gd name="connsiteY10-5308" fmla="*/ 44605 h 774142"/>
              <a:gd name="connsiteX11-5309" fmla="*/ 532231 w 1059679"/>
              <a:gd name="connsiteY11-5310" fmla="*/ 78059 h 774142"/>
              <a:gd name="connsiteX12-5311" fmla="*/ 431870 w 1059679"/>
              <a:gd name="connsiteY12-5312" fmla="*/ 22303 h 774142"/>
              <a:gd name="connsiteX13-5313" fmla="*/ 342660 w 1059679"/>
              <a:gd name="connsiteY13-5314" fmla="*/ 89210 h 774142"/>
              <a:gd name="connsiteX14-5315" fmla="*/ 264602 w 1059679"/>
              <a:gd name="connsiteY14-5316" fmla="*/ 167269 h 774142"/>
              <a:gd name="connsiteX15-5317" fmla="*/ 261013 w 1059679"/>
              <a:gd name="connsiteY15-5318" fmla="*/ 306643 h 774142"/>
              <a:gd name="connsiteX16-5319" fmla="*/ 108485 w 1059679"/>
              <a:gd name="connsiteY16-5320" fmla="*/ 234176 h 774142"/>
              <a:gd name="connsiteX17-5321" fmla="*/ 207993 w 1059679"/>
              <a:gd name="connsiteY17-5322" fmla="*/ 351238 h 774142"/>
              <a:gd name="connsiteX18-5323" fmla="*/ 185690 w 1059679"/>
              <a:gd name="connsiteY18-5324" fmla="*/ 485063 h 774142"/>
              <a:gd name="connsiteX19-5325" fmla="*/ 79176 w 1059679"/>
              <a:gd name="connsiteY19-5326" fmla="*/ 507652 h 774142"/>
              <a:gd name="connsiteX20-5327" fmla="*/ 61488 w 1059679"/>
              <a:gd name="connsiteY20-5328" fmla="*/ 447940 h 774142"/>
              <a:gd name="connsiteX21-5329" fmla="*/ 0 w 1059679"/>
              <a:gd name="connsiteY21-5330" fmla="*/ 463839 h 774142"/>
              <a:gd name="connsiteX22-5331" fmla="*/ 77437 w 1059679"/>
              <a:gd name="connsiteY22-5332" fmla="*/ 607759 h 774142"/>
              <a:gd name="connsiteX23-5333" fmla="*/ 140227 w 1059679"/>
              <a:gd name="connsiteY23-5334" fmla="*/ 654307 h 774142"/>
              <a:gd name="connsiteX24-5335" fmla="*/ 243154 w 1059679"/>
              <a:gd name="connsiteY24-5336" fmla="*/ 774142 h 774142"/>
              <a:gd name="connsiteX25-5337" fmla="*/ 318522 w 1059679"/>
              <a:gd name="connsiteY25-5338" fmla="*/ 720887 h 774142"/>
              <a:gd name="connsiteX26-5339" fmla="*/ 366030 w 1059679"/>
              <a:gd name="connsiteY26-5340" fmla="*/ 599318 h 774142"/>
              <a:gd name="connsiteX27-5341" fmla="*/ 505685 w 1059679"/>
              <a:gd name="connsiteY27-5342" fmla="*/ 567880 h 774142"/>
              <a:gd name="connsiteX28-5343" fmla="*/ 525838 w 1059679"/>
              <a:gd name="connsiteY28-5344" fmla="*/ 573166 h 774142"/>
              <a:gd name="connsiteX29-5345" fmla="*/ 603174 w 1059679"/>
              <a:gd name="connsiteY29-5346" fmla="*/ 610410 h 774142"/>
              <a:gd name="connsiteX30-5347" fmla="*/ 652507 w 1059679"/>
              <a:gd name="connsiteY30-5348" fmla="*/ 665900 h 774142"/>
              <a:gd name="connsiteX31-5349" fmla="*/ 649635 w 1059679"/>
              <a:gd name="connsiteY31-5350" fmla="*/ 665900 h 774142"/>
              <a:gd name="connsiteX32-5351" fmla="*/ 687668 w 1059679"/>
              <a:gd name="connsiteY32-5352" fmla="*/ 698606 h 774142"/>
              <a:gd name="connsiteX33-5353" fmla="*/ 767548 w 1059679"/>
              <a:gd name="connsiteY33-5354" fmla="*/ 720124 h 774142"/>
              <a:gd name="connsiteX34-5355" fmla="*/ 760786 w 1059679"/>
              <a:gd name="connsiteY34-5356" fmla="*/ 606400 h 774142"/>
              <a:gd name="connsiteX35-5357" fmla="*/ 863868 w 1059679"/>
              <a:gd name="connsiteY35-5358" fmla="*/ 545721 h 774142"/>
              <a:gd name="connsiteX36-5359" fmla="*/ 916175 w 1059679"/>
              <a:gd name="connsiteY36-5360" fmla="*/ 595354 h 774142"/>
              <a:gd name="connsiteX37-5361" fmla="*/ 1039179 w 1059679"/>
              <a:gd name="connsiteY37-5362" fmla="*/ 535136 h 774142"/>
              <a:gd name="connsiteX38-5363" fmla="*/ 1039179 w 1059679"/>
              <a:gd name="connsiteY38-5364" fmla="*/ 480050 h 774142"/>
              <a:gd name="connsiteX39-5365" fmla="*/ 938561 w 1059679"/>
              <a:gd name="connsiteY39-5366" fmla="*/ 356766 h 774142"/>
              <a:gd name="connsiteX0-5367" fmla="*/ 931051 w 1059679"/>
              <a:gd name="connsiteY0-5368" fmla="*/ 398190 h 774142"/>
              <a:gd name="connsiteX1-5369" fmla="*/ 1022885 w 1059679"/>
              <a:gd name="connsiteY1-5370" fmla="*/ 323386 h 774142"/>
              <a:gd name="connsiteX2-5371" fmla="*/ 944826 w 1059679"/>
              <a:gd name="connsiteY2-5372" fmla="*/ 223025 h 774142"/>
              <a:gd name="connsiteX3-5373" fmla="*/ 1022885 w 1059679"/>
              <a:gd name="connsiteY3-5374" fmla="*/ 211874 h 774142"/>
              <a:gd name="connsiteX4-5375" fmla="*/ 922524 w 1059679"/>
              <a:gd name="connsiteY4-5376" fmla="*/ 144966 h 774142"/>
              <a:gd name="connsiteX5-5377" fmla="*/ 1011734 w 1059679"/>
              <a:gd name="connsiteY5-5378" fmla="*/ 55757 h 774142"/>
              <a:gd name="connsiteX6-5379" fmla="*/ 1011734 w 1059679"/>
              <a:gd name="connsiteY6-5380" fmla="*/ 55757 h 774142"/>
              <a:gd name="connsiteX7-5381" fmla="*/ 889070 w 1059679"/>
              <a:gd name="connsiteY7-5382" fmla="*/ 78059 h 774142"/>
              <a:gd name="connsiteX8-5383" fmla="*/ 788709 w 1059679"/>
              <a:gd name="connsiteY8-5384" fmla="*/ 78059 h 774142"/>
              <a:gd name="connsiteX9-5385" fmla="*/ 788709 w 1059679"/>
              <a:gd name="connsiteY9-5386" fmla="*/ 0 h 774142"/>
              <a:gd name="connsiteX10-5387" fmla="*/ 666046 w 1059679"/>
              <a:gd name="connsiteY10-5388" fmla="*/ 44605 h 774142"/>
              <a:gd name="connsiteX11-5389" fmla="*/ 532231 w 1059679"/>
              <a:gd name="connsiteY11-5390" fmla="*/ 78059 h 774142"/>
              <a:gd name="connsiteX12-5391" fmla="*/ 431870 w 1059679"/>
              <a:gd name="connsiteY12-5392" fmla="*/ 22303 h 774142"/>
              <a:gd name="connsiteX13-5393" fmla="*/ 342660 w 1059679"/>
              <a:gd name="connsiteY13-5394" fmla="*/ 89210 h 774142"/>
              <a:gd name="connsiteX14-5395" fmla="*/ 264602 w 1059679"/>
              <a:gd name="connsiteY14-5396" fmla="*/ 167269 h 774142"/>
              <a:gd name="connsiteX15-5397" fmla="*/ 261013 w 1059679"/>
              <a:gd name="connsiteY15-5398" fmla="*/ 306643 h 774142"/>
              <a:gd name="connsiteX16-5399" fmla="*/ 157704 w 1059679"/>
              <a:gd name="connsiteY16-5400" fmla="*/ 256458 h 774142"/>
              <a:gd name="connsiteX17-5401" fmla="*/ 207993 w 1059679"/>
              <a:gd name="connsiteY17-5402" fmla="*/ 351238 h 774142"/>
              <a:gd name="connsiteX18-5403" fmla="*/ 185690 w 1059679"/>
              <a:gd name="connsiteY18-5404" fmla="*/ 485063 h 774142"/>
              <a:gd name="connsiteX19-5405" fmla="*/ 79176 w 1059679"/>
              <a:gd name="connsiteY19-5406" fmla="*/ 507652 h 774142"/>
              <a:gd name="connsiteX20-5407" fmla="*/ 61488 w 1059679"/>
              <a:gd name="connsiteY20-5408" fmla="*/ 447940 h 774142"/>
              <a:gd name="connsiteX21-5409" fmla="*/ 0 w 1059679"/>
              <a:gd name="connsiteY21-5410" fmla="*/ 463839 h 774142"/>
              <a:gd name="connsiteX22-5411" fmla="*/ 77437 w 1059679"/>
              <a:gd name="connsiteY22-5412" fmla="*/ 607759 h 774142"/>
              <a:gd name="connsiteX23-5413" fmla="*/ 140227 w 1059679"/>
              <a:gd name="connsiteY23-5414" fmla="*/ 654307 h 774142"/>
              <a:gd name="connsiteX24-5415" fmla="*/ 243154 w 1059679"/>
              <a:gd name="connsiteY24-5416" fmla="*/ 774142 h 774142"/>
              <a:gd name="connsiteX25-5417" fmla="*/ 318522 w 1059679"/>
              <a:gd name="connsiteY25-5418" fmla="*/ 720887 h 774142"/>
              <a:gd name="connsiteX26-5419" fmla="*/ 366030 w 1059679"/>
              <a:gd name="connsiteY26-5420" fmla="*/ 599318 h 774142"/>
              <a:gd name="connsiteX27-5421" fmla="*/ 505685 w 1059679"/>
              <a:gd name="connsiteY27-5422" fmla="*/ 567880 h 774142"/>
              <a:gd name="connsiteX28-5423" fmla="*/ 525838 w 1059679"/>
              <a:gd name="connsiteY28-5424" fmla="*/ 573166 h 774142"/>
              <a:gd name="connsiteX29-5425" fmla="*/ 603174 w 1059679"/>
              <a:gd name="connsiteY29-5426" fmla="*/ 610410 h 774142"/>
              <a:gd name="connsiteX30-5427" fmla="*/ 652507 w 1059679"/>
              <a:gd name="connsiteY30-5428" fmla="*/ 665900 h 774142"/>
              <a:gd name="connsiteX31-5429" fmla="*/ 649635 w 1059679"/>
              <a:gd name="connsiteY31-5430" fmla="*/ 665900 h 774142"/>
              <a:gd name="connsiteX32-5431" fmla="*/ 687668 w 1059679"/>
              <a:gd name="connsiteY32-5432" fmla="*/ 698606 h 774142"/>
              <a:gd name="connsiteX33-5433" fmla="*/ 767548 w 1059679"/>
              <a:gd name="connsiteY33-5434" fmla="*/ 720124 h 774142"/>
              <a:gd name="connsiteX34-5435" fmla="*/ 760786 w 1059679"/>
              <a:gd name="connsiteY34-5436" fmla="*/ 606400 h 774142"/>
              <a:gd name="connsiteX35-5437" fmla="*/ 863868 w 1059679"/>
              <a:gd name="connsiteY35-5438" fmla="*/ 545721 h 774142"/>
              <a:gd name="connsiteX36-5439" fmla="*/ 916175 w 1059679"/>
              <a:gd name="connsiteY36-5440" fmla="*/ 595354 h 774142"/>
              <a:gd name="connsiteX37-5441" fmla="*/ 1039179 w 1059679"/>
              <a:gd name="connsiteY37-5442" fmla="*/ 535136 h 774142"/>
              <a:gd name="connsiteX38-5443" fmla="*/ 1039179 w 1059679"/>
              <a:gd name="connsiteY38-5444" fmla="*/ 480050 h 774142"/>
              <a:gd name="connsiteX39-5445" fmla="*/ 938561 w 1059679"/>
              <a:gd name="connsiteY39-5446" fmla="*/ 356766 h 774142"/>
              <a:gd name="connsiteX0-5447" fmla="*/ 931051 w 1059679"/>
              <a:gd name="connsiteY0-5448" fmla="*/ 398190 h 774142"/>
              <a:gd name="connsiteX1-5449" fmla="*/ 1022885 w 1059679"/>
              <a:gd name="connsiteY1-5450" fmla="*/ 323386 h 774142"/>
              <a:gd name="connsiteX2-5451" fmla="*/ 944826 w 1059679"/>
              <a:gd name="connsiteY2-5452" fmla="*/ 223025 h 774142"/>
              <a:gd name="connsiteX3-5453" fmla="*/ 1022885 w 1059679"/>
              <a:gd name="connsiteY3-5454" fmla="*/ 211874 h 774142"/>
              <a:gd name="connsiteX4-5455" fmla="*/ 922524 w 1059679"/>
              <a:gd name="connsiteY4-5456" fmla="*/ 144966 h 774142"/>
              <a:gd name="connsiteX5-5457" fmla="*/ 1011734 w 1059679"/>
              <a:gd name="connsiteY5-5458" fmla="*/ 55757 h 774142"/>
              <a:gd name="connsiteX6-5459" fmla="*/ 1011734 w 1059679"/>
              <a:gd name="connsiteY6-5460" fmla="*/ 55757 h 774142"/>
              <a:gd name="connsiteX7-5461" fmla="*/ 889070 w 1059679"/>
              <a:gd name="connsiteY7-5462" fmla="*/ 78059 h 774142"/>
              <a:gd name="connsiteX8-5463" fmla="*/ 788709 w 1059679"/>
              <a:gd name="connsiteY8-5464" fmla="*/ 78059 h 774142"/>
              <a:gd name="connsiteX9-5465" fmla="*/ 788709 w 1059679"/>
              <a:gd name="connsiteY9-5466" fmla="*/ 0 h 774142"/>
              <a:gd name="connsiteX10-5467" fmla="*/ 666046 w 1059679"/>
              <a:gd name="connsiteY10-5468" fmla="*/ 44605 h 774142"/>
              <a:gd name="connsiteX11-5469" fmla="*/ 532231 w 1059679"/>
              <a:gd name="connsiteY11-5470" fmla="*/ 78059 h 774142"/>
              <a:gd name="connsiteX12-5471" fmla="*/ 431870 w 1059679"/>
              <a:gd name="connsiteY12-5472" fmla="*/ 22303 h 774142"/>
              <a:gd name="connsiteX13-5473" fmla="*/ 342660 w 1059679"/>
              <a:gd name="connsiteY13-5474" fmla="*/ 89210 h 774142"/>
              <a:gd name="connsiteX14-5475" fmla="*/ 264602 w 1059679"/>
              <a:gd name="connsiteY14-5476" fmla="*/ 167269 h 774142"/>
              <a:gd name="connsiteX15-5477" fmla="*/ 261013 w 1059679"/>
              <a:gd name="connsiteY15-5478" fmla="*/ 306643 h 774142"/>
              <a:gd name="connsiteX16-5479" fmla="*/ 165907 w 1059679"/>
              <a:gd name="connsiteY16-5480" fmla="*/ 259244 h 774142"/>
              <a:gd name="connsiteX17-5481" fmla="*/ 207993 w 1059679"/>
              <a:gd name="connsiteY17-5482" fmla="*/ 351238 h 774142"/>
              <a:gd name="connsiteX18-5483" fmla="*/ 185690 w 1059679"/>
              <a:gd name="connsiteY18-5484" fmla="*/ 485063 h 774142"/>
              <a:gd name="connsiteX19-5485" fmla="*/ 79176 w 1059679"/>
              <a:gd name="connsiteY19-5486" fmla="*/ 507652 h 774142"/>
              <a:gd name="connsiteX20-5487" fmla="*/ 61488 w 1059679"/>
              <a:gd name="connsiteY20-5488" fmla="*/ 447940 h 774142"/>
              <a:gd name="connsiteX21-5489" fmla="*/ 0 w 1059679"/>
              <a:gd name="connsiteY21-5490" fmla="*/ 463839 h 774142"/>
              <a:gd name="connsiteX22-5491" fmla="*/ 77437 w 1059679"/>
              <a:gd name="connsiteY22-5492" fmla="*/ 607759 h 774142"/>
              <a:gd name="connsiteX23-5493" fmla="*/ 140227 w 1059679"/>
              <a:gd name="connsiteY23-5494" fmla="*/ 654307 h 774142"/>
              <a:gd name="connsiteX24-5495" fmla="*/ 243154 w 1059679"/>
              <a:gd name="connsiteY24-5496" fmla="*/ 774142 h 774142"/>
              <a:gd name="connsiteX25-5497" fmla="*/ 318522 w 1059679"/>
              <a:gd name="connsiteY25-5498" fmla="*/ 720887 h 774142"/>
              <a:gd name="connsiteX26-5499" fmla="*/ 366030 w 1059679"/>
              <a:gd name="connsiteY26-5500" fmla="*/ 599318 h 774142"/>
              <a:gd name="connsiteX27-5501" fmla="*/ 505685 w 1059679"/>
              <a:gd name="connsiteY27-5502" fmla="*/ 567880 h 774142"/>
              <a:gd name="connsiteX28-5503" fmla="*/ 525838 w 1059679"/>
              <a:gd name="connsiteY28-5504" fmla="*/ 573166 h 774142"/>
              <a:gd name="connsiteX29-5505" fmla="*/ 603174 w 1059679"/>
              <a:gd name="connsiteY29-5506" fmla="*/ 610410 h 774142"/>
              <a:gd name="connsiteX30-5507" fmla="*/ 652507 w 1059679"/>
              <a:gd name="connsiteY30-5508" fmla="*/ 665900 h 774142"/>
              <a:gd name="connsiteX31-5509" fmla="*/ 649635 w 1059679"/>
              <a:gd name="connsiteY31-5510" fmla="*/ 665900 h 774142"/>
              <a:gd name="connsiteX32-5511" fmla="*/ 687668 w 1059679"/>
              <a:gd name="connsiteY32-5512" fmla="*/ 698606 h 774142"/>
              <a:gd name="connsiteX33-5513" fmla="*/ 767548 w 1059679"/>
              <a:gd name="connsiteY33-5514" fmla="*/ 720124 h 774142"/>
              <a:gd name="connsiteX34-5515" fmla="*/ 760786 w 1059679"/>
              <a:gd name="connsiteY34-5516" fmla="*/ 606400 h 774142"/>
              <a:gd name="connsiteX35-5517" fmla="*/ 863868 w 1059679"/>
              <a:gd name="connsiteY35-5518" fmla="*/ 545721 h 774142"/>
              <a:gd name="connsiteX36-5519" fmla="*/ 916175 w 1059679"/>
              <a:gd name="connsiteY36-5520" fmla="*/ 595354 h 774142"/>
              <a:gd name="connsiteX37-5521" fmla="*/ 1039179 w 1059679"/>
              <a:gd name="connsiteY37-5522" fmla="*/ 535136 h 774142"/>
              <a:gd name="connsiteX38-5523" fmla="*/ 1039179 w 1059679"/>
              <a:gd name="connsiteY38-5524" fmla="*/ 480050 h 774142"/>
              <a:gd name="connsiteX39-5525" fmla="*/ 938561 w 1059679"/>
              <a:gd name="connsiteY39-5526" fmla="*/ 356766 h 774142"/>
              <a:gd name="connsiteX0-5527" fmla="*/ 931051 w 1059679"/>
              <a:gd name="connsiteY0-5528" fmla="*/ 398190 h 774142"/>
              <a:gd name="connsiteX1-5529" fmla="*/ 1022885 w 1059679"/>
              <a:gd name="connsiteY1-5530" fmla="*/ 323386 h 774142"/>
              <a:gd name="connsiteX2-5531" fmla="*/ 944826 w 1059679"/>
              <a:gd name="connsiteY2-5532" fmla="*/ 223025 h 774142"/>
              <a:gd name="connsiteX3-5533" fmla="*/ 1022885 w 1059679"/>
              <a:gd name="connsiteY3-5534" fmla="*/ 211874 h 774142"/>
              <a:gd name="connsiteX4-5535" fmla="*/ 922524 w 1059679"/>
              <a:gd name="connsiteY4-5536" fmla="*/ 144966 h 774142"/>
              <a:gd name="connsiteX5-5537" fmla="*/ 1011734 w 1059679"/>
              <a:gd name="connsiteY5-5538" fmla="*/ 55757 h 774142"/>
              <a:gd name="connsiteX6-5539" fmla="*/ 1011734 w 1059679"/>
              <a:gd name="connsiteY6-5540" fmla="*/ 55757 h 774142"/>
              <a:gd name="connsiteX7-5541" fmla="*/ 889070 w 1059679"/>
              <a:gd name="connsiteY7-5542" fmla="*/ 78059 h 774142"/>
              <a:gd name="connsiteX8-5543" fmla="*/ 788709 w 1059679"/>
              <a:gd name="connsiteY8-5544" fmla="*/ 78059 h 774142"/>
              <a:gd name="connsiteX9-5545" fmla="*/ 788709 w 1059679"/>
              <a:gd name="connsiteY9-5546" fmla="*/ 0 h 774142"/>
              <a:gd name="connsiteX10-5547" fmla="*/ 666046 w 1059679"/>
              <a:gd name="connsiteY10-5548" fmla="*/ 44605 h 774142"/>
              <a:gd name="connsiteX11-5549" fmla="*/ 532231 w 1059679"/>
              <a:gd name="connsiteY11-5550" fmla="*/ 78059 h 774142"/>
              <a:gd name="connsiteX12-5551" fmla="*/ 431870 w 1059679"/>
              <a:gd name="connsiteY12-5552" fmla="*/ 22303 h 774142"/>
              <a:gd name="connsiteX13-5553" fmla="*/ 342660 w 1059679"/>
              <a:gd name="connsiteY13-5554" fmla="*/ 89210 h 774142"/>
              <a:gd name="connsiteX14-5555" fmla="*/ 264602 w 1059679"/>
              <a:gd name="connsiteY14-5556" fmla="*/ 167269 h 774142"/>
              <a:gd name="connsiteX15-5557" fmla="*/ 261013 w 1059679"/>
              <a:gd name="connsiteY15-5558" fmla="*/ 306643 h 774142"/>
              <a:gd name="connsiteX16-5559" fmla="*/ 181802 w 1059679"/>
              <a:gd name="connsiteY16-5560" fmla="*/ 250193 h 774142"/>
              <a:gd name="connsiteX17-5561" fmla="*/ 165907 w 1059679"/>
              <a:gd name="connsiteY17-5562" fmla="*/ 259244 h 774142"/>
              <a:gd name="connsiteX18-5563" fmla="*/ 207993 w 1059679"/>
              <a:gd name="connsiteY18-5564" fmla="*/ 351238 h 774142"/>
              <a:gd name="connsiteX19-5565" fmla="*/ 185690 w 1059679"/>
              <a:gd name="connsiteY19-5566" fmla="*/ 485063 h 774142"/>
              <a:gd name="connsiteX20-5567" fmla="*/ 79176 w 1059679"/>
              <a:gd name="connsiteY20-5568" fmla="*/ 507652 h 774142"/>
              <a:gd name="connsiteX21-5569" fmla="*/ 61488 w 1059679"/>
              <a:gd name="connsiteY21-5570" fmla="*/ 447940 h 774142"/>
              <a:gd name="connsiteX22-5571" fmla="*/ 0 w 1059679"/>
              <a:gd name="connsiteY22-5572" fmla="*/ 463839 h 774142"/>
              <a:gd name="connsiteX23-5573" fmla="*/ 77437 w 1059679"/>
              <a:gd name="connsiteY23-5574" fmla="*/ 607759 h 774142"/>
              <a:gd name="connsiteX24-5575" fmla="*/ 140227 w 1059679"/>
              <a:gd name="connsiteY24-5576" fmla="*/ 654307 h 774142"/>
              <a:gd name="connsiteX25-5577" fmla="*/ 243154 w 1059679"/>
              <a:gd name="connsiteY25-5578" fmla="*/ 774142 h 774142"/>
              <a:gd name="connsiteX26-5579" fmla="*/ 318522 w 1059679"/>
              <a:gd name="connsiteY26-5580" fmla="*/ 720887 h 774142"/>
              <a:gd name="connsiteX27-5581" fmla="*/ 366030 w 1059679"/>
              <a:gd name="connsiteY27-5582" fmla="*/ 599318 h 774142"/>
              <a:gd name="connsiteX28-5583" fmla="*/ 505685 w 1059679"/>
              <a:gd name="connsiteY28-5584" fmla="*/ 567880 h 774142"/>
              <a:gd name="connsiteX29-5585" fmla="*/ 525838 w 1059679"/>
              <a:gd name="connsiteY29-5586" fmla="*/ 573166 h 774142"/>
              <a:gd name="connsiteX30-5587" fmla="*/ 603174 w 1059679"/>
              <a:gd name="connsiteY30-5588" fmla="*/ 610410 h 774142"/>
              <a:gd name="connsiteX31-5589" fmla="*/ 652507 w 1059679"/>
              <a:gd name="connsiteY31-5590" fmla="*/ 665900 h 774142"/>
              <a:gd name="connsiteX32-5591" fmla="*/ 649635 w 1059679"/>
              <a:gd name="connsiteY32-5592" fmla="*/ 665900 h 774142"/>
              <a:gd name="connsiteX33-5593" fmla="*/ 687668 w 1059679"/>
              <a:gd name="connsiteY33-5594" fmla="*/ 698606 h 774142"/>
              <a:gd name="connsiteX34-5595" fmla="*/ 767548 w 1059679"/>
              <a:gd name="connsiteY34-5596" fmla="*/ 720124 h 774142"/>
              <a:gd name="connsiteX35-5597" fmla="*/ 760786 w 1059679"/>
              <a:gd name="connsiteY35-5598" fmla="*/ 606400 h 774142"/>
              <a:gd name="connsiteX36-5599" fmla="*/ 863868 w 1059679"/>
              <a:gd name="connsiteY36-5600" fmla="*/ 545721 h 774142"/>
              <a:gd name="connsiteX37-5601" fmla="*/ 916175 w 1059679"/>
              <a:gd name="connsiteY37-5602" fmla="*/ 595354 h 774142"/>
              <a:gd name="connsiteX38-5603" fmla="*/ 1039179 w 1059679"/>
              <a:gd name="connsiteY38-5604" fmla="*/ 535136 h 774142"/>
              <a:gd name="connsiteX39-5605" fmla="*/ 1039179 w 1059679"/>
              <a:gd name="connsiteY39-5606" fmla="*/ 480050 h 774142"/>
              <a:gd name="connsiteX40-5607" fmla="*/ 938561 w 1059679"/>
              <a:gd name="connsiteY40-5608" fmla="*/ 356766 h 774142"/>
              <a:gd name="connsiteX0-5609" fmla="*/ 931051 w 1059679"/>
              <a:gd name="connsiteY0-5610" fmla="*/ 398190 h 774142"/>
              <a:gd name="connsiteX1-5611" fmla="*/ 1022885 w 1059679"/>
              <a:gd name="connsiteY1-5612" fmla="*/ 323386 h 774142"/>
              <a:gd name="connsiteX2-5613" fmla="*/ 944826 w 1059679"/>
              <a:gd name="connsiteY2-5614" fmla="*/ 223025 h 774142"/>
              <a:gd name="connsiteX3-5615" fmla="*/ 1022885 w 1059679"/>
              <a:gd name="connsiteY3-5616" fmla="*/ 211874 h 774142"/>
              <a:gd name="connsiteX4-5617" fmla="*/ 922524 w 1059679"/>
              <a:gd name="connsiteY4-5618" fmla="*/ 144966 h 774142"/>
              <a:gd name="connsiteX5-5619" fmla="*/ 1011734 w 1059679"/>
              <a:gd name="connsiteY5-5620" fmla="*/ 55757 h 774142"/>
              <a:gd name="connsiteX6-5621" fmla="*/ 1011734 w 1059679"/>
              <a:gd name="connsiteY6-5622" fmla="*/ 55757 h 774142"/>
              <a:gd name="connsiteX7-5623" fmla="*/ 889070 w 1059679"/>
              <a:gd name="connsiteY7-5624" fmla="*/ 78059 h 774142"/>
              <a:gd name="connsiteX8-5625" fmla="*/ 788709 w 1059679"/>
              <a:gd name="connsiteY8-5626" fmla="*/ 78059 h 774142"/>
              <a:gd name="connsiteX9-5627" fmla="*/ 788709 w 1059679"/>
              <a:gd name="connsiteY9-5628" fmla="*/ 0 h 774142"/>
              <a:gd name="connsiteX10-5629" fmla="*/ 666046 w 1059679"/>
              <a:gd name="connsiteY10-5630" fmla="*/ 44605 h 774142"/>
              <a:gd name="connsiteX11-5631" fmla="*/ 532231 w 1059679"/>
              <a:gd name="connsiteY11-5632" fmla="*/ 78059 h 774142"/>
              <a:gd name="connsiteX12-5633" fmla="*/ 431870 w 1059679"/>
              <a:gd name="connsiteY12-5634" fmla="*/ 22303 h 774142"/>
              <a:gd name="connsiteX13-5635" fmla="*/ 342660 w 1059679"/>
              <a:gd name="connsiteY13-5636" fmla="*/ 89210 h 774142"/>
              <a:gd name="connsiteX14-5637" fmla="*/ 286478 w 1059679"/>
              <a:gd name="connsiteY14-5638" fmla="*/ 278675 h 774142"/>
              <a:gd name="connsiteX15-5639" fmla="*/ 261013 w 1059679"/>
              <a:gd name="connsiteY15-5640" fmla="*/ 306643 h 774142"/>
              <a:gd name="connsiteX16-5641" fmla="*/ 181802 w 1059679"/>
              <a:gd name="connsiteY16-5642" fmla="*/ 250193 h 774142"/>
              <a:gd name="connsiteX17-5643" fmla="*/ 165907 w 1059679"/>
              <a:gd name="connsiteY17-5644" fmla="*/ 259244 h 774142"/>
              <a:gd name="connsiteX18-5645" fmla="*/ 207993 w 1059679"/>
              <a:gd name="connsiteY18-5646" fmla="*/ 351238 h 774142"/>
              <a:gd name="connsiteX19-5647" fmla="*/ 185690 w 1059679"/>
              <a:gd name="connsiteY19-5648" fmla="*/ 485063 h 774142"/>
              <a:gd name="connsiteX20-5649" fmla="*/ 79176 w 1059679"/>
              <a:gd name="connsiteY20-5650" fmla="*/ 507652 h 774142"/>
              <a:gd name="connsiteX21-5651" fmla="*/ 61488 w 1059679"/>
              <a:gd name="connsiteY21-5652" fmla="*/ 447940 h 774142"/>
              <a:gd name="connsiteX22-5653" fmla="*/ 0 w 1059679"/>
              <a:gd name="connsiteY22-5654" fmla="*/ 463839 h 774142"/>
              <a:gd name="connsiteX23-5655" fmla="*/ 77437 w 1059679"/>
              <a:gd name="connsiteY23-5656" fmla="*/ 607759 h 774142"/>
              <a:gd name="connsiteX24-5657" fmla="*/ 140227 w 1059679"/>
              <a:gd name="connsiteY24-5658" fmla="*/ 654307 h 774142"/>
              <a:gd name="connsiteX25-5659" fmla="*/ 243154 w 1059679"/>
              <a:gd name="connsiteY25-5660" fmla="*/ 774142 h 774142"/>
              <a:gd name="connsiteX26-5661" fmla="*/ 318522 w 1059679"/>
              <a:gd name="connsiteY26-5662" fmla="*/ 720887 h 774142"/>
              <a:gd name="connsiteX27-5663" fmla="*/ 366030 w 1059679"/>
              <a:gd name="connsiteY27-5664" fmla="*/ 599318 h 774142"/>
              <a:gd name="connsiteX28-5665" fmla="*/ 505685 w 1059679"/>
              <a:gd name="connsiteY28-5666" fmla="*/ 567880 h 774142"/>
              <a:gd name="connsiteX29-5667" fmla="*/ 525838 w 1059679"/>
              <a:gd name="connsiteY29-5668" fmla="*/ 573166 h 774142"/>
              <a:gd name="connsiteX30-5669" fmla="*/ 603174 w 1059679"/>
              <a:gd name="connsiteY30-5670" fmla="*/ 610410 h 774142"/>
              <a:gd name="connsiteX31-5671" fmla="*/ 652507 w 1059679"/>
              <a:gd name="connsiteY31-5672" fmla="*/ 665900 h 774142"/>
              <a:gd name="connsiteX32-5673" fmla="*/ 649635 w 1059679"/>
              <a:gd name="connsiteY32-5674" fmla="*/ 665900 h 774142"/>
              <a:gd name="connsiteX33-5675" fmla="*/ 687668 w 1059679"/>
              <a:gd name="connsiteY33-5676" fmla="*/ 698606 h 774142"/>
              <a:gd name="connsiteX34-5677" fmla="*/ 767548 w 1059679"/>
              <a:gd name="connsiteY34-5678" fmla="*/ 720124 h 774142"/>
              <a:gd name="connsiteX35-5679" fmla="*/ 760786 w 1059679"/>
              <a:gd name="connsiteY35-5680" fmla="*/ 606400 h 774142"/>
              <a:gd name="connsiteX36-5681" fmla="*/ 863868 w 1059679"/>
              <a:gd name="connsiteY36-5682" fmla="*/ 545721 h 774142"/>
              <a:gd name="connsiteX37-5683" fmla="*/ 916175 w 1059679"/>
              <a:gd name="connsiteY37-5684" fmla="*/ 595354 h 774142"/>
              <a:gd name="connsiteX38-5685" fmla="*/ 1039179 w 1059679"/>
              <a:gd name="connsiteY38-5686" fmla="*/ 535136 h 774142"/>
              <a:gd name="connsiteX39-5687" fmla="*/ 1039179 w 1059679"/>
              <a:gd name="connsiteY39-5688" fmla="*/ 480050 h 774142"/>
              <a:gd name="connsiteX40-5689" fmla="*/ 938561 w 1059679"/>
              <a:gd name="connsiteY40-5690" fmla="*/ 356766 h 774142"/>
              <a:gd name="connsiteX0-5691" fmla="*/ 931051 w 1059679"/>
              <a:gd name="connsiteY0-5692" fmla="*/ 398190 h 774142"/>
              <a:gd name="connsiteX1-5693" fmla="*/ 1022885 w 1059679"/>
              <a:gd name="connsiteY1-5694" fmla="*/ 323386 h 774142"/>
              <a:gd name="connsiteX2-5695" fmla="*/ 944826 w 1059679"/>
              <a:gd name="connsiteY2-5696" fmla="*/ 223025 h 774142"/>
              <a:gd name="connsiteX3-5697" fmla="*/ 1022885 w 1059679"/>
              <a:gd name="connsiteY3-5698" fmla="*/ 211874 h 774142"/>
              <a:gd name="connsiteX4-5699" fmla="*/ 922524 w 1059679"/>
              <a:gd name="connsiteY4-5700" fmla="*/ 144966 h 774142"/>
              <a:gd name="connsiteX5-5701" fmla="*/ 1011734 w 1059679"/>
              <a:gd name="connsiteY5-5702" fmla="*/ 55757 h 774142"/>
              <a:gd name="connsiteX6-5703" fmla="*/ 1011734 w 1059679"/>
              <a:gd name="connsiteY6-5704" fmla="*/ 55757 h 774142"/>
              <a:gd name="connsiteX7-5705" fmla="*/ 889070 w 1059679"/>
              <a:gd name="connsiteY7-5706" fmla="*/ 78059 h 774142"/>
              <a:gd name="connsiteX8-5707" fmla="*/ 788709 w 1059679"/>
              <a:gd name="connsiteY8-5708" fmla="*/ 78059 h 774142"/>
              <a:gd name="connsiteX9-5709" fmla="*/ 788709 w 1059679"/>
              <a:gd name="connsiteY9-5710" fmla="*/ 0 h 774142"/>
              <a:gd name="connsiteX10-5711" fmla="*/ 666046 w 1059679"/>
              <a:gd name="connsiteY10-5712" fmla="*/ 44605 h 774142"/>
              <a:gd name="connsiteX11-5713" fmla="*/ 532231 w 1059679"/>
              <a:gd name="connsiteY11-5714" fmla="*/ 78059 h 774142"/>
              <a:gd name="connsiteX12-5715" fmla="*/ 431870 w 1059679"/>
              <a:gd name="connsiteY12-5716" fmla="*/ 22303 h 774142"/>
              <a:gd name="connsiteX13-5717" fmla="*/ 342660 w 1059679"/>
              <a:gd name="connsiteY13-5718" fmla="*/ 89210 h 774142"/>
              <a:gd name="connsiteX14-5719" fmla="*/ 296647 w 1059679"/>
              <a:gd name="connsiteY14-5720" fmla="*/ 177779 h 774142"/>
              <a:gd name="connsiteX15-5721" fmla="*/ 286478 w 1059679"/>
              <a:gd name="connsiteY15-5722" fmla="*/ 278675 h 774142"/>
              <a:gd name="connsiteX16-5723" fmla="*/ 261013 w 1059679"/>
              <a:gd name="connsiteY16-5724" fmla="*/ 306643 h 774142"/>
              <a:gd name="connsiteX17-5725" fmla="*/ 181802 w 1059679"/>
              <a:gd name="connsiteY17-5726" fmla="*/ 250193 h 774142"/>
              <a:gd name="connsiteX18-5727" fmla="*/ 165907 w 1059679"/>
              <a:gd name="connsiteY18-5728" fmla="*/ 259244 h 774142"/>
              <a:gd name="connsiteX19-5729" fmla="*/ 207993 w 1059679"/>
              <a:gd name="connsiteY19-5730" fmla="*/ 351238 h 774142"/>
              <a:gd name="connsiteX20-5731" fmla="*/ 185690 w 1059679"/>
              <a:gd name="connsiteY20-5732" fmla="*/ 485063 h 774142"/>
              <a:gd name="connsiteX21-5733" fmla="*/ 79176 w 1059679"/>
              <a:gd name="connsiteY21-5734" fmla="*/ 507652 h 774142"/>
              <a:gd name="connsiteX22-5735" fmla="*/ 61488 w 1059679"/>
              <a:gd name="connsiteY22-5736" fmla="*/ 447940 h 774142"/>
              <a:gd name="connsiteX23-5737" fmla="*/ 0 w 1059679"/>
              <a:gd name="connsiteY23-5738" fmla="*/ 463839 h 774142"/>
              <a:gd name="connsiteX24-5739" fmla="*/ 77437 w 1059679"/>
              <a:gd name="connsiteY24-5740" fmla="*/ 607759 h 774142"/>
              <a:gd name="connsiteX25-5741" fmla="*/ 140227 w 1059679"/>
              <a:gd name="connsiteY25-5742" fmla="*/ 654307 h 774142"/>
              <a:gd name="connsiteX26-5743" fmla="*/ 243154 w 1059679"/>
              <a:gd name="connsiteY26-5744" fmla="*/ 774142 h 774142"/>
              <a:gd name="connsiteX27-5745" fmla="*/ 318522 w 1059679"/>
              <a:gd name="connsiteY27-5746" fmla="*/ 720887 h 774142"/>
              <a:gd name="connsiteX28-5747" fmla="*/ 366030 w 1059679"/>
              <a:gd name="connsiteY28-5748" fmla="*/ 599318 h 774142"/>
              <a:gd name="connsiteX29-5749" fmla="*/ 505685 w 1059679"/>
              <a:gd name="connsiteY29-5750" fmla="*/ 567880 h 774142"/>
              <a:gd name="connsiteX30-5751" fmla="*/ 525838 w 1059679"/>
              <a:gd name="connsiteY30-5752" fmla="*/ 573166 h 774142"/>
              <a:gd name="connsiteX31-5753" fmla="*/ 603174 w 1059679"/>
              <a:gd name="connsiteY31-5754" fmla="*/ 610410 h 774142"/>
              <a:gd name="connsiteX32-5755" fmla="*/ 652507 w 1059679"/>
              <a:gd name="connsiteY32-5756" fmla="*/ 665900 h 774142"/>
              <a:gd name="connsiteX33-5757" fmla="*/ 649635 w 1059679"/>
              <a:gd name="connsiteY33-5758" fmla="*/ 665900 h 774142"/>
              <a:gd name="connsiteX34-5759" fmla="*/ 687668 w 1059679"/>
              <a:gd name="connsiteY34-5760" fmla="*/ 698606 h 774142"/>
              <a:gd name="connsiteX35-5761" fmla="*/ 767548 w 1059679"/>
              <a:gd name="connsiteY35-5762" fmla="*/ 720124 h 774142"/>
              <a:gd name="connsiteX36-5763" fmla="*/ 760786 w 1059679"/>
              <a:gd name="connsiteY36-5764" fmla="*/ 606400 h 774142"/>
              <a:gd name="connsiteX37-5765" fmla="*/ 863868 w 1059679"/>
              <a:gd name="connsiteY37-5766" fmla="*/ 545721 h 774142"/>
              <a:gd name="connsiteX38-5767" fmla="*/ 916175 w 1059679"/>
              <a:gd name="connsiteY38-5768" fmla="*/ 595354 h 774142"/>
              <a:gd name="connsiteX39-5769" fmla="*/ 1039179 w 1059679"/>
              <a:gd name="connsiteY39-5770" fmla="*/ 535136 h 774142"/>
              <a:gd name="connsiteX40-5771" fmla="*/ 1039179 w 1059679"/>
              <a:gd name="connsiteY40-5772" fmla="*/ 480050 h 774142"/>
              <a:gd name="connsiteX41" fmla="*/ 938561 w 1059679"/>
              <a:gd name="connsiteY41" fmla="*/ 356766 h 774142"/>
              <a:gd name="connsiteX0-5773" fmla="*/ 931051 w 1059679"/>
              <a:gd name="connsiteY0-5774" fmla="*/ 398190 h 774142"/>
              <a:gd name="connsiteX1-5775" fmla="*/ 1022885 w 1059679"/>
              <a:gd name="connsiteY1-5776" fmla="*/ 323386 h 774142"/>
              <a:gd name="connsiteX2-5777" fmla="*/ 944826 w 1059679"/>
              <a:gd name="connsiteY2-5778" fmla="*/ 223025 h 774142"/>
              <a:gd name="connsiteX3-5779" fmla="*/ 1022885 w 1059679"/>
              <a:gd name="connsiteY3-5780" fmla="*/ 211874 h 774142"/>
              <a:gd name="connsiteX4-5781" fmla="*/ 922524 w 1059679"/>
              <a:gd name="connsiteY4-5782" fmla="*/ 144966 h 774142"/>
              <a:gd name="connsiteX5-5783" fmla="*/ 1011734 w 1059679"/>
              <a:gd name="connsiteY5-5784" fmla="*/ 55757 h 774142"/>
              <a:gd name="connsiteX6-5785" fmla="*/ 1011734 w 1059679"/>
              <a:gd name="connsiteY6-5786" fmla="*/ 55757 h 774142"/>
              <a:gd name="connsiteX7-5787" fmla="*/ 889070 w 1059679"/>
              <a:gd name="connsiteY7-5788" fmla="*/ 78059 h 774142"/>
              <a:gd name="connsiteX8-5789" fmla="*/ 788709 w 1059679"/>
              <a:gd name="connsiteY8-5790" fmla="*/ 78059 h 774142"/>
              <a:gd name="connsiteX9-5791" fmla="*/ 788709 w 1059679"/>
              <a:gd name="connsiteY9-5792" fmla="*/ 0 h 774142"/>
              <a:gd name="connsiteX10-5793" fmla="*/ 666046 w 1059679"/>
              <a:gd name="connsiteY10-5794" fmla="*/ 44605 h 774142"/>
              <a:gd name="connsiteX11-5795" fmla="*/ 532231 w 1059679"/>
              <a:gd name="connsiteY11-5796" fmla="*/ 78059 h 774142"/>
              <a:gd name="connsiteX12-5797" fmla="*/ 431870 w 1059679"/>
              <a:gd name="connsiteY12-5798" fmla="*/ 22303 h 774142"/>
              <a:gd name="connsiteX13-5799" fmla="*/ 342660 w 1059679"/>
              <a:gd name="connsiteY13-5800" fmla="*/ 89210 h 774142"/>
              <a:gd name="connsiteX14-5801" fmla="*/ 354070 w 1059679"/>
              <a:gd name="connsiteY14-5802" fmla="*/ 141572 h 774142"/>
              <a:gd name="connsiteX15-5803" fmla="*/ 296647 w 1059679"/>
              <a:gd name="connsiteY15-5804" fmla="*/ 177779 h 774142"/>
              <a:gd name="connsiteX16-5805" fmla="*/ 286478 w 1059679"/>
              <a:gd name="connsiteY16-5806" fmla="*/ 278675 h 774142"/>
              <a:gd name="connsiteX17-5807" fmla="*/ 261013 w 1059679"/>
              <a:gd name="connsiteY17-5808" fmla="*/ 306643 h 774142"/>
              <a:gd name="connsiteX18-5809" fmla="*/ 181802 w 1059679"/>
              <a:gd name="connsiteY18-5810" fmla="*/ 250193 h 774142"/>
              <a:gd name="connsiteX19-5811" fmla="*/ 165907 w 1059679"/>
              <a:gd name="connsiteY19-5812" fmla="*/ 259244 h 774142"/>
              <a:gd name="connsiteX20-5813" fmla="*/ 207993 w 1059679"/>
              <a:gd name="connsiteY20-5814" fmla="*/ 351238 h 774142"/>
              <a:gd name="connsiteX21-5815" fmla="*/ 185690 w 1059679"/>
              <a:gd name="connsiteY21-5816" fmla="*/ 485063 h 774142"/>
              <a:gd name="connsiteX22-5817" fmla="*/ 79176 w 1059679"/>
              <a:gd name="connsiteY22-5818" fmla="*/ 507652 h 774142"/>
              <a:gd name="connsiteX23-5819" fmla="*/ 61488 w 1059679"/>
              <a:gd name="connsiteY23-5820" fmla="*/ 447940 h 774142"/>
              <a:gd name="connsiteX24-5821" fmla="*/ 0 w 1059679"/>
              <a:gd name="connsiteY24-5822" fmla="*/ 463839 h 774142"/>
              <a:gd name="connsiteX25-5823" fmla="*/ 77437 w 1059679"/>
              <a:gd name="connsiteY25-5824" fmla="*/ 607759 h 774142"/>
              <a:gd name="connsiteX26-5825" fmla="*/ 140227 w 1059679"/>
              <a:gd name="connsiteY26-5826" fmla="*/ 654307 h 774142"/>
              <a:gd name="connsiteX27-5827" fmla="*/ 243154 w 1059679"/>
              <a:gd name="connsiteY27-5828" fmla="*/ 774142 h 774142"/>
              <a:gd name="connsiteX28-5829" fmla="*/ 318522 w 1059679"/>
              <a:gd name="connsiteY28-5830" fmla="*/ 720887 h 774142"/>
              <a:gd name="connsiteX29-5831" fmla="*/ 366030 w 1059679"/>
              <a:gd name="connsiteY29-5832" fmla="*/ 599318 h 774142"/>
              <a:gd name="connsiteX30-5833" fmla="*/ 505685 w 1059679"/>
              <a:gd name="connsiteY30-5834" fmla="*/ 567880 h 774142"/>
              <a:gd name="connsiteX31-5835" fmla="*/ 525838 w 1059679"/>
              <a:gd name="connsiteY31-5836" fmla="*/ 573166 h 774142"/>
              <a:gd name="connsiteX32-5837" fmla="*/ 603174 w 1059679"/>
              <a:gd name="connsiteY32-5838" fmla="*/ 610410 h 774142"/>
              <a:gd name="connsiteX33-5839" fmla="*/ 652507 w 1059679"/>
              <a:gd name="connsiteY33-5840" fmla="*/ 665900 h 774142"/>
              <a:gd name="connsiteX34-5841" fmla="*/ 649635 w 1059679"/>
              <a:gd name="connsiteY34-5842" fmla="*/ 665900 h 774142"/>
              <a:gd name="connsiteX35-5843" fmla="*/ 687668 w 1059679"/>
              <a:gd name="connsiteY35-5844" fmla="*/ 698606 h 774142"/>
              <a:gd name="connsiteX36-5845" fmla="*/ 767548 w 1059679"/>
              <a:gd name="connsiteY36-5846" fmla="*/ 720124 h 774142"/>
              <a:gd name="connsiteX37-5847" fmla="*/ 760786 w 1059679"/>
              <a:gd name="connsiteY37-5848" fmla="*/ 606400 h 774142"/>
              <a:gd name="connsiteX38-5849" fmla="*/ 863868 w 1059679"/>
              <a:gd name="connsiteY38-5850" fmla="*/ 545721 h 774142"/>
              <a:gd name="connsiteX39-5851" fmla="*/ 916175 w 1059679"/>
              <a:gd name="connsiteY39-5852" fmla="*/ 595354 h 774142"/>
              <a:gd name="connsiteX40-5853" fmla="*/ 1039179 w 1059679"/>
              <a:gd name="connsiteY40-5854" fmla="*/ 535136 h 774142"/>
              <a:gd name="connsiteX41-5855" fmla="*/ 1039179 w 1059679"/>
              <a:gd name="connsiteY41-5856" fmla="*/ 480050 h 774142"/>
              <a:gd name="connsiteX42" fmla="*/ 938561 w 1059679"/>
              <a:gd name="connsiteY42" fmla="*/ 356766 h 774142"/>
              <a:gd name="connsiteX0-5857" fmla="*/ 931051 w 1059679"/>
              <a:gd name="connsiteY0-5858" fmla="*/ 398190 h 774142"/>
              <a:gd name="connsiteX1-5859" fmla="*/ 1022885 w 1059679"/>
              <a:gd name="connsiteY1-5860" fmla="*/ 323386 h 774142"/>
              <a:gd name="connsiteX2-5861" fmla="*/ 944826 w 1059679"/>
              <a:gd name="connsiteY2-5862" fmla="*/ 223025 h 774142"/>
              <a:gd name="connsiteX3-5863" fmla="*/ 1022885 w 1059679"/>
              <a:gd name="connsiteY3-5864" fmla="*/ 211874 h 774142"/>
              <a:gd name="connsiteX4-5865" fmla="*/ 922524 w 1059679"/>
              <a:gd name="connsiteY4-5866" fmla="*/ 144966 h 774142"/>
              <a:gd name="connsiteX5-5867" fmla="*/ 1011734 w 1059679"/>
              <a:gd name="connsiteY5-5868" fmla="*/ 55757 h 774142"/>
              <a:gd name="connsiteX6-5869" fmla="*/ 1011734 w 1059679"/>
              <a:gd name="connsiteY6-5870" fmla="*/ 55757 h 774142"/>
              <a:gd name="connsiteX7-5871" fmla="*/ 889070 w 1059679"/>
              <a:gd name="connsiteY7-5872" fmla="*/ 78059 h 774142"/>
              <a:gd name="connsiteX8-5873" fmla="*/ 788709 w 1059679"/>
              <a:gd name="connsiteY8-5874" fmla="*/ 78059 h 774142"/>
              <a:gd name="connsiteX9-5875" fmla="*/ 788709 w 1059679"/>
              <a:gd name="connsiteY9-5876" fmla="*/ 0 h 774142"/>
              <a:gd name="connsiteX10-5877" fmla="*/ 666046 w 1059679"/>
              <a:gd name="connsiteY10-5878" fmla="*/ 44605 h 774142"/>
              <a:gd name="connsiteX11-5879" fmla="*/ 532231 w 1059679"/>
              <a:gd name="connsiteY11-5880" fmla="*/ 78059 h 774142"/>
              <a:gd name="connsiteX12-5881" fmla="*/ 431870 w 1059679"/>
              <a:gd name="connsiteY12-5882" fmla="*/ 22303 h 774142"/>
              <a:gd name="connsiteX13-5883" fmla="*/ 339926 w 1059679"/>
              <a:gd name="connsiteY13-5884" fmla="*/ 103136 h 774142"/>
              <a:gd name="connsiteX14-5885" fmla="*/ 354070 w 1059679"/>
              <a:gd name="connsiteY14-5886" fmla="*/ 141572 h 774142"/>
              <a:gd name="connsiteX15-5887" fmla="*/ 296647 w 1059679"/>
              <a:gd name="connsiteY15-5888" fmla="*/ 177779 h 774142"/>
              <a:gd name="connsiteX16-5889" fmla="*/ 286478 w 1059679"/>
              <a:gd name="connsiteY16-5890" fmla="*/ 278675 h 774142"/>
              <a:gd name="connsiteX17-5891" fmla="*/ 261013 w 1059679"/>
              <a:gd name="connsiteY17-5892" fmla="*/ 306643 h 774142"/>
              <a:gd name="connsiteX18-5893" fmla="*/ 181802 w 1059679"/>
              <a:gd name="connsiteY18-5894" fmla="*/ 250193 h 774142"/>
              <a:gd name="connsiteX19-5895" fmla="*/ 165907 w 1059679"/>
              <a:gd name="connsiteY19-5896" fmla="*/ 259244 h 774142"/>
              <a:gd name="connsiteX20-5897" fmla="*/ 207993 w 1059679"/>
              <a:gd name="connsiteY20-5898" fmla="*/ 351238 h 774142"/>
              <a:gd name="connsiteX21-5899" fmla="*/ 185690 w 1059679"/>
              <a:gd name="connsiteY21-5900" fmla="*/ 485063 h 774142"/>
              <a:gd name="connsiteX22-5901" fmla="*/ 79176 w 1059679"/>
              <a:gd name="connsiteY22-5902" fmla="*/ 507652 h 774142"/>
              <a:gd name="connsiteX23-5903" fmla="*/ 61488 w 1059679"/>
              <a:gd name="connsiteY23-5904" fmla="*/ 447940 h 774142"/>
              <a:gd name="connsiteX24-5905" fmla="*/ 0 w 1059679"/>
              <a:gd name="connsiteY24-5906" fmla="*/ 463839 h 774142"/>
              <a:gd name="connsiteX25-5907" fmla="*/ 77437 w 1059679"/>
              <a:gd name="connsiteY25-5908" fmla="*/ 607759 h 774142"/>
              <a:gd name="connsiteX26-5909" fmla="*/ 140227 w 1059679"/>
              <a:gd name="connsiteY26-5910" fmla="*/ 654307 h 774142"/>
              <a:gd name="connsiteX27-5911" fmla="*/ 243154 w 1059679"/>
              <a:gd name="connsiteY27-5912" fmla="*/ 774142 h 774142"/>
              <a:gd name="connsiteX28-5913" fmla="*/ 318522 w 1059679"/>
              <a:gd name="connsiteY28-5914" fmla="*/ 720887 h 774142"/>
              <a:gd name="connsiteX29-5915" fmla="*/ 366030 w 1059679"/>
              <a:gd name="connsiteY29-5916" fmla="*/ 599318 h 774142"/>
              <a:gd name="connsiteX30-5917" fmla="*/ 505685 w 1059679"/>
              <a:gd name="connsiteY30-5918" fmla="*/ 567880 h 774142"/>
              <a:gd name="connsiteX31-5919" fmla="*/ 525838 w 1059679"/>
              <a:gd name="connsiteY31-5920" fmla="*/ 573166 h 774142"/>
              <a:gd name="connsiteX32-5921" fmla="*/ 603174 w 1059679"/>
              <a:gd name="connsiteY32-5922" fmla="*/ 610410 h 774142"/>
              <a:gd name="connsiteX33-5923" fmla="*/ 652507 w 1059679"/>
              <a:gd name="connsiteY33-5924" fmla="*/ 665900 h 774142"/>
              <a:gd name="connsiteX34-5925" fmla="*/ 649635 w 1059679"/>
              <a:gd name="connsiteY34-5926" fmla="*/ 665900 h 774142"/>
              <a:gd name="connsiteX35-5927" fmla="*/ 687668 w 1059679"/>
              <a:gd name="connsiteY35-5928" fmla="*/ 698606 h 774142"/>
              <a:gd name="connsiteX36-5929" fmla="*/ 767548 w 1059679"/>
              <a:gd name="connsiteY36-5930" fmla="*/ 720124 h 774142"/>
              <a:gd name="connsiteX37-5931" fmla="*/ 760786 w 1059679"/>
              <a:gd name="connsiteY37-5932" fmla="*/ 606400 h 774142"/>
              <a:gd name="connsiteX38-5933" fmla="*/ 863868 w 1059679"/>
              <a:gd name="connsiteY38-5934" fmla="*/ 545721 h 774142"/>
              <a:gd name="connsiteX39-5935" fmla="*/ 916175 w 1059679"/>
              <a:gd name="connsiteY39-5936" fmla="*/ 595354 h 774142"/>
              <a:gd name="connsiteX40-5937" fmla="*/ 1039179 w 1059679"/>
              <a:gd name="connsiteY40-5938" fmla="*/ 535136 h 774142"/>
              <a:gd name="connsiteX41-5939" fmla="*/ 1039179 w 1059679"/>
              <a:gd name="connsiteY41-5940" fmla="*/ 480050 h 774142"/>
              <a:gd name="connsiteX42-5941" fmla="*/ 938561 w 1059679"/>
              <a:gd name="connsiteY42-5942" fmla="*/ 356766 h 774142"/>
              <a:gd name="connsiteX0-5943" fmla="*/ 931051 w 1059679"/>
              <a:gd name="connsiteY0-5944" fmla="*/ 398190 h 774142"/>
              <a:gd name="connsiteX1-5945" fmla="*/ 1022885 w 1059679"/>
              <a:gd name="connsiteY1-5946" fmla="*/ 323386 h 774142"/>
              <a:gd name="connsiteX2-5947" fmla="*/ 944826 w 1059679"/>
              <a:gd name="connsiteY2-5948" fmla="*/ 223025 h 774142"/>
              <a:gd name="connsiteX3-5949" fmla="*/ 1022885 w 1059679"/>
              <a:gd name="connsiteY3-5950" fmla="*/ 211874 h 774142"/>
              <a:gd name="connsiteX4-5951" fmla="*/ 922524 w 1059679"/>
              <a:gd name="connsiteY4-5952" fmla="*/ 144966 h 774142"/>
              <a:gd name="connsiteX5-5953" fmla="*/ 1011734 w 1059679"/>
              <a:gd name="connsiteY5-5954" fmla="*/ 55757 h 774142"/>
              <a:gd name="connsiteX6-5955" fmla="*/ 1011734 w 1059679"/>
              <a:gd name="connsiteY6-5956" fmla="*/ 55757 h 774142"/>
              <a:gd name="connsiteX7-5957" fmla="*/ 889070 w 1059679"/>
              <a:gd name="connsiteY7-5958" fmla="*/ 78059 h 774142"/>
              <a:gd name="connsiteX8-5959" fmla="*/ 788709 w 1059679"/>
              <a:gd name="connsiteY8-5960" fmla="*/ 78059 h 774142"/>
              <a:gd name="connsiteX9-5961" fmla="*/ 788709 w 1059679"/>
              <a:gd name="connsiteY9-5962" fmla="*/ 0 h 774142"/>
              <a:gd name="connsiteX10-5963" fmla="*/ 666046 w 1059679"/>
              <a:gd name="connsiteY10-5964" fmla="*/ 44605 h 774142"/>
              <a:gd name="connsiteX11-5965" fmla="*/ 532231 w 1059679"/>
              <a:gd name="connsiteY11-5966" fmla="*/ 78059 h 774142"/>
              <a:gd name="connsiteX12-5967" fmla="*/ 456481 w 1059679"/>
              <a:gd name="connsiteY12-5968" fmla="*/ 61295 h 774142"/>
              <a:gd name="connsiteX13-5969" fmla="*/ 339926 w 1059679"/>
              <a:gd name="connsiteY13-5970" fmla="*/ 103136 h 774142"/>
              <a:gd name="connsiteX14-5971" fmla="*/ 354070 w 1059679"/>
              <a:gd name="connsiteY14-5972" fmla="*/ 141572 h 774142"/>
              <a:gd name="connsiteX15-5973" fmla="*/ 296647 w 1059679"/>
              <a:gd name="connsiteY15-5974" fmla="*/ 177779 h 774142"/>
              <a:gd name="connsiteX16-5975" fmla="*/ 286478 w 1059679"/>
              <a:gd name="connsiteY16-5976" fmla="*/ 278675 h 774142"/>
              <a:gd name="connsiteX17-5977" fmla="*/ 261013 w 1059679"/>
              <a:gd name="connsiteY17-5978" fmla="*/ 306643 h 774142"/>
              <a:gd name="connsiteX18-5979" fmla="*/ 181802 w 1059679"/>
              <a:gd name="connsiteY18-5980" fmla="*/ 250193 h 774142"/>
              <a:gd name="connsiteX19-5981" fmla="*/ 165907 w 1059679"/>
              <a:gd name="connsiteY19-5982" fmla="*/ 259244 h 774142"/>
              <a:gd name="connsiteX20-5983" fmla="*/ 207993 w 1059679"/>
              <a:gd name="connsiteY20-5984" fmla="*/ 351238 h 774142"/>
              <a:gd name="connsiteX21-5985" fmla="*/ 185690 w 1059679"/>
              <a:gd name="connsiteY21-5986" fmla="*/ 485063 h 774142"/>
              <a:gd name="connsiteX22-5987" fmla="*/ 79176 w 1059679"/>
              <a:gd name="connsiteY22-5988" fmla="*/ 507652 h 774142"/>
              <a:gd name="connsiteX23-5989" fmla="*/ 61488 w 1059679"/>
              <a:gd name="connsiteY23-5990" fmla="*/ 447940 h 774142"/>
              <a:gd name="connsiteX24-5991" fmla="*/ 0 w 1059679"/>
              <a:gd name="connsiteY24-5992" fmla="*/ 463839 h 774142"/>
              <a:gd name="connsiteX25-5993" fmla="*/ 77437 w 1059679"/>
              <a:gd name="connsiteY25-5994" fmla="*/ 607759 h 774142"/>
              <a:gd name="connsiteX26-5995" fmla="*/ 140227 w 1059679"/>
              <a:gd name="connsiteY26-5996" fmla="*/ 654307 h 774142"/>
              <a:gd name="connsiteX27-5997" fmla="*/ 243154 w 1059679"/>
              <a:gd name="connsiteY27-5998" fmla="*/ 774142 h 774142"/>
              <a:gd name="connsiteX28-5999" fmla="*/ 318522 w 1059679"/>
              <a:gd name="connsiteY28-6000" fmla="*/ 720887 h 774142"/>
              <a:gd name="connsiteX29-6001" fmla="*/ 366030 w 1059679"/>
              <a:gd name="connsiteY29-6002" fmla="*/ 599318 h 774142"/>
              <a:gd name="connsiteX30-6003" fmla="*/ 505685 w 1059679"/>
              <a:gd name="connsiteY30-6004" fmla="*/ 567880 h 774142"/>
              <a:gd name="connsiteX31-6005" fmla="*/ 525838 w 1059679"/>
              <a:gd name="connsiteY31-6006" fmla="*/ 573166 h 774142"/>
              <a:gd name="connsiteX32-6007" fmla="*/ 603174 w 1059679"/>
              <a:gd name="connsiteY32-6008" fmla="*/ 610410 h 774142"/>
              <a:gd name="connsiteX33-6009" fmla="*/ 652507 w 1059679"/>
              <a:gd name="connsiteY33-6010" fmla="*/ 665900 h 774142"/>
              <a:gd name="connsiteX34-6011" fmla="*/ 649635 w 1059679"/>
              <a:gd name="connsiteY34-6012" fmla="*/ 665900 h 774142"/>
              <a:gd name="connsiteX35-6013" fmla="*/ 687668 w 1059679"/>
              <a:gd name="connsiteY35-6014" fmla="*/ 698606 h 774142"/>
              <a:gd name="connsiteX36-6015" fmla="*/ 767548 w 1059679"/>
              <a:gd name="connsiteY36-6016" fmla="*/ 720124 h 774142"/>
              <a:gd name="connsiteX37-6017" fmla="*/ 760786 w 1059679"/>
              <a:gd name="connsiteY37-6018" fmla="*/ 606400 h 774142"/>
              <a:gd name="connsiteX38-6019" fmla="*/ 863868 w 1059679"/>
              <a:gd name="connsiteY38-6020" fmla="*/ 545721 h 774142"/>
              <a:gd name="connsiteX39-6021" fmla="*/ 916175 w 1059679"/>
              <a:gd name="connsiteY39-6022" fmla="*/ 595354 h 774142"/>
              <a:gd name="connsiteX40-6023" fmla="*/ 1039179 w 1059679"/>
              <a:gd name="connsiteY40-6024" fmla="*/ 535136 h 774142"/>
              <a:gd name="connsiteX41-6025" fmla="*/ 1039179 w 1059679"/>
              <a:gd name="connsiteY41-6026" fmla="*/ 480050 h 774142"/>
              <a:gd name="connsiteX42-6027" fmla="*/ 938561 w 1059679"/>
              <a:gd name="connsiteY42-6028" fmla="*/ 356766 h 774142"/>
              <a:gd name="connsiteX0-6029" fmla="*/ 931051 w 1059679"/>
              <a:gd name="connsiteY0-6030" fmla="*/ 398190 h 774142"/>
              <a:gd name="connsiteX1-6031" fmla="*/ 1022885 w 1059679"/>
              <a:gd name="connsiteY1-6032" fmla="*/ 323386 h 774142"/>
              <a:gd name="connsiteX2-6033" fmla="*/ 944826 w 1059679"/>
              <a:gd name="connsiteY2-6034" fmla="*/ 223025 h 774142"/>
              <a:gd name="connsiteX3-6035" fmla="*/ 1022885 w 1059679"/>
              <a:gd name="connsiteY3-6036" fmla="*/ 211874 h 774142"/>
              <a:gd name="connsiteX4-6037" fmla="*/ 922524 w 1059679"/>
              <a:gd name="connsiteY4-6038" fmla="*/ 144966 h 774142"/>
              <a:gd name="connsiteX5-6039" fmla="*/ 1011734 w 1059679"/>
              <a:gd name="connsiteY5-6040" fmla="*/ 55757 h 774142"/>
              <a:gd name="connsiteX6-6041" fmla="*/ 1011734 w 1059679"/>
              <a:gd name="connsiteY6-6042" fmla="*/ 55757 h 774142"/>
              <a:gd name="connsiteX7-6043" fmla="*/ 889070 w 1059679"/>
              <a:gd name="connsiteY7-6044" fmla="*/ 78059 h 774142"/>
              <a:gd name="connsiteX8-6045" fmla="*/ 788709 w 1059679"/>
              <a:gd name="connsiteY8-6046" fmla="*/ 78059 h 774142"/>
              <a:gd name="connsiteX9-6047" fmla="*/ 788709 w 1059679"/>
              <a:gd name="connsiteY9-6048" fmla="*/ 0 h 774142"/>
              <a:gd name="connsiteX10-6049" fmla="*/ 666046 w 1059679"/>
              <a:gd name="connsiteY10-6050" fmla="*/ 44605 h 774142"/>
              <a:gd name="connsiteX11-6051" fmla="*/ 534966 w 1059679"/>
              <a:gd name="connsiteY11-6052" fmla="*/ 94770 h 774142"/>
              <a:gd name="connsiteX12-6053" fmla="*/ 456481 w 1059679"/>
              <a:gd name="connsiteY12-6054" fmla="*/ 61295 h 774142"/>
              <a:gd name="connsiteX13-6055" fmla="*/ 339926 w 1059679"/>
              <a:gd name="connsiteY13-6056" fmla="*/ 103136 h 774142"/>
              <a:gd name="connsiteX14-6057" fmla="*/ 354070 w 1059679"/>
              <a:gd name="connsiteY14-6058" fmla="*/ 141572 h 774142"/>
              <a:gd name="connsiteX15-6059" fmla="*/ 296647 w 1059679"/>
              <a:gd name="connsiteY15-6060" fmla="*/ 177779 h 774142"/>
              <a:gd name="connsiteX16-6061" fmla="*/ 286478 w 1059679"/>
              <a:gd name="connsiteY16-6062" fmla="*/ 278675 h 774142"/>
              <a:gd name="connsiteX17-6063" fmla="*/ 261013 w 1059679"/>
              <a:gd name="connsiteY17-6064" fmla="*/ 306643 h 774142"/>
              <a:gd name="connsiteX18-6065" fmla="*/ 181802 w 1059679"/>
              <a:gd name="connsiteY18-6066" fmla="*/ 250193 h 774142"/>
              <a:gd name="connsiteX19-6067" fmla="*/ 165907 w 1059679"/>
              <a:gd name="connsiteY19-6068" fmla="*/ 259244 h 774142"/>
              <a:gd name="connsiteX20-6069" fmla="*/ 207993 w 1059679"/>
              <a:gd name="connsiteY20-6070" fmla="*/ 351238 h 774142"/>
              <a:gd name="connsiteX21-6071" fmla="*/ 185690 w 1059679"/>
              <a:gd name="connsiteY21-6072" fmla="*/ 485063 h 774142"/>
              <a:gd name="connsiteX22-6073" fmla="*/ 79176 w 1059679"/>
              <a:gd name="connsiteY22-6074" fmla="*/ 507652 h 774142"/>
              <a:gd name="connsiteX23-6075" fmla="*/ 61488 w 1059679"/>
              <a:gd name="connsiteY23-6076" fmla="*/ 447940 h 774142"/>
              <a:gd name="connsiteX24-6077" fmla="*/ 0 w 1059679"/>
              <a:gd name="connsiteY24-6078" fmla="*/ 463839 h 774142"/>
              <a:gd name="connsiteX25-6079" fmla="*/ 77437 w 1059679"/>
              <a:gd name="connsiteY25-6080" fmla="*/ 607759 h 774142"/>
              <a:gd name="connsiteX26-6081" fmla="*/ 140227 w 1059679"/>
              <a:gd name="connsiteY26-6082" fmla="*/ 654307 h 774142"/>
              <a:gd name="connsiteX27-6083" fmla="*/ 243154 w 1059679"/>
              <a:gd name="connsiteY27-6084" fmla="*/ 774142 h 774142"/>
              <a:gd name="connsiteX28-6085" fmla="*/ 318522 w 1059679"/>
              <a:gd name="connsiteY28-6086" fmla="*/ 720887 h 774142"/>
              <a:gd name="connsiteX29-6087" fmla="*/ 366030 w 1059679"/>
              <a:gd name="connsiteY29-6088" fmla="*/ 599318 h 774142"/>
              <a:gd name="connsiteX30-6089" fmla="*/ 505685 w 1059679"/>
              <a:gd name="connsiteY30-6090" fmla="*/ 567880 h 774142"/>
              <a:gd name="connsiteX31-6091" fmla="*/ 525838 w 1059679"/>
              <a:gd name="connsiteY31-6092" fmla="*/ 573166 h 774142"/>
              <a:gd name="connsiteX32-6093" fmla="*/ 603174 w 1059679"/>
              <a:gd name="connsiteY32-6094" fmla="*/ 610410 h 774142"/>
              <a:gd name="connsiteX33-6095" fmla="*/ 652507 w 1059679"/>
              <a:gd name="connsiteY33-6096" fmla="*/ 665900 h 774142"/>
              <a:gd name="connsiteX34-6097" fmla="*/ 649635 w 1059679"/>
              <a:gd name="connsiteY34-6098" fmla="*/ 665900 h 774142"/>
              <a:gd name="connsiteX35-6099" fmla="*/ 687668 w 1059679"/>
              <a:gd name="connsiteY35-6100" fmla="*/ 698606 h 774142"/>
              <a:gd name="connsiteX36-6101" fmla="*/ 767548 w 1059679"/>
              <a:gd name="connsiteY36-6102" fmla="*/ 720124 h 774142"/>
              <a:gd name="connsiteX37-6103" fmla="*/ 760786 w 1059679"/>
              <a:gd name="connsiteY37-6104" fmla="*/ 606400 h 774142"/>
              <a:gd name="connsiteX38-6105" fmla="*/ 863868 w 1059679"/>
              <a:gd name="connsiteY38-6106" fmla="*/ 545721 h 774142"/>
              <a:gd name="connsiteX39-6107" fmla="*/ 916175 w 1059679"/>
              <a:gd name="connsiteY39-6108" fmla="*/ 595354 h 774142"/>
              <a:gd name="connsiteX40-6109" fmla="*/ 1039179 w 1059679"/>
              <a:gd name="connsiteY40-6110" fmla="*/ 535136 h 774142"/>
              <a:gd name="connsiteX41-6111" fmla="*/ 1039179 w 1059679"/>
              <a:gd name="connsiteY41-6112" fmla="*/ 480050 h 774142"/>
              <a:gd name="connsiteX42-6113" fmla="*/ 938561 w 1059679"/>
              <a:gd name="connsiteY42-6114" fmla="*/ 356766 h 774142"/>
              <a:gd name="connsiteX0-6115" fmla="*/ 931051 w 1059679"/>
              <a:gd name="connsiteY0-6116" fmla="*/ 398190 h 774142"/>
              <a:gd name="connsiteX1-6117" fmla="*/ 1022885 w 1059679"/>
              <a:gd name="connsiteY1-6118" fmla="*/ 323386 h 774142"/>
              <a:gd name="connsiteX2-6119" fmla="*/ 944826 w 1059679"/>
              <a:gd name="connsiteY2-6120" fmla="*/ 223025 h 774142"/>
              <a:gd name="connsiteX3-6121" fmla="*/ 1022885 w 1059679"/>
              <a:gd name="connsiteY3-6122" fmla="*/ 211874 h 774142"/>
              <a:gd name="connsiteX4-6123" fmla="*/ 922524 w 1059679"/>
              <a:gd name="connsiteY4-6124" fmla="*/ 144966 h 774142"/>
              <a:gd name="connsiteX5-6125" fmla="*/ 1011734 w 1059679"/>
              <a:gd name="connsiteY5-6126" fmla="*/ 55757 h 774142"/>
              <a:gd name="connsiteX6-6127" fmla="*/ 1011734 w 1059679"/>
              <a:gd name="connsiteY6-6128" fmla="*/ 55757 h 774142"/>
              <a:gd name="connsiteX7-6129" fmla="*/ 889070 w 1059679"/>
              <a:gd name="connsiteY7-6130" fmla="*/ 78059 h 774142"/>
              <a:gd name="connsiteX8-6131" fmla="*/ 788709 w 1059679"/>
              <a:gd name="connsiteY8-6132" fmla="*/ 78059 h 774142"/>
              <a:gd name="connsiteX9-6133" fmla="*/ 788709 w 1059679"/>
              <a:gd name="connsiteY9-6134" fmla="*/ 0 h 774142"/>
              <a:gd name="connsiteX10-6135" fmla="*/ 622295 w 1059679"/>
              <a:gd name="connsiteY10-6136" fmla="*/ 78027 h 774142"/>
              <a:gd name="connsiteX11-6137" fmla="*/ 534966 w 1059679"/>
              <a:gd name="connsiteY11-6138" fmla="*/ 94770 h 774142"/>
              <a:gd name="connsiteX12-6139" fmla="*/ 456481 w 1059679"/>
              <a:gd name="connsiteY12-6140" fmla="*/ 61295 h 774142"/>
              <a:gd name="connsiteX13-6141" fmla="*/ 339926 w 1059679"/>
              <a:gd name="connsiteY13-6142" fmla="*/ 103136 h 774142"/>
              <a:gd name="connsiteX14-6143" fmla="*/ 354070 w 1059679"/>
              <a:gd name="connsiteY14-6144" fmla="*/ 141572 h 774142"/>
              <a:gd name="connsiteX15-6145" fmla="*/ 296647 w 1059679"/>
              <a:gd name="connsiteY15-6146" fmla="*/ 177779 h 774142"/>
              <a:gd name="connsiteX16-6147" fmla="*/ 286478 w 1059679"/>
              <a:gd name="connsiteY16-6148" fmla="*/ 278675 h 774142"/>
              <a:gd name="connsiteX17-6149" fmla="*/ 261013 w 1059679"/>
              <a:gd name="connsiteY17-6150" fmla="*/ 306643 h 774142"/>
              <a:gd name="connsiteX18-6151" fmla="*/ 181802 w 1059679"/>
              <a:gd name="connsiteY18-6152" fmla="*/ 250193 h 774142"/>
              <a:gd name="connsiteX19-6153" fmla="*/ 165907 w 1059679"/>
              <a:gd name="connsiteY19-6154" fmla="*/ 259244 h 774142"/>
              <a:gd name="connsiteX20-6155" fmla="*/ 207993 w 1059679"/>
              <a:gd name="connsiteY20-6156" fmla="*/ 351238 h 774142"/>
              <a:gd name="connsiteX21-6157" fmla="*/ 185690 w 1059679"/>
              <a:gd name="connsiteY21-6158" fmla="*/ 485063 h 774142"/>
              <a:gd name="connsiteX22-6159" fmla="*/ 79176 w 1059679"/>
              <a:gd name="connsiteY22-6160" fmla="*/ 507652 h 774142"/>
              <a:gd name="connsiteX23-6161" fmla="*/ 61488 w 1059679"/>
              <a:gd name="connsiteY23-6162" fmla="*/ 447940 h 774142"/>
              <a:gd name="connsiteX24-6163" fmla="*/ 0 w 1059679"/>
              <a:gd name="connsiteY24-6164" fmla="*/ 463839 h 774142"/>
              <a:gd name="connsiteX25-6165" fmla="*/ 77437 w 1059679"/>
              <a:gd name="connsiteY25-6166" fmla="*/ 607759 h 774142"/>
              <a:gd name="connsiteX26-6167" fmla="*/ 140227 w 1059679"/>
              <a:gd name="connsiteY26-6168" fmla="*/ 654307 h 774142"/>
              <a:gd name="connsiteX27-6169" fmla="*/ 243154 w 1059679"/>
              <a:gd name="connsiteY27-6170" fmla="*/ 774142 h 774142"/>
              <a:gd name="connsiteX28-6171" fmla="*/ 318522 w 1059679"/>
              <a:gd name="connsiteY28-6172" fmla="*/ 720887 h 774142"/>
              <a:gd name="connsiteX29-6173" fmla="*/ 366030 w 1059679"/>
              <a:gd name="connsiteY29-6174" fmla="*/ 599318 h 774142"/>
              <a:gd name="connsiteX30-6175" fmla="*/ 505685 w 1059679"/>
              <a:gd name="connsiteY30-6176" fmla="*/ 567880 h 774142"/>
              <a:gd name="connsiteX31-6177" fmla="*/ 525838 w 1059679"/>
              <a:gd name="connsiteY31-6178" fmla="*/ 573166 h 774142"/>
              <a:gd name="connsiteX32-6179" fmla="*/ 603174 w 1059679"/>
              <a:gd name="connsiteY32-6180" fmla="*/ 610410 h 774142"/>
              <a:gd name="connsiteX33-6181" fmla="*/ 652507 w 1059679"/>
              <a:gd name="connsiteY33-6182" fmla="*/ 665900 h 774142"/>
              <a:gd name="connsiteX34-6183" fmla="*/ 649635 w 1059679"/>
              <a:gd name="connsiteY34-6184" fmla="*/ 665900 h 774142"/>
              <a:gd name="connsiteX35-6185" fmla="*/ 687668 w 1059679"/>
              <a:gd name="connsiteY35-6186" fmla="*/ 698606 h 774142"/>
              <a:gd name="connsiteX36-6187" fmla="*/ 767548 w 1059679"/>
              <a:gd name="connsiteY36-6188" fmla="*/ 720124 h 774142"/>
              <a:gd name="connsiteX37-6189" fmla="*/ 760786 w 1059679"/>
              <a:gd name="connsiteY37-6190" fmla="*/ 606400 h 774142"/>
              <a:gd name="connsiteX38-6191" fmla="*/ 863868 w 1059679"/>
              <a:gd name="connsiteY38-6192" fmla="*/ 545721 h 774142"/>
              <a:gd name="connsiteX39-6193" fmla="*/ 916175 w 1059679"/>
              <a:gd name="connsiteY39-6194" fmla="*/ 595354 h 774142"/>
              <a:gd name="connsiteX40-6195" fmla="*/ 1039179 w 1059679"/>
              <a:gd name="connsiteY40-6196" fmla="*/ 535136 h 774142"/>
              <a:gd name="connsiteX41-6197" fmla="*/ 1039179 w 1059679"/>
              <a:gd name="connsiteY41-6198" fmla="*/ 480050 h 774142"/>
              <a:gd name="connsiteX42-6199" fmla="*/ 938561 w 1059679"/>
              <a:gd name="connsiteY42-6200" fmla="*/ 356766 h 774142"/>
              <a:gd name="connsiteX0-6201" fmla="*/ 931051 w 1059679"/>
              <a:gd name="connsiteY0-6202" fmla="*/ 353627 h 729579"/>
              <a:gd name="connsiteX1-6203" fmla="*/ 1022885 w 1059679"/>
              <a:gd name="connsiteY1-6204" fmla="*/ 278823 h 729579"/>
              <a:gd name="connsiteX2-6205" fmla="*/ 944826 w 1059679"/>
              <a:gd name="connsiteY2-6206" fmla="*/ 178462 h 729579"/>
              <a:gd name="connsiteX3-6207" fmla="*/ 1022885 w 1059679"/>
              <a:gd name="connsiteY3-6208" fmla="*/ 167311 h 729579"/>
              <a:gd name="connsiteX4-6209" fmla="*/ 922524 w 1059679"/>
              <a:gd name="connsiteY4-6210" fmla="*/ 100403 h 729579"/>
              <a:gd name="connsiteX5-6211" fmla="*/ 1011734 w 1059679"/>
              <a:gd name="connsiteY5-6212" fmla="*/ 11194 h 729579"/>
              <a:gd name="connsiteX6-6213" fmla="*/ 1011734 w 1059679"/>
              <a:gd name="connsiteY6-6214" fmla="*/ 11194 h 729579"/>
              <a:gd name="connsiteX7-6215" fmla="*/ 889070 w 1059679"/>
              <a:gd name="connsiteY7-6216" fmla="*/ 33496 h 729579"/>
              <a:gd name="connsiteX8-6217" fmla="*/ 788709 w 1059679"/>
              <a:gd name="connsiteY8-6218" fmla="*/ 33496 h 729579"/>
              <a:gd name="connsiteX9-6219" fmla="*/ 709412 w 1059679"/>
              <a:gd name="connsiteY9-6220" fmla="*/ 0 h 729579"/>
              <a:gd name="connsiteX10-6221" fmla="*/ 622295 w 1059679"/>
              <a:gd name="connsiteY10-6222" fmla="*/ 33464 h 729579"/>
              <a:gd name="connsiteX11-6223" fmla="*/ 534966 w 1059679"/>
              <a:gd name="connsiteY11-6224" fmla="*/ 50207 h 729579"/>
              <a:gd name="connsiteX12-6225" fmla="*/ 456481 w 1059679"/>
              <a:gd name="connsiteY12-6226" fmla="*/ 16732 h 729579"/>
              <a:gd name="connsiteX13-6227" fmla="*/ 339926 w 1059679"/>
              <a:gd name="connsiteY13-6228" fmla="*/ 58573 h 729579"/>
              <a:gd name="connsiteX14-6229" fmla="*/ 354070 w 1059679"/>
              <a:gd name="connsiteY14-6230" fmla="*/ 97009 h 729579"/>
              <a:gd name="connsiteX15-6231" fmla="*/ 296647 w 1059679"/>
              <a:gd name="connsiteY15-6232" fmla="*/ 133216 h 729579"/>
              <a:gd name="connsiteX16-6233" fmla="*/ 286478 w 1059679"/>
              <a:gd name="connsiteY16-6234" fmla="*/ 234112 h 729579"/>
              <a:gd name="connsiteX17-6235" fmla="*/ 261013 w 1059679"/>
              <a:gd name="connsiteY17-6236" fmla="*/ 262080 h 729579"/>
              <a:gd name="connsiteX18-6237" fmla="*/ 181802 w 1059679"/>
              <a:gd name="connsiteY18-6238" fmla="*/ 205630 h 729579"/>
              <a:gd name="connsiteX19-6239" fmla="*/ 165907 w 1059679"/>
              <a:gd name="connsiteY19-6240" fmla="*/ 214681 h 729579"/>
              <a:gd name="connsiteX20-6241" fmla="*/ 207993 w 1059679"/>
              <a:gd name="connsiteY20-6242" fmla="*/ 306675 h 729579"/>
              <a:gd name="connsiteX21-6243" fmla="*/ 185690 w 1059679"/>
              <a:gd name="connsiteY21-6244" fmla="*/ 440500 h 729579"/>
              <a:gd name="connsiteX22-6245" fmla="*/ 79176 w 1059679"/>
              <a:gd name="connsiteY22-6246" fmla="*/ 463089 h 729579"/>
              <a:gd name="connsiteX23-6247" fmla="*/ 61488 w 1059679"/>
              <a:gd name="connsiteY23-6248" fmla="*/ 403377 h 729579"/>
              <a:gd name="connsiteX24-6249" fmla="*/ 0 w 1059679"/>
              <a:gd name="connsiteY24-6250" fmla="*/ 419276 h 729579"/>
              <a:gd name="connsiteX25-6251" fmla="*/ 77437 w 1059679"/>
              <a:gd name="connsiteY25-6252" fmla="*/ 563196 h 729579"/>
              <a:gd name="connsiteX26-6253" fmla="*/ 140227 w 1059679"/>
              <a:gd name="connsiteY26-6254" fmla="*/ 609744 h 729579"/>
              <a:gd name="connsiteX27-6255" fmla="*/ 243154 w 1059679"/>
              <a:gd name="connsiteY27-6256" fmla="*/ 729579 h 729579"/>
              <a:gd name="connsiteX28-6257" fmla="*/ 318522 w 1059679"/>
              <a:gd name="connsiteY28-6258" fmla="*/ 676324 h 729579"/>
              <a:gd name="connsiteX29-6259" fmla="*/ 366030 w 1059679"/>
              <a:gd name="connsiteY29-6260" fmla="*/ 554755 h 729579"/>
              <a:gd name="connsiteX30-6261" fmla="*/ 505685 w 1059679"/>
              <a:gd name="connsiteY30-6262" fmla="*/ 523317 h 729579"/>
              <a:gd name="connsiteX31-6263" fmla="*/ 525838 w 1059679"/>
              <a:gd name="connsiteY31-6264" fmla="*/ 528603 h 729579"/>
              <a:gd name="connsiteX32-6265" fmla="*/ 603174 w 1059679"/>
              <a:gd name="connsiteY32-6266" fmla="*/ 565847 h 729579"/>
              <a:gd name="connsiteX33-6267" fmla="*/ 652507 w 1059679"/>
              <a:gd name="connsiteY33-6268" fmla="*/ 621337 h 729579"/>
              <a:gd name="connsiteX34-6269" fmla="*/ 649635 w 1059679"/>
              <a:gd name="connsiteY34-6270" fmla="*/ 621337 h 729579"/>
              <a:gd name="connsiteX35-6271" fmla="*/ 687668 w 1059679"/>
              <a:gd name="connsiteY35-6272" fmla="*/ 654043 h 729579"/>
              <a:gd name="connsiteX36-6273" fmla="*/ 767548 w 1059679"/>
              <a:gd name="connsiteY36-6274" fmla="*/ 675561 h 729579"/>
              <a:gd name="connsiteX37-6275" fmla="*/ 760786 w 1059679"/>
              <a:gd name="connsiteY37-6276" fmla="*/ 561837 h 729579"/>
              <a:gd name="connsiteX38-6277" fmla="*/ 863868 w 1059679"/>
              <a:gd name="connsiteY38-6278" fmla="*/ 501158 h 729579"/>
              <a:gd name="connsiteX39-6279" fmla="*/ 916175 w 1059679"/>
              <a:gd name="connsiteY39-6280" fmla="*/ 550791 h 729579"/>
              <a:gd name="connsiteX40-6281" fmla="*/ 1039179 w 1059679"/>
              <a:gd name="connsiteY40-6282" fmla="*/ 490573 h 729579"/>
              <a:gd name="connsiteX41-6283" fmla="*/ 1039179 w 1059679"/>
              <a:gd name="connsiteY41-6284" fmla="*/ 435487 h 729579"/>
              <a:gd name="connsiteX42-6285" fmla="*/ 938561 w 1059679"/>
              <a:gd name="connsiteY42-6286" fmla="*/ 312203 h 729579"/>
              <a:gd name="connsiteX0-6287" fmla="*/ 931051 w 1059679"/>
              <a:gd name="connsiteY0-6288" fmla="*/ 353627 h 729579"/>
              <a:gd name="connsiteX1-6289" fmla="*/ 1022885 w 1059679"/>
              <a:gd name="connsiteY1-6290" fmla="*/ 278823 h 729579"/>
              <a:gd name="connsiteX2-6291" fmla="*/ 944826 w 1059679"/>
              <a:gd name="connsiteY2-6292" fmla="*/ 178462 h 729579"/>
              <a:gd name="connsiteX3-6293" fmla="*/ 1022885 w 1059679"/>
              <a:gd name="connsiteY3-6294" fmla="*/ 167311 h 729579"/>
              <a:gd name="connsiteX4-6295" fmla="*/ 922524 w 1059679"/>
              <a:gd name="connsiteY4-6296" fmla="*/ 100403 h 729579"/>
              <a:gd name="connsiteX5-6297" fmla="*/ 1011734 w 1059679"/>
              <a:gd name="connsiteY5-6298" fmla="*/ 11194 h 729579"/>
              <a:gd name="connsiteX6-6299" fmla="*/ 1011734 w 1059679"/>
              <a:gd name="connsiteY6-6300" fmla="*/ 11194 h 729579"/>
              <a:gd name="connsiteX7-6301" fmla="*/ 889070 w 1059679"/>
              <a:gd name="connsiteY7-6302" fmla="*/ 33496 h 729579"/>
              <a:gd name="connsiteX8-6303" fmla="*/ 826991 w 1059679"/>
              <a:gd name="connsiteY8-6304" fmla="*/ 5644 h 729579"/>
              <a:gd name="connsiteX9-6305" fmla="*/ 709412 w 1059679"/>
              <a:gd name="connsiteY9-6306" fmla="*/ 0 h 729579"/>
              <a:gd name="connsiteX10-6307" fmla="*/ 622295 w 1059679"/>
              <a:gd name="connsiteY10-6308" fmla="*/ 33464 h 729579"/>
              <a:gd name="connsiteX11-6309" fmla="*/ 534966 w 1059679"/>
              <a:gd name="connsiteY11-6310" fmla="*/ 50207 h 729579"/>
              <a:gd name="connsiteX12-6311" fmla="*/ 456481 w 1059679"/>
              <a:gd name="connsiteY12-6312" fmla="*/ 16732 h 729579"/>
              <a:gd name="connsiteX13-6313" fmla="*/ 339926 w 1059679"/>
              <a:gd name="connsiteY13-6314" fmla="*/ 58573 h 729579"/>
              <a:gd name="connsiteX14-6315" fmla="*/ 354070 w 1059679"/>
              <a:gd name="connsiteY14-6316" fmla="*/ 97009 h 729579"/>
              <a:gd name="connsiteX15-6317" fmla="*/ 296647 w 1059679"/>
              <a:gd name="connsiteY15-6318" fmla="*/ 133216 h 729579"/>
              <a:gd name="connsiteX16-6319" fmla="*/ 286478 w 1059679"/>
              <a:gd name="connsiteY16-6320" fmla="*/ 234112 h 729579"/>
              <a:gd name="connsiteX17-6321" fmla="*/ 261013 w 1059679"/>
              <a:gd name="connsiteY17-6322" fmla="*/ 262080 h 729579"/>
              <a:gd name="connsiteX18-6323" fmla="*/ 181802 w 1059679"/>
              <a:gd name="connsiteY18-6324" fmla="*/ 205630 h 729579"/>
              <a:gd name="connsiteX19-6325" fmla="*/ 165907 w 1059679"/>
              <a:gd name="connsiteY19-6326" fmla="*/ 214681 h 729579"/>
              <a:gd name="connsiteX20-6327" fmla="*/ 207993 w 1059679"/>
              <a:gd name="connsiteY20-6328" fmla="*/ 306675 h 729579"/>
              <a:gd name="connsiteX21-6329" fmla="*/ 185690 w 1059679"/>
              <a:gd name="connsiteY21-6330" fmla="*/ 440500 h 729579"/>
              <a:gd name="connsiteX22-6331" fmla="*/ 79176 w 1059679"/>
              <a:gd name="connsiteY22-6332" fmla="*/ 463089 h 729579"/>
              <a:gd name="connsiteX23-6333" fmla="*/ 61488 w 1059679"/>
              <a:gd name="connsiteY23-6334" fmla="*/ 403377 h 729579"/>
              <a:gd name="connsiteX24-6335" fmla="*/ 0 w 1059679"/>
              <a:gd name="connsiteY24-6336" fmla="*/ 419276 h 729579"/>
              <a:gd name="connsiteX25-6337" fmla="*/ 77437 w 1059679"/>
              <a:gd name="connsiteY25-6338" fmla="*/ 563196 h 729579"/>
              <a:gd name="connsiteX26-6339" fmla="*/ 140227 w 1059679"/>
              <a:gd name="connsiteY26-6340" fmla="*/ 609744 h 729579"/>
              <a:gd name="connsiteX27-6341" fmla="*/ 243154 w 1059679"/>
              <a:gd name="connsiteY27-6342" fmla="*/ 729579 h 729579"/>
              <a:gd name="connsiteX28-6343" fmla="*/ 318522 w 1059679"/>
              <a:gd name="connsiteY28-6344" fmla="*/ 676324 h 729579"/>
              <a:gd name="connsiteX29-6345" fmla="*/ 366030 w 1059679"/>
              <a:gd name="connsiteY29-6346" fmla="*/ 554755 h 729579"/>
              <a:gd name="connsiteX30-6347" fmla="*/ 505685 w 1059679"/>
              <a:gd name="connsiteY30-6348" fmla="*/ 523317 h 729579"/>
              <a:gd name="connsiteX31-6349" fmla="*/ 525838 w 1059679"/>
              <a:gd name="connsiteY31-6350" fmla="*/ 528603 h 729579"/>
              <a:gd name="connsiteX32-6351" fmla="*/ 603174 w 1059679"/>
              <a:gd name="connsiteY32-6352" fmla="*/ 565847 h 729579"/>
              <a:gd name="connsiteX33-6353" fmla="*/ 652507 w 1059679"/>
              <a:gd name="connsiteY33-6354" fmla="*/ 621337 h 729579"/>
              <a:gd name="connsiteX34-6355" fmla="*/ 649635 w 1059679"/>
              <a:gd name="connsiteY34-6356" fmla="*/ 621337 h 729579"/>
              <a:gd name="connsiteX35-6357" fmla="*/ 687668 w 1059679"/>
              <a:gd name="connsiteY35-6358" fmla="*/ 654043 h 729579"/>
              <a:gd name="connsiteX36-6359" fmla="*/ 767548 w 1059679"/>
              <a:gd name="connsiteY36-6360" fmla="*/ 675561 h 729579"/>
              <a:gd name="connsiteX37-6361" fmla="*/ 760786 w 1059679"/>
              <a:gd name="connsiteY37-6362" fmla="*/ 561837 h 729579"/>
              <a:gd name="connsiteX38-6363" fmla="*/ 863868 w 1059679"/>
              <a:gd name="connsiteY38-6364" fmla="*/ 501158 h 729579"/>
              <a:gd name="connsiteX39-6365" fmla="*/ 916175 w 1059679"/>
              <a:gd name="connsiteY39-6366" fmla="*/ 550791 h 729579"/>
              <a:gd name="connsiteX40-6367" fmla="*/ 1039179 w 1059679"/>
              <a:gd name="connsiteY40-6368" fmla="*/ 490573 h 729579"/>
              <a:gd name="connsiteX41-6369" fmla="*/ 1039179 w 1059679"/>
              <a:gd name="connsiteY41-6370" fmla="*/ 435487 h 729579"/>
              <a:gd name="connsiteX42-6371" fmla="*/ 938561 w 1059679"/>
              <a:gd name="connsiteY42-6372" fmla="*/ 312203 h 729579"/>
              <a:gd name="connsiteX0-6373" fmla="*/ 931051 w 1059679"/>
              <a:gd name="connsiteY0-6374" fmla="*/ 353627 h 729579"/>
              <a:gd name="connsiteX1-6375" fmla="*/ 1022885 w 1059679"/>
              <a:gd name="connsiteY1-6376" fmla="*/ 278823 h 729579"/>
              <a:gd name="connsiteX2-6377" fmla="*/ 944826 w 1059679"/>
              <a:gd name="connsiteY2-6378" fmla="*/ 178462 h 729579"/>
              <a:gd name="connsiteX3-6379" fmla="*/ 1022885 w 1059679"/>
              <a:gd name="connsiteY3-6380" fmla="*/ 167311 h 729579"/>
              <a:gd name="connsiteX4-6381" fmla="*/ 922524 w 1059679"/>
              <a:gd name="connsiteY4-6382" fmla="*/ 100403 h 729579"/>
              <a:gd name="connsiteX5-6383" fmla="*/ 1011734 w 1059679"/>
              <a:gd name="connsiteY5-6384" fmla="*/ 11194 h 729579"/>
              <a:gd name="connsiteX6-6385" fmla="*/ 1011734 w 1059679"/>
              <a:gd name="connsiteY6-6386" fmla="*/ 11194 h 729579"/>
              <a:gd name="connsiteX7-6387" fmla="*/ 790632 w 1059679"/>
              <a:gd name="connsiteY7-6388" fmla="*/ 69703 h 729579"/>
              <a:gd name="connsiteX8-6389" fmla="*/ 826991 w 1059679"/>
              <a:gd name="connsiteY8-6390" fmla="*/ 5644 h 729579"/>
              <a:gd name="connsiteX9-6391" fmla="*/ 709412 w 1059679"/>
              <a:gd name="connsiteY9-6392" fmla="*/ 0 h 729579"/>
              <a:gd name="connsiteX10-6393" fmla="*/ 622295 w 1059679"/>
              <a:gd name="connsiteY10-6394" fmla="*/ 33464 h 729579"/>
              <a:gd name="connsiteX11-6395" fmla="*/ 534966 w 1059679"/>
              <a:gd name="connsiteY11-6396" fmla="*/ 50207 h 729579"/>
              <a:gd name="connsiteX12-6397" fmla="*/ 456481 w 1059679"/>
              <a:gd name="connsiteY12-6398" fmla="*/ 16732 h 729579"/>
              <a:gd name="connsiteX13-6399" fmla="*/ 339926 w 1059679"/>
              <a:gd name="connsiteY13-6400" fmla="*/ 58573 h 729579"/>
              <a:gd name="connsiteX14-6401" fmla="*/ 354070 w 1059679"/>
              <a:gd name="connsiteY14-6402" fmla="*/ 97009 h 729579"/>
              <a:gd name="connsiteX15-6403" fmla="*/ 296647 w 1059679"/>
              <a:gd name="connsiteY15-6404" fmla="*/ 133216 h 729579"/>
              <a:gd name="connsiteX16-6405" fmla="*/ 286478 w 1059679"/>
              <a:gd name="connsiteY16-6406" fmla="*/ 234112 h 729579"/>
              <a:gd name="connsiteX17-6407" fmla="*/ 261013 w 1059679"/>
              <a:gd name="connsiteY17-6408" fmla="*/ 262080 h 729579"/>
              <a:gd name="connsiteX18-6409" fmla="*/ 181802 w 1059679"/>
              <a:gd name="connsiteY18-6410" fmla="*/ 205630 h 729579"/>
              <a:gd name="connsiteX19-6411" fmla="*/ 165907 w 1059679"/>
              <a:gd name="connsiteY19-6412" fmla="*/ 214681 h 729579"/>
              <a:gd name="connsiteX20-6413" fmla="*/ 207993 w 1059679"/>
              <a:gd name="connsiteY20-6414" fmla="*/ 306675 h 729579"/>
              <a:gd name="connsiteX21-6415" fmla="*/ 185690 w 1059679"/>
              <a:gd name="connsiteY21-6416" fmla="*/ 440500 h 729579"/>
              <a:gd name="connsiteX22-6417" fmla="*/ 79176 w 1059679"/>
              <a:gd name="connsiteY22-6418" fmla="*/ 463089 h 729579"/>
              <a:gd name="connsiteX23-6419" fmla="*/ 61488 w 1059679"/>
              <a:gd name="connsiteY23-6420" fmla="*/ 403377 h 729579"/>
              <a:gd name="connsiteX24-6421" fmla="*/ 0 w 1059679"/>
              <a:gd name="connsiteY24-6422" fmla="*/ 419276 h 729579"/>
              <a:gd name="connsiteX25-6423" fmla="*/ 77437 w 1059679"/>
              <a:gd name="connsiteY25-6424" fmla="*/ 563196 h 729579"/>
              <a:gd name="connsiteX26-6425" fmla="*/ 140227 w 1059679"/>
              <a:gd name="connsiteY26-6426" fmla="*/ 609744 h 729579"/>
              <a:gd name="connsiteX27-6427" fmla="*/ 243154 w 1059679"/>
              <a:gd name="connsiteY27-6428" fmla="*/ 729579 h 729579"/>
              <a:gd name="connsiteX28-6429" fmla="*/ 318522 w 1059679"/>
              <a:gd name="connsiteY28-6430" fmla="*/ 676324 h 729579"/>
              <a:gd name="connsiteX29-6431" fmla="*/ 366030 w 1059679"/>
              <a:gd name="connsiteY29-6432" fmla="*/ 554755 h 729579"/>
              <a:gd name="connsiteX30-6433" fmla="*/ 505685 w 1059679"/>
              <a:gd name="connsiteY30-6434" fmla="*/ 523317 h 729579"/>
              <a:gd name="connsiteX31-6435" fmla="*/ 525838 w 1059679"/>
              <a:gd name="connsiteY31-6436" fmla="*/ 528603 h 729579"/>
              <a:gd name="connsiteX32-6437" fmla="*/ 603174 w 1059679"/>
              <a:gd name="connsiteY32-6438" fmla="*/ 565847 h 729579"/>
              <a:gd name="connsiteX33-6439" fmla="*/ 652507 w 1059679"/>
              <a:gd name="connsiteY33-6440" fmla="*/ 621337 h 729579"/>
              <a:gd name="connsiteX34-6441" fmla="*/ 649635 w 1059679"/>
              <a:gd name="connsiteY34-6442" fmla="*/ 621337 h 729579"/>
              <a:gd name="connsiteX35-6443" fmla="*/ 687668 w 1059679"/>
              <a:gd name="connsiteY35-6444" fmla="*/ 654043 h 729579"/>
              <a:gd name="connsiteX36-6445" fmla="*/ 767548 w 1059679"/>
              <a:gd name="connsiteY36-6446" fmla="*/ 675561 h 729579"/>
              <a:gd name="connsiteX37-6447" fmla="*/ 760786 w 1059679"/>
              <a:gd name="connsiteY37-6448" fmla="*/ 561837 h 729579"/>
              <a:gd name="connsiteX38-6449" fmla="*/ 863868 w 1059679"/>
              <a:gd name="connsiteY38-6450" fmla="*/ 501158 h 729579"/>
              <a:gd name="connsiteX39-6451" fmla="*/ 916175 w 1059679"/>
              <a:gd name="connsiteY39-6452" fmla="*/ 550791 h 729579"/>
              <a:gd name="connsiteX40-6453" fmla="*/ 1039179 w 1059679"/>
              <a:gd name="connsiteY40-6454" fmla="*/ 490573 h 729579"/>
              <a:gd name="connsiteX41-6455" fmla="*/ 1039179 w 1059679"/>
              <a:gd name="connsiteY41-6456" fmla="*/ 435487 h 729579"/>
              <a:gd name="connsiteX42-6457" fmla="*/ 938561 w 1059679"/>
              <a:gd name="connsiteY42-6458" fmla="*/ 312203 h 729579"/>
              <a:gd name="connsiteX0-6459" fmla="*/ 931051 w 1059679"/>
              <a:gd name="connsiteY0-6460" fmla="*/ 353627 h 729579"/>
              <a:gd name="connsiteX1-6461" fmla="*/ 1022885 w 1059679"/>
              <a:gd name="connsiteY1-6462" fmla="*/ 278823 h 729579"/>
              <a:gd name="connsiteX2-6463" fmla="*/ 944826 w 1059679"/>
              <a:gd name="connsiteY2-6464" fmla="*/ 178462 h 729579"/>
              <a:gd name="connsiteX3-6465" fmla="*/ 1022885 w 1059679"/>
              <a:gd name="connsiteY3-6466" fmla="*/ 167311 h 729579"/>
              <a:gd name="connsiteX4-6467" fmla="*/ 922524 w 1059679"/>
              <a:gd name="connsiteY4-6468" fmla="*/ 100403 h 729579"/>
              <a:gd name="connsiteX5-6469" fmla="*/ 1011734 w 1059679"/>
              <a:gd name="connsiteY5-6470" fmla="*/ 11194 h 729579"/>
              <a:gd name="connsiteX6-6471" fmla="*/ 1011734 w 1059679"/>
              <a:gd name="connsiteY6-6472" fmla="*/ 11194 h 729579"/>
              <a:gd name="connsiteX7-6473" fmla="*/ 879077 w 1059679"/>
              <a:gd name="connsiteY7-6474" fmla="*/ 69157 h 729579"/>
              <a:gd name="connsiteX8-6475" fmla="*/ 790632 w 1059679"/>
              <a:gd name="connsiteY8-6476" fmla="*/ 69703 h 729579"/>
              <a:gd name="connsiteX9-6477" fmla="*/ 826991 w 1059679"/>
              <a:gd name="connsiteY9-6478" fmla="*/ 5644 h 729579"/>
              <a:gd name="connsiteX10-6479" fmla="*/ 709412 w 1059679"/>
              <a:gd name="connsiteY10-6480" fmla="*/ 0 h 729579"/>
              <a:gd name="connsiteX11-6481" fmla="*/ 622295 w 1059679"/>
              <a:gd name="connsiteY11-6482" fmla="*/ 33464 h 729579"/>
              <a:gd name="connsiteX12-6483" fmla="*/ 534966 w 1059679"/>
              <a:gd name="connsiteY12-6484" fmla="*/ 50207 h 729579"/>
              <a:gd name="connsiteX13-6485" fmla="*/ 456481 w 1059679"/>
              <a:gd name="connsiteY13-6486" fmla="*/ 16732 h 729579"/>
              <a:gd name="connsiteX14-6487" fmla="*/ 339926 w 1059679"/>
              <a:gd name="connsiteY14-6488" fmla="*/ 58573 h 729579"/>
              <a:gd name="connsiteX15-6489" fmla="*/ 354070 w 1059679"/>
              <a:gd name="connsiteY15-6490" fmla="*/ 97009 h 729579"/>
              <a:gd name="connsiteX16-6491" fmla="*/ 296647 w 1059679"/>
              <a:gd name="connsiteY16-6492" fmla="*/ 133216 h 729579"/>
              <a:gd name="connsiteX17-6493" fmla="*/ 286478 w 1059679"/>
              <a:gd name="connsiteY17-6494" fmla="*/ 234112 h 729579"/>
              <a:gd name="connsiteX18-6495" fmla="*/ 261013 w 1059679"/>
              <a:gd name="connsiteY18-6496" fmla="*/ 262080 h 729579"/>
              <a:gd name="connsiteX19-6497" fmla="*/ 181802 w 1059679"/>
              <a:gd name="connsiteY19-6498" fmla="*/ 205630 h 729579"/>
              <a:gd name="connsiteX20-6499" fmla="*/ 165907 w 1059679"/>
              <a:gd name="connsiteY20-6500" fmla="*/ 214681 h 729579"/>
              <a:gd name="connsiteX21-6501" fmla="*/ 207993 w 1059679"/>
              <a:gd name="connsiteY21-6502" fmla="*/ 306675 h 729579"/>
              <a:gd name="connsiteX22-6503" fmla="*/ 185690 w 1059679"/>
              <a:gd name="connsiteY22-6504" fmla="*/ 440500 h 729579"/>
              <a:gd name="connsiteX23-6505" fmla="*/ 79176 w 1059679"/>
              <a:gd name="connsiteY23-6506" fmla="*/ 463089 h 729579"/>
              <a:gd name="connsiteX24-6507" fmla="*/ 61488 w 1059679"/>
              <a:gd name="connsiteY24-6508" fmla="*/ 403377 h 729579"/>
              <a:gd name="connsiteX25-6509" fmla="*/ 0 w 1059679"/>
              <a:gd name="connsiteY25-6510" fmla="*/ 419276 h 729579"/>
              <a:gd name="connsiteX26-6511" fmla="*/ 77437 w 1059679"/>
              <a:gd name="connsiteY26-6512" fmla="*/ 563196 h 729579"/>
              <a:gd name="connsiteX27-6513" fmla="*/ 140227 w 1059679"/>
              <a:gd name="connsiteY27-6514" fmla="*/ 609744 h 729579"/>
              <a:gd name="connsiteX28-6515" fmla="*/ 243154 w 1059679"/>
              <a:gd name="connsiteY28-6516" fmla="*/ 729579 h 729579"/>
              <a:gd name="connsiteX29-6517" fmla="*/ 318522 w 1059679"/>
              <a:gd name="connsiteY29-6518" fmla="*/ 676324 h 729579"/>
              <a:gd name="connsiteX30-6519" fmla="*/ 366030 w 1059679"/>
              <a:gd name="connsiteY30-6520" fmla="*/ 554755 h 729579"/>
              <a:gd name="connsiteX31-6521" fmla="*/ 505685 w 1059679"/>
              <a:gd name="connsiteY31-6522" fmla="*/ 523317 h 729579"/>
              <a:gd name="connsiteX32-6523" fmla="*/ 525838 w 1059679"/>
              <a:gd name="connsiteY32-6524" fmla="*/ 528603 h 729579"/>
              <a:gd name="connsiteX33-6525" fmla="*/ 603174 w 1059679"/>
              <a:gd name="connsiteY33-6526" fmla="*/ 565847 h 729579"/>
              <a:gd name="connsiteX34-6527" fmla="*/ 652507 w 1059679"/>
              <a:gd name="connsiteY34-6528" fmla="*/ 621337 h 729579"/>
              <a:gd name="connsiteX35-6529" fmla="*/ 649635 w 1059679"/>
              <a:gd name="connsiteY35-6530" fmla="*/ 621337 h 729579"/>
              <a:gd name="connsiteX36-6531" fmla="*/ 687668 w 1059679"/>
              <a:gd name="connsiteY36-6532" fmla="*/ 654043 h 729579"/>
              <a:gd name="connsiteX37-6533" fmla="*/ 767548 w 1059679"/>
              <a:gd name="connsiteY37-6534" fmla="*/ 675561 h 729579"/>
              <a:gd name="connsiteX38-6535" fmla="*/ 760786 w 1059679"/>
              <a:gd name="connsiteY38-6536" fmla="*/ 561837 h 729579"/>
              <a:gd name="connsiteX39-6537" fmla="*/ 863868 w 1059679"/>
              <a:gd name="connsiteY39-6538" fmla="*/ 501158 h 729579"/>
              <a:gd name="connsiteX40-6539" fmla="*/ 916175 w 1059679"/>
              <a:gd name="connsiteY40-6540" fmla="*/ 550791 h 729579"/>
              <a:gd name="connsiteX41-6541" fmla="*/ 1039179 w 1059679"/>
              <a:gd name="connsiteY41-6542" fmla="*/ 490573 h 729579"/>
              <a:gd name="connsiteX42-6543" fmla="*/ 1039179 w 1059679"/>
              <a:gd name="connsiteY42-6544" fmla="*/ 435487 h 729579"/>
              <a:gd name="connsiteX43" fmla="*/ 938561 w 1059679"/>
              <a:gd name="connsiteY43" fmla="*/ 312203 h 729579"/>
              <a:gd name="connsiteX0-6545" fmla="*/ 931051 w 1059679"/>
              <a:gd name="connsiteY0-6546" fmla="*/ 353627 h 729579"/>
              <a:gd name="connsiteX1-6547" fmla="*/ 1022885 w 1059679"/>
              <a:gd name="connsiteY1-6548" fmla="*/ 278823 h 729579"/>
              <a:gd name="connsiteX2-6549" fmla="*/ 944826 w 1059679"/>
              <a:gd name="connsiteY2-6550" fmla="*/ 178462 h 729579"/>
              <a:gd name="connsiteX3-6551" fmla="*/ 1022885 w 1059679"/>
              <a:gd name="connsiteY3-6552" fmla="*/ 167311 h 729579"/>
              <a:gd name="connsiteX4-6553" fmla="*/ 922524 w 1059679"/>
              <a:gd name="connsiteY4-6554" fmla="*/ 100403 h 729579"/>
              <a:gd name="connsiteX5-6555" fmla="*/ 1011734 w 1059679"/>
              <a:gd name="connsiteY5-6556" fmla="*/ 11194 h 729579"/>
              <a:gd name="connsiteX6-6557" fmla="*/ 929702 w 1059679"/>
              <a:gd name="connsiteY6-6558" fmla="*/ 13978 h 729579"/>
              <a:gd name="connsiteX7-6559" fmla="*/ 879077 w 1059679"/>
              <a:gd name="connsiteY7-6560" fmla="*/ 69157 h 729579"/>
              <a:gd name="connsiteX8-6561" fmla="*/ 790632 w 1059679"/>
              <a:gd name="connsiteY8-6562" fmla="*/ 69703 h 729579"/>
              <a:gd name="connsiteX9-6563" fmla="*/ 826991 w 1059679"/>
              <a:gd name="connsiteY9-6564" fmla="*/ 5644 h 729579"/>
              <a:gd name="connsiteX10-6565" fmla="*/ 709412 w 1059679"/>
              <a:gd name="connsiteY10-6566" fmla="*/ 0 h 729579"/>
              <a:gd name="connsiteX11-6567" fmla="*/ 622295 w 1059679"/>
              <a:gd name="connsiteY11-6568" fmla="*/ 33464 h 729579"/>
              <a:gd name="connsiteX12-6569" fmla="*/ 534966 w 1059679"/>
              <a:gd name="connsiteY12-6570" fmla="*/ 50207 h 729579"/>
              <a:gd name="connsiteX13-6571" fmla="*/ 456481 w 1059679"/>
              <a:gd name="connsiteY13-6572" fmla="*/ 16732 h 729579"/>
              <a:gd name="connsiteX14-6573" fmla="*/ 339926 w 1059679"/>
              <a:gd name="connsiteY14-6574" fmla="*/ 58573 h 729579"/>
              <a:gd name="connsiteX15-6575" fmla="*/ 354070 w 1059679"/>
              <a:gd name="connsiteY15-6576" fmla="*/ 97009 h 729579"/>
              <a:gd name="connsiteX16-6577" fmla="*/ 296647 w 1059679"/>
              <a:gd name="connsiteY16-6578" fmla="*/ 133216 h 729579"/>
              <a:gd name="connsiteX17-6579" fmla="*/ 286478 w 1059679"/>
              <a:gd name="connsiteY17-6580" fmla="*/ 234112 h 729579"/>
              <a:gd name="connsiteX18-6581" fmla="*/ 261013 w 1059679"/>
              <a:gd name="connsiteY18-6582" fmla="*/ 262080 h 729579"/>
              <a:gd name="connsiteX19-6583" fmla="*/ 181802 w 1059679"/>
              <a:gd name="connsiteY19-6584" fmla="*/ 205630 h 729579"/>
              <a:gd name="connsiteX20-6585" fmla="*/ 165907 w 1059679"/>
              <a:gd name="connsiteY20-6586" fmla="*/ 214681 h 729579"/>
              <a:gd name="connsiteX21-6587" fmla="*/ 207993 w 1059679"/>
              <a:gd name="connsiteY21-6588" fmla="*/ 306675 h 729579"/>
              <a:gd name="connsiteX22-6589" fmla="*/ 185690 w 1059679"/>
              <a:gd name="connsiteY22-6590" fmla="*/ 440500 h 729579"/>
              <a:gd name="connsiteX23-6591" fmla="*/ 79176 w 1059679"/>
              <a:gd name="connsiteY23-6592" fmla="*/ 463089 h 729579"/>
              <a:gd name="connsiteX24-6593" fmla="*/ 61488 w 1059679"/>
              <a:gd name="connsiteY24-6594" fmla="*/ 403377 h 729579"/>
              <a:gd name="connsiteX25-6595" fmla="*/ 0 w 1059679"/>
              <a:gd name="connsiteY25-6596" fmla="*/ 419276 h 729579"/>
              <a:gd name="connsiteX26-6597" fmla="*/ 77437 w 1059679"/>
              <a:gd name="connsiteY26-6598" fmla="*/ 563196 h 729579"/>
              <a:gd name="connsiteX27-6599" fmla="*/ 140227 w 1059679"/>
              <a:gd name="connsiteY27-6600" fmla="*/ 609744 h 729579"/>
              <a:gd name="connsiteX28-6601" fmla="*/ 243154 w 1059679"/>
              <a:gd name="connsiteY28-6602" fmla="*/ 729579 h 729579"/>
              <a:gd name="connsiteX29-6603" fmla="*/ 318522 w 1059679"/>
              <a:gd name="connsiteY29-6604" fmla="*/ 676324 h 729579"/>
              <a:gd name="connsiteX30-6605" fmla="*/ 366030 w 1059679"/>
              <a:gd name="connsiteY30-6606" fmla="*/ 554755 h 729579"/>
              <a:gd name="connsiteX31-6607" fmla="*/ 505685 w 1059679"/>
              <a:gd name="connsiteY31-6608" fmla="*/ 523317 h 729579"/>
              <a:gd name="connsiteX32-6609" fmla="*/ 525838 w 1059679"/>
              <a:gd name="connsiteY32-6610" fmla="*/ 528603 h 729579"/>
              <a:gd name="connsiteX33-6611" fmla="*/ 603174 w 1059679"/>
              <a:gd name="connsiteY33-6612" fmla="*/ 565847 h 729579"/>
              <a:gd name="connsiteX34-6613" fmla="*/ 652507 w 1059679"/>
              <a:gd name="connsiteY34-6614" fmla="*/ 621337 h 729579"/>
              <a:gd name="connsiteX35-6615" fmla="*/ 649635 w 1059679"/>
              <a:gd name="connsiteY35-6616" fmla="*/ 621337 h 729579"/>
              <a:gd name="connsiteX36-6617" fmla="*/ 687668 w 1059679"/>
              <a:gd name="connsiteY36-6618" fmla="*/ 654043 h 729579"/>
              <a:gd name="connsiteX37-6619" fmla="*/ 767548 w 1059679"/>
              <a:gd name="connsiteY37-6620" fmla="*/ 675561 h 729579"/>
              <a:gd name="connsiteX38-6621" fmla="*/ 760786 w 1059679"/>
              <a:gd name="connsiteY38-6622" fmla="*/ 561837 h 729579"/>
              <a:gd name="connsiteX39-6623" fmla="*/ 863868 w 1059679"/>
              <a:gd name="connsiteY39-6624" fmla="*/ 501158 h 729579"/>
              <a:gd name="connsiteX40-6625" fmla="*/ 916175 w 1059679"/>
              <a:gd name="connsiteY40-6626" fmla="*/ 550791 h 729579"/>
              <a:gd name="connsiteX41-6627" fmla="*/ 1039179 w 1059679"/>
              <a:gd name="connsiteY41-6628" fmla="*/ 490573 h 729579"/>
              <a:gd name="connsiteX42-6629" fmla="*/ 1039179 w 1059679"/>
              <a:gd name="connsiteY42-6630" fmla="*/ 435487 h 729579"/>
              <a:gd name="connsiteX43-6631" fmla="*/ 938561 w 1059679"/>
              <a:gd name="connsiteY43-6632" fmla="*/ 312203 h 729579"/>
              <a:gd name="connsiteX0-6633" fmla="*/ 931051 w 1059679"/>
              <a:gd name="connsiteY0-6634" fmla="*/ 353627 h 729579"/>
              <a:gd name="connsiteX1-6635" fmla="*/ 1022885 w 1059679"/>
              <a:gd name="connsiteY1-6636" fmla="*/ 278823 h 729579"/>
              <a:gd name="connsiteX2-6637" fmla="*/ 944826 w 1059679"/>
              <a:gd name="connsiteY2-6638" fmla="*/ 178462 h 729579"/>
              <a:gd name="connsiteX3-6639" fmla="*/ 1022885 w 1059679"/>
              <a:gd name="connsiteY3-6640" fmla="*/ 167311 h 729579"/>
              <a:gd name="connsiteX4-6641" fmla="*/ 922524 w 1059679"/>
              <a:gd name="connsiteY4-6642" fmla="*/ 100403 h 729579"/>
              <a:gd name="connsiteX5-6643" fmla="*/ 1019937 w 1059679"/>
              <a:gd name="connsiteY5-6644" fmla="*/ 55756 h 729579"/>
              <a:gd name="connsiteX6-6645" fmla="*/ 929702 w 1059679"/>
              <a:gd name="connsiteY6-6646" fmla="*/ 13978 h 729579"/>
              <a:gd name="connsiteX7-6647" fmla="*/ 879077 w 1059679"/>
              <a:gd name="connsiteY7-6648" fmla="*/ 69157 h 729579"/>
              <a:gd name="connsiteX8-6649" fmla="*/ 790632 w 1059679"/>
              <a:gd name="connsiteY8-6650" fmla="*/ 69703 h 729579"/>
              <a:gd name="connsiteX9-6651" fmla="*/ 826991 w 1059679"/>
              <a:gd name="connsiteY9-6652" fmla="*/ 5644 h 729579"/>
              <a:gd name="connsiteX10-6653" fmla="*/ 709412 w 1059679"/>
              <a:gd name="connsiteY10-6654" fmla="*/ 0 h 729579"/>
              <a:gd name="connsiteX11-6655" fmla="*/ 622295 w 1059679"/>
              <a:gd name="connsiteY11-6656" fmla="*/ 33464 h 729579"/>
              <a:gd name="connsiteX12-6657" fmla="*/ 534966 w 1059679"/>
              <a:gd name="connsiteY12-6658" fmla="*/ 50207 h 729579"/>
              <a:gd name="connsiteX13-6659" fmla="*/ 456481 w 1059679"/>
              <a:gd name="connsiteY13-6660" fmla="*/ 16732 h 729579"/>
              <a:gd name="connsiteX14-6661" fmla="*/ 339926 w 1059679"/>
              <a:gd name="connsiteY14-6662" fmla="*/ 58573 h 729579"/>
              <a:gd name="connsiteX15-6663" fmla="*/ 354070 w 1059679"/>
              <a:gd name="connsiteY15-6664" fmla="*/ 97009 h 729579"/>
              <a:gd name="connsiteX16-6665" fmla="*/ 296647 w 1059679"/>
              <a:gd name="connsiteY16-6666" fmla="*/ 133216 h 729579"/>
              <a:gd name="connsiteX17-6667" fmla="*/ 286478 w 1059679"/>
              <a:gd name="connsiteY17-6668" fmla="*/ 234112 h 729579"/>
              <a:gd name="connsiteX18-6669" fmla="*/ 261013 w 1059679"/>
              <a:gd name="connsiteY18-6670" fmla="*/ 262080 h 729579"/>
              <a:gd name="connsiteX19-6671" fmla="*/ 181802 w 1059679"/>
              <a:gd name="connsiteY19-6672" fmla="*/ 205630 h 729579"/>
              <a:gd name="connsiteX20-6673" fmla="*/ 165907 w 1059679"/>
              <a:gd name="connsiteY20-6674" fmla="*/ 214681 h 729579"/>
              <a:gd name="connsiteX21-6675" fmla="*/ 207993 w 1059679"/>
              <a:gd name="connsiteY21-6676" fmla="*/ 306675 h 729579"/>
              <a:gd name="connsiteX22-6677" fmla="*/ 185690 w 1059679"/>
              <a:gd name="connsiteY22-6678" fmla="*/ 440500 h 729579"/>
              <a:gd name="connsiteX23-6679" fmla="*/ 79176 w 1059679"/>
              <a:gd name="connsiteY23-6680" fmla="*/ 463089 h 729579"/>
              <a:gd name="connsiteX24-6681" fmla="*/ 61488 w 1059679"/>
              <a:gd name="connsiteY24-6682" fmla="*/ 403377 h 729579"/>
              <a:gd name="connsiteX25-6683" fmla="*/ 0 w 1059679"/>
              <a:gd name="connsiteY25-6684" fmla="*/ 419276 h 729579"/>
              <a:gd name="connsiteX26-6685" fmla="*/ 77437 w 1059679"/>
              <a:gd name="connsiteY26-6686" fmla="*/ 563196 h 729579"/>
              <a:gd name="connsiteX27-6687" fmla="*/ 140227 w 1059679"/>
              <a:gd name="connsiteY27-6688" fmla="*/ 609744 h 729579"/>
              <a:gd name="connsiteX28-6689" fmla="*/ 243154 w 1059679"/>
              <a:gd name="connsiteY28-6690" fmla="*/ 729579 h 729579"/>
              <a:gd name="connsiteX29-6691" fmla="*/ 318522 w 1059679"/>
              <a:gd name="connsiteY29-6692" fmla="*/ 676324 h 729579"/>
              <a:gd name="connsiteX30-6693" fmla="*/ 366030 w 1059679"/>
              <a:gd name="connsiteY30-6694" fmla="*/ 554755 h 729579"/>
              <a:gd name="connsiteX31-6695" fmla="*/ 505685 w 1059679"/>
              <a:gd name="connsiteY31-6696" fmla="*/ 523317 h 729579"/>
              <a:gd name="connsiteX32-6697" fmla="*/ 525838 w 1059679"/>
              <a:gd name="connsiteY32-6698" fmla="*/ 528603 h 729579"/>
              <a:gd name="connsiteX33-6699" fmla="*/ 603174 w 1059679"/>
              <a:gd name="connsiteY33-6700" fmla="*/ 565847 h 729579"/>
              <a:gd name="connsiteX34-6701" fmla="*/ 652507 w 1059679"/>
              <a:gd name="connsiteY34-6702" fmla="*/ 621337 h 729579"/>
              <a:gd name="connsiteX35-6703" fmla="*/ 649635 w 1059679"/>
              <a:gd name="connsiteY35-6704" fmla="*/ 621337 h 729579"/>
              <a:gd name="connsiteX36-6705" fmla="*/ 687668 w 1059679"/>
              <a:gd name="connsiteY36-6706" fmla="*/ 654043 h 729579"/>
              <a:gd name="connsiteX37-6707" fmla="*/ 767548 w 1059679"/>
              <a:gd name="connsiteY37-6708" fmla="*/ 675561 h 729579"/>
              <a:gd name="connsiteX38-6709" fmla="*/ 760786 w 1059679"/>
              <a:gd name="connsiteY38-6710" fmla="*/ 561837 h 729579"/>
              <a:gd name="connsiteX39-6711" fmla="*/ 863868 w 1059679"/>
              <a:gd name="connsiteY39-6712" fmla="*/ 501158 h 729579"/>
              <a:gd name="connsiteX40-6713" fmla="*/ 916175 w 1059679"/>
              <a:gd name="connsiteY40-6714" fmla="*/ 550791 h 729579"/>
              <a:gd name="connsiteX41-6715" fmla="*/ 1039179 w 1059679"/>
              <a:gd name="connsiteY41-6716" fmla="*/ 490573 h 729579"/>
              <a:gd name="connsiteX42-6717" fmla="*/ 1039179 w 1059679"/>
              <a:gd name="connsiteY42-6718" fmla="*/ 435487 h 729579"/>
              <a:gd name="connsiteX43-6719" fmla="*/ 938561 w 1059679"/>
              <a:gd name="connsiteY43-6720" fmla="*/ 312203 h 729579"/>
              <a:gd name="connsiteX0-6721" fmla="*/ 931051 w 1059679"/>
              <a:gd name="connsiteY0-6722" fmla="*/ 353627 h 729579"/>
              <a:gd name="connsiteX1-6723" fmla="*/ 1022885 w 1059679"/>
              <a:gd name="connsiteY1-6724" fmla="*/ 278823 h 729579"/>
              <a:gd name="connsiteX2-6725" fmla="*/ 944826 w 1059679"/>
              <a:gd name="connsiteY2-6726" fmla="*/ 178462 h 729579"/>
              <a:gd name="connsiteX3-6727" fmla="*/ 1022885 w 1059679"/>
              <a:gd name="connsiteY3-6728" fmla="*/ 167311 h 729579"/>
              <a:gd name="connsiteX4-6729" fmla="*/ 927994 w 1059679"/>
              <a:gd name="connsiteY4-6730" fmla="*/ 125469 h 729579"/>
              <a:gd name="connsiteX5-6731" fmla="*/ 1019937 w 1059679"/>
              <a:gd name="connsiteY5-6732" fmla="*/ 55756 h 729579"/>
              <a:gd name="connsiteX6-6733" fmla="*/ 929702 w 1059679"/>
              <a:gd name="connsiteY6-6734" fmla="*/ 13978 h 729579"/>
              <a:gd name="connsiteX7-6735" fmla="*/ 879077 w 1059679"/>
              <a:gd name="connsiteY7-6736" fmla="*/ 69157 h 729579"/>
              <a:gd name="connsiteX8-6737" fmla="*/ 790632 w 1059679"/>
              <a:gd name="connsiteY8-6738" fmla="*/ 69703 h 729579"/>
              <a:gd name="connsiteX9-6739" fmla="*/ 826991 w 1059679"/>
              <a:gd name="connsiteY9-6740" fmla="*/ 5644 h 729579"/>
              <a:gd name="connsiteX10-6741" fmla="*/ 709412 w 1059679"/>
              <a:gd name="connsiteY10-6742" fmla="*/ 0 h 729579"/>
              <a:gd name="connsiteX11-6743" fmla="*/ 622295 w 1059679"/>
              <a:gd name="connsiteY11-6744" fmla="*/ 33464 h 729579"/>
              <a:gd name="connsiteX12-6745" fmla="*/ 534966 w 1059679"/>
              <a:gd name="connsiteY12-6746" fmla="*/ 50207 h 729579"/>
              <a:gd name="connsiteX13-6747" fmla="*/ 456481 w 1059679"/>
              <a:gd name="connsiteY13-6748" fmla="*/ 16732 h 729579"/>
              <a:gd name="connsiteX14-6749" fmla="*/ 339926 w 1059679"/>
              <a:gd name="connsiteY14-6750" fmla="*/ 58573 h 729579"/>
              <a:gd name="connsiteX15-6751" fmla="*/ 354070 w 1059679"/>
              <a:gd name="connsiteY15-6752" fmla="*/ 97009 h 729579"/>
              <a:gd name="connsiteX16-6753" fmla="*/ 296647 w 1059679"/>
              <a:gd name="connsiteY16-6754" fmla="*/ 133216 h 729579"/>
              <a:gd name="connsiteX17-6755" fmla="*/ 286478 w 1059679"/>
              <a:gd name="connsiteY17-6756" fmla="*/ 234112 h 729579"/>
              <a:gd name="connsiteX18-6757" fmla="*/ 261013 w 1059679"/>
              <a:gd name="connsiteY18-6758" fmla="*/ 262080 h 729579"/>
              <a:gd name="connsiteX19-6759" fmla="*/ 181802 w 1059679"/>
              <a:gd name="connsiteY19-6760" fmla="*/ 205630 h 729579"/>
              <a:gd name="connsiteX20-6761" fmla="*/ 165907 w 1059679"/>
              <a:gd name="connsiteY20-6762" fmla="*/ 214681 h 729579"/>
              <a:gd name="connsiteX21-6763" fmla="*/ 207993 w 1059679"/>
              <a:gd name="connsiteY21-6764" fmla="*/ 306675 h 729579"/>
              <a:gd name="connsiteX22-6765" fmla="*/ 185690 w 1059679"/>
              <a:gd name="connsiteY22-6766" fmla="*/ 440500 h 729579"/>
              <a:gd name="connsiteX23-6767" fmla="*/ 79176 w 1059679"/>
              <a:gd name="connsiteY23-6768" fmla="*/ 463089 h 729579"/>
              <a:gd name="connsiteX24-6769" fmla="*/ 61488 w 1059679"/>
              <a:gd name="connsiteY24-6770" fmla="*/ 403377 h 729579"/>
              <a:gd name="connsiteX25-6771" fmla="*/ 0 w 1059679"/>
              <a:gd name="connsiteY25-6772" fmla="*/ 419276 h 729579"/>
              <a:gd name="connsiteX26-6773" fmla="*/ 77437 w 1059679"/>
              <a:gd name="connsiteY26-6774" fmla="*/ 563196 h 729579"/>
              <a:gd name="connsiteX27-6775" fmla="*/ 140227 w 1059679"/>
              <a:gd name="connsiteY27-6776" fmla="*/ 609744 h 729579"/>
              <a:gd name="connsiteX28-6777" fmla="*/ 243154 w 1059679"/>
              <a:gd name="connsiteY28-6778" fmla="*/ 729579 h 729579"/>
              <a:gd name="connsiteX29-6779" fmla="*/ 318522 w 1059679"/>
              <a:gd name="connsiteY29-6780" fmla="*/ 676324 h 729579"/>
              <a:gd name="connsiteX30-6781" fmla="*/ 366030 w 1059679"/>
              <a:gd name="connsiteY30-6782" fmla="*/ 554755 h 729579"/>
              <a:gd name="connsiteX31-6783" fmla="*/ 505685 w 1059679"/>
              <a:gd name="connsiteY31-6784" fmla="*/ 523317 h 729579"/>
              <a:gd name="connsiteX32-6785" fmla="*/ 525838 w 1059679"/>
              <a:gd name="connsiteY32-6786" fmla="*/ 528603 h 729579"/>
              <a:gd name="connsiteX33-6787" fmla="*/ 603174 w 1059679"/>
              <a:gd name="connsiteY33-6788" fmla="*/ 565847 h 729579"/>
              <a:gd name="connsiteX34-6789" fmla="*/ 652507 w 1059679"/>
              <a:gd name="connsiteY34-6790" fmla="*/ 621337 h 729579"/>
              <a:gd name="connsiteX35-6791" fmla="*/ 649635 w 1059679"/>
              <a:gd name="connsiteY35-6792" fmla="*/ 621337 h 729579"/>
              <a:gd name="connsiteX36-6793" fmla="*/ 687668 w 1059679"/>
              <a:gd name="connsiteY36-6794" fmla="*/ 654043 h 729579"/>
              <a:gd name="connsiteX37-6795" fmla="*/ 767548 w 1059679"/>
              <a:gd name="connsiteY37-6796" fmla="*/ 675561 h 729579"/>
              <a:gd name="connsiteX38-6797" fmla="*/ 760786 w 1059679"/>
              <a:gd name="connsiteY38-6798" fmla="*/ 561837 h 729579"/>
              <a:gd name="connsiteX39-6799" fmla="*/ 863868 w 1059679"/>
              <a:gd name="connsiteY39-6800" fmla="*/ 501158 h 729579"/>
              <a:gd name="connsiteX40-6801" fmla="*/ 916175 w 1059679"/>
              <a:gd name="connsiteY40-6802" fmla="*/ 550791 h 729579"/>
              <a:gd name="connsiteX41-6803" fmla="*/ 1039179 w 1059679"/>
              <a:gd name="connsiteY41-6804" fmla="*/ 490573 h 729579"/>
              <a:gd name="connsiteX42-6805" fmla="*/ 1039179 w 1059679"/>
              <a:gd name="connsiteY42-6806" fmla="*/ 435487 h 729579"/>
              <a:gd name="connsiteX43-6807" fmla="*/ 938561 w 1059679"/>
              <a:gd name="connsiteY43-6808" fmla="*/ 312203 h 729579"/>
              <a:gd name="connsiteX0-6809" fmla="*/ 931051 w 1059679"/>
              <a:gd name="connsiteY0-6810" fmla="*/ 353627 h 729579"/>
              <a:gd name="connsiteX1-6811" fmla="*/ 1022885 w 1059679"/>
              <a:gd name="connsiteY1-6812" fmla="*/ 278823 h 729579"/>
              <a:gd name="connsiteX2-6813" fmla="*/ 944826 w 1059679"/>
              <a:gd name="connsiteY2-6814" fmla="*/ 178462 h 729579"/>
              <a:gd name="connsiteX3-6815" fmla="*/ 1022885 w 1059679"/>
              <a:gd name="connsiteY3-6816" fmla="*/ 167311 h 729579"/>
              <a:gd name="connsiteX4-6817" fmla="*/ 927994 w 1059679"/>
              <a:gd name="connsiteY4-6818" fmla="*/ 125469 h 729579"/>
              <a:gd name="connsiteX5-6819" fmla="*/ 1019937 w 1059679"/>
              <a:gd name="connsiteY5-6820" fmla="*/ 55756 h 729579"/>
              <a:gd name="connsiteX6-6821" fmla="*/ 929702 w 1059679"/>
              <a:gd name="connsiteY6-6822" fmla="*/ 13978 h 729579"/>
              <a:gd name="connsiteX7-6823" fmla="*/ 879077 w 1059679"/>
              <a:gd name="connsiteY7-6824" fmla="*/ 69157 h 729579"/>
              <a:gd name="connsiteX8-6825" fmla="*/ 790632 w 1059679"/>
              <a:gd name="connsiteY8-6826" fmla="*/ 69703 h 729579"/>
              <a:gd name="connsiteX9-6827" fmla="*/ 826991 w 1059679"/>
              <a:gd name="connsiteY9-6828" fmla="*/ 5644 h 729579"/>
              <a:gd name="connsiteX10-6829" fmla="*/ 709412 w 1059679"/>
              <a:gd name="connsiteY10-6830" fmla="*/ 0 h 729579"/>
              <a:gd name="connsiteX11-6831" fmla="*/ 622295 w 1059679"/>
              <a:gd name="connsiteY11-6832" fmla="*/ 33464 h 729579"/>
              <a:gd name="connsiteX12-6833" fmla="*/ 534966 w 1059679"/>
              <a:gd name="connsiteY12-6834" fmla="*/ 50207 h 729579"/>
              <a:gd name="connsiteX13-6835" fmla="*/ 456481 w 1059679"/>
              <a:gd name="connsiteY13-6836" fmla="*/ 16732 h 729579"/>
              <a:gd name="connsiteX14-6837" fmla="*/ 339926 w 1059679"/>
              <a:gd name="connsiteY14-6838" fmla="*/ 58573 h 729579"/>
              <a:gd name="connsiteX15-6839" fmla="*/ 354070 w 1059679"/>
              <a:gd name="connsiteY15-6840" fmla="*/ 97009 h 729579"/>
              <a:gd name="connsiteX16-6841" fmla="*/ 296647 w 1059679"/>
              <a:gd name="connsiteY16-6842" fmla="*/ 133216 h 729579"/>
              <a:gd name="connsiteX17-6843" fmla="*/ 286478 w 1059679"/>
              <a:gd name="connsiteY17-6844" fmla="*/ 234112 h 729579"/>
              <a:gd name="connsiteX18-6845" fmla="*/ 261013 w 1059679"/>
              <a:gd name="connsiteY18-6846" fmla="*/ 262080 h 729579"/>
              <a:gd name="connsiteX19-6847" fmla="*/ 181802 w 1059679"/>
              <a:gd name="connsiteY19-6848" fmla="*/ 205630 h 729579"/>
              <a:gd name="connsiteX20-6849" fmla="*/ 165907 w 1059679"/>
              <a:gd name="connsiteY20-6850" fmla="*/ 214681 h 729579"/>
              <a:gd name="connsiteX21-6851" fmla="*/ 207993 w 1059679"/>
              <a:gd name="connsiteY21-6852" fmla="*/ 306675 h 729579"/>
              <a:gd name="connsiteX22-6853" fmla="*/ 185690 w 1059679"/>
              <a:gd name="connsiteY22-6854" fmla="*/ 440500 h 729579"/>
              <a:gd name="connsiteX23-6855" fmla="*/ 79176 w 1059679"/>
              <a:gd name="connsiteY23-6856" fmla="*/ 463089 h 729579"/>
              <a:gd name="connsiteX24-6857" fmla="*/ 61488 w 1059679"/>
              <a:gd name="connsiteY24-6858" fmla="*/ 403377 h 729579"/>
              <a:gd name="connsiteX25-6859" fmla="*/ 0 w 1059679"/>
              <a:gd name="connsiteY25-6860" fmla="*/ 419276 h 729579"/>
              <a:gd name="connsiteX26-6861" fmla="*/ 77437 w 1059679"/>
              <a:gd name="connsiteY26-6862" fmla="*/ 563196 h 729579"/>
              <a:gd name="connsiteX27-6863" fmla="*/ 140227 w 1059679"/>
              <a:gd name="connsiteY27-6864" fmla="*/ 609744 h 729579"/>
              <a:gd name="connsiteX28-6865" fmla="*/ 243154 w 1059679"/>
              <a:gd name="connsiteY28-6866" fmla="*/ 729579 h 729579"/>
              <a:gd name="connsiteX29-6867" fmla="*/ 318522 w 1059679"/>
              <a:gd name="connsiteY29-6868" fmla="*/ 676324 h 729579"/>
              <a:gd name="connsiteX30-6869" fmla="*/ 366030 w 1059679"/>
              <a:gd name="connsiteY30-6870" fmla="*/ 554755 h 729579"/>
              <a:gd name="connsiteX31-6871" fmla="*/ 505685 w 1059679"/>
              <a:gd name="connsiteY31-6872" fmla="*/ 523317 h 729579"/>
              <a:gd name="connsiteX32-6873" fmla="*/ 525838 w 1059679"/>
              <a:gd name="connsiteY32-6874" fmla="*/ 528603 h 729579"/>
              <a:gd name="connsiteX33-6875" fmla="*/ 603174 w 1059679"/>
              <a:gd name="connsiteY33-6876" fmla="*/ 565847 h 729579"/>
              <a:gd name="connsiteX34-6877" fmla="*/ 652507 w 1059679"/>
              <a:gd name="connsiteY34-6878" fmla="*/ 621337 h 729579"/>
              <a:gd name="connsiteX35-6879" fmla="*/ 649635 w 1059679"/>
              <a:gd name="connsiteY35-6880" fmla="*/ 621337 h 729579"/>
              <a:gd name="connsiteX36-6881" fmla="*/ 687668 w 1059679"/>
              <a:gd name="connsiteY36-6882" fmla="*/ 654043 h 729579"/>
              <a:gd name="connsiteX37-6883" fmla="*/ 767548 w 1059679"/>
              <a:gd name="connsiteY37-6884" fmla="*/ 675561 h 729579"/>
              <a:gd name="connsiteX38-6885" fmla="*/ 760786 w 1059679"/>
              <a:gd name="connsiteY38-6886" fmla="*/ 561837 h 729579"/>
              <a:gd name="connsiteX39-6887" fmla="*/ 863868 w 1059679"/>
              <a:gd name="connsiteY39-6888" fmla="*/ 501158 h 729579"/>
              <a:gd name="connsiteX40-6889" fmla="*/ 916175 w 1059679"/>
              <a:gd name="connsiteY40-6890" fmla="*/ 550791 h 729579"/>
              <a:gd name="connsiteX41-6891" fmla="*/ 1039179 w 1059679"/>
              <a:gd name="connsiteY41-6892" fmla="*/ 490573 h 729579"/>
              <a:gd name="connsiteX42-6893" fmla="*/ 1039179 w 1059679"/>
              <a:gd name="connsiteY42-6894" fmla="*/ 435487 h 729579"/>
              <a:gd name="connsiteX43-6895" fmla="*/ 938561 w 1059679"/>
              <a:gd name="connsiteY43-6896" fmla="*/ 312203 h 729579"/>
              <a:gd name="connsiteX0-6897" fmla="*/ 931051 w 1059679"/>
              <a:gd name="connsiteY0-6898" fmla="*/ 353627 h 729579"/>
              <a:gd name="connsiteX1-6899" fmla="*/ 1022885 w 1059679"/>
              <a:gd name="connsiteY1-6900" fmla="*/ 278823 h 729579"/>
              <a:gd name="connsiteX2-6901" fmla="*/ 944826 w 1059679"/>
              <a:gd name="connsiteY2-6902" fmla="*/ 178462 h 729579"/>
              <a:gd name="connsiteX3-6903" fmla="*/ 1022885 w 1059679"/>
              <a:gd name="connsiteY3-6904" fmla="*/ 167311 h 729579"/>
              <a:gd name="connsiteX4-6905" fmla="*/ 927994 w 1059679"/>
              <a:gd name="connsiteY4-6906" fmla="*/ 125469 h 729579"/>
              <a:gd name="connsiteX5-6907" fmla="*/ 1019937 w 1059679"/>
              <a:gd name="connsiteY5-6908" fmla="*/ 55756 h 729579"/>
              <a:gd name="connsiteX6-6909" fmla="*/ 929702 w 1059679"/>
              <a:gd name="connsiteY6-6910" fmla="*/ 13978 h 729579"/>
              <a:gd name="connsiteX7-6911" fmla="*/ 879077 w 1059679"/>
              <a:gd name="connsiteY7-6912" fmla="*/ 69157 h 729579"/>
              <a:gd name="connsiteX8-6913" fmla="*/ 790632 w 1059679"/>
              <a:gd name="connsiteY8-6914" fmla="*/ 69703 h 729579"/>
              <a:gd name="connsiteX9-6915" fmla="*/ 826991 w 1059679"/>
              <a:gd name="connsiteY9-6916" fmla="*/ 5644 h 729579"/>
              <a:gd name="connsiteX10-6917" fmla="*/ 709412 w 1059679"/>
              <a:gd name="connsiteY10-6918" fmla="*/ 0 h 729579"/>
              <a:gd name="connsiteX11-6919" fmla="*/ 622295 w 1059679"/>
              <a:gd name="connsiteY11-6920" fmla="*/ 33464 h 729579"/>
              <a:gd name="connsiteX12-6921" fmla="*/ 534966 w 1059679"/>
              <a:gd name="connsiteY12-6922" fmla="*/ 50207 h 729579"/>
              <a:gd name="connsiteX13-6923" fmla="*/ 456481 w 1059679"/>
              <a:gd name="connsiteY13-6924" fmla="*/ 16732 h 729579"/>
              <a:gd name="connsiteX14-6925" fmla="*/ 339926 w 1059679"/>
              <a:gd name="connsiteY14-6926" fmla="*/ 58573 h 729579"/>
              <a:gd name="connsiteX15-6927" fmla="*/ 354070 w 1059679"/>
              <a:gd name="connsiteY15-6928" fmla="*/ 97009 h 729579"/>
              <a:gd name="connsiteX16-6929" fmla="*/ 296647 w 1059679"/>
              <a:gd name="connsiteY16-6930" fmla="*/ 133216 h 729579"/>
              <a:gd name="connsiteX17-6931" fmla="*/ 286478 w 1059679"/>
              <a:gd name="connsiteY17-6932" fmla="*/ 234112 h 729579"/>
              <a:gd name="connsiteX18-6933" fmla="*/ 261013 w 1059679"/>
              <a:gd name="connsiteY18-6934" fmla="*/ 262080 h 729579"/>
              <a:gd name="connsiteX19-6935" fmla="*/ 181802 w 1059679"/>
              <a:gd name="connsiteY19-6936" fmla="*/ 205630 h 729579"/>
              <a:gd name="connsiteX20-6937" fmla="*/ 165907 w 1059679"/>
              <a:gd name="connsiteY20-6938" fmla="*/ 214681 h 729579"/>
              <a:gd name="connsiteX21-6939" fmla="*/ 207993 w 1059679"/>
              <a:gd name="connsiteY21-6940" fmla="*/ 306675 h 729579"/>
              <a:gd name="connsiteX22-6941" fmla="*/ 185690 w 1059679"/>
              <a:gd name="connsiteY22-6942" fmla="*/ 440500 h 729579"/>
              <a:gd name="connsiteX23-6943" fmla="*/ 79176 w 1059679"/>
              <a:gd name="connsiteY23-6944" fmla="*/ 463089 h 729579"/>
              <a:gd name="connsiteX24-6945" fmla="*/ 61488 w 1059679"/>
              <a:gd name="connsiteY24-6946" fmla="*/ 403377 h 729579"/>
              <a:gd name="connsiteX25-6947" fmla="*/ 0 w 1059679"/>
              <a:gd name="connsiteY25-6948" fmla="*/ 419276 h 729579"/>
              <a:gd name="connsiteX26-6949" fmla="*/ 77437 w 1059679"/>
              <a:gd name="connsiteY26-6950" fmla="*/ 563196 h 729579"/>
              <a:gd name="connsiteX27-6951" fmla="*/ 140227 w 1059679"/>
              <a:gd name="connsiteY27-6952" fmla="*/ 609744 h 729579"/>
              <a:gd name="connsiteX28-6953" fmla="*/ 243154 w 1059679"/>
              <a:gd name="connsiteY28-6954" fmla="*/ 729579 h 729579"/>
              <a:gd name="connsiteX29-6955" fmla="*/ 318522 w 1059679"/>
              <a:gd name="connsiteY29-6956" fmla="*/ 676324 h 729579"/>
              <a:gd name="connsiteX30-6957" fmla="*/ 366030 w 1059679"/>
              <a:gd name="connsiteY30-6958" fmla="*/ 554755 h 729579"/>
              <a:gd name="connsiteX31-6959" fmla="*/ 505685 w 1059679"/>
              <a:gd name="connsiteY31-6960" fmla="*/ 523317 h 729579"/>
              <a:gd name="connsiteX32-6961" fmla="*/ 525838 w 1059679"/>
              <a:gd name="connsiteY32-6962" fmla="*/ 528603 h 729579"/>
              <a:gd name="connsiteX33-6963" fmla="*/ 603174 w 1059679"/>
              <a:gd name="connsiteY33-6964" fmla="*/ 565847 h 729579"/>
              <a:gd name="connsiteX34-6965" fmla="*/ 652507 w 1059679"/>
              <a:gd name="connsiteY34-6966" fmla="*/ 621337 h 729579"/>
              <a:gd name="connsiteX35-6967" fmla="*/ 649635 w 1059679"/>
              <a:gd name="connsiteY35-6968" fmla="*/ 621337 h 729579"/>
              <a:gd name="connsiteX36-6969" fmla="*/ 687668 w 1059679"/>
              <a:gd name="connsiteY36-6970" fmla="*/ 654043 h 729579"/>
              <a:gd name="connsiteX37-6971" fmla="*/ 767548 w 1059679"/>
              <a:gd name="connsiteY37-6972" fmla="*/ 675561 h 729579"/>
              <a:gd name="connsiteX38-6973" fmla="*/ 760786 w 1059679"/>
              <a:gd name="connsiteY38-6974" fmla="*/ 561837 h 729579"/>
              <a:gd name="connsiteX39-6975" fmla="*/ 863868 w 1059679"/>
              <a:gd name="connsiteY39-6976" fmla="*/ 501158 h 729579"/>
              <a:gd name="connsiteX40-6977" fmla="*/ 916175 w 1059679"/>
              <a:gd name="connsiteY40-6978" fmla="*/ 550791 h 729579"/>
              <a:gd name="connsiteX41-6979" fmla="*/ 1039179 w 1059679"/>
              <a:gd name="connsiteY41-6980" fmla="*/ 490573 h 729579"/>
              <a:gd name="connsiteX42-6981" fmla="*/ 1039179 w 1059679"/>
              <a:gd name="connsiteY42-6982" fmla="*/ 435487 h 729579"/>
              <a:gd name="connsiteX43-6983" fmla="*/ 938561 w 1059679"/>
              <a:gd name="connsiteY43-6984" fmla="*/ 312203 h 729579"/>
              <a:gd name="connsiteX44" fmla="*/ 931051 w 1059679"/>
              <a:gd name="connsiteY44" fmla="*/ 353627 h 729579"/>
              <a:gd name="connsiteX0-6985" fmla="*/ 931051 w 1039179"/>
              <a:gd name="connsiteY0-6986" fmla="*/ 353627 h 729579"/>
              <a:gd name="connsiteX1-6987" fmla="*/ 1022885 w 1039179"/>
              <a:gd name="connsiteY1-6988" fmla="*/ 278823 h 729579"/>
              <a:gd name="connsiteX2-6989" fmla="*/ 944826 w 1039179"/>
              <a:gd name="connsiteY2-6990" fmla="*/ 178462 h 729579"/>
              <a:gd name="connsiteX3-6991" fmla="*/ 1022885 w 1039179"/>
              <a:gd name="connsiteY3-6992" fmla="*/ 167311 h 729579"/>
              <a:gd name="connsiteX4-6993" fmla="*/ 927994 w 1039179"/>
              <a:gd name="connsiteY4-6994" fmla="*/ 125469 h 729579"/>
              <a:gd name="connsiteX5-6995" fmla="*/ 1019937 w 1039179"/>
              <a:gd name="connsiteY5-6996" fmla="*/ 55756 h 729579"/>
              <a:gd name="connsiteX6-6997" fmla="*/ 929702 w 1039179"/>
              <a:gd name="connsiteY6-6998" fmla="*/ 13978 h 729579"/>
              <a:gd name="connsiteX7-6999" fmla="*/ 879077 w 1039179"/>
              <a:gd name="connsiteY7-7000" fmla="*/ 69157 h 729579"/>
              <a:gd name="connsiteX8-7001" fmla="*/ 790632 w 1039179"/>
              <a:gd name="connsiteY8-7002" fmla="*/ 69703 h 729579"/>
              <a:gd name="connsiteX9-7003" fmla="*/ 826991 w 1039179"/>
              <a:gd name="connsiteY9-7004" fmla="*/ 5644 h 729579"/>
              <a:gd name="connsiteX10-7005" fmla="*/ 709412 w 1039179"/>
              <a:gd name="connsiteY10-7006" fmla="*/ 0 h 729579"/>
              <a:gd name="connsiteX11-7007" fmla="*/ 622295 w 1039179"/>
              <a:gd name="connsiteY11-7008" fmla="*/ 33464 h 729579"/>
              <a:gd name="connsiteX12-7009" fmla="*/ 534966 w 1039179"/>
              <a:gd name="connsiteY12-7010" fmla="*/ 50207 h 729579"/>
              <a:gd name="connsiteX13-7011" fmla="*/ 456481 w 1039179"/>
              <a:gd name="connsiteY13-7012" fmla="*/ 16732 h 729579"/>
              <a:gd name="connsiteX14-7013" fmla="*/ 339926 w 1039179"/>
              <a:gd name="connsiteY14-7014" fmla="*/ 58573 h 729579"/>
              <a:gd name="connsiteX15-7015" fmla="*/ 354070 w 1039179"/>
              <a:gd name="connsiteY15-7016" fmla="*/ 97009 h 729579"/>
              <a:gd name="connsiteX16-7017" fmla="*/ 296647 w 1039179"/>
              <a:gd name="connsiteY16-7018" fmla="*/ 133216 h 729579"/>
              <a:gd name="connsiteX17-7019" fmla="*/ 286478 w 1039179"/>
              <a:gd name="connsiteY17-7020" fmla="*/ 234112 h 729579"/>
              <a:gd name="connsiteX18-7021" fmla="*/ 261013 w 1039179"/>
              <a:gd name="connsiteY18-7022" fmla="*/ 262080 h 729579"/>
              <a:gd name="connsiteX19-7023" fmla="*/ 181802 w 1039179"/>
              <a:gd name="connsiteY19-7024" fmla="*/ 205630 h 729579"/>
              <a:gd name="connsiteX20-7025" fmla="*/ 165907 w 1039179"/>
              <a:gd name="connsiteY20-7026" fmla="*/ 214681 h 729579"/>
              <a:gd name="connsiteX21-7027" fmla="*/ 207993 w 1039179"/>
              <a:gd name="connsiteY21-7028" fmla="*/ 306675 h 729579"/>
              <a:gd name="connsiteX22-7029" fmla="*/ 185690 w 1039179"/>
              <a:gd name="connsiteY22-7030" fmla="*/ 440500 h 729579"/>
              <a:gd name="connsiteX23-7031" fmla="*/ 79176 w 1039179"/>
              <a:gd name="connsiteY23-7032" fmla="*/ 463089 h 729579"/>
              <a:gd name="connsiteX24-7033" fmla="*/ 61488 w 1039179"/>
              <a:gd name="connsiteY24-7034" fmla="*/ 403377 h 729579"/>
              <a:gd name="connsiteX25-7035" fmla="*/ 0 w 1039179"/>
              <a:gd name="connsiteY25-7036" fmla="*/ 419276 h 729579"/>
              <a:gd name="connsiteX26-7037" fmla="*/ 77437 w 1039179"/>
              <a:gd name="connsiteY26-7038" fmla="*/ 563196 h 729579"/>
              <a:gd name="connsiteX27-7039" fmla="*/ 140227 w 1039179"/>
              <a:gd name="connsiteY27-7040" fmla="*/ 609744 h 729579"/>
              <a:gd name="connsiteX28-7041" fmla="*/ 243154 w 1039179"/>
              <a:gd name="connsiteY28-7042" fmla="*/ 729579 h 729579"/>
              <a:gd name="connsiteX29-7043" fmla="*/ 318522 w 1039179"/>
              <a:gd name="connsiteY29-7044" fmla="*/ 676324 h 729579"/>
              <a:gd name="connsiteX30-7045" fmla="*/ 366030 w 1039179"/>
              <a:gd name="connsiteY30-7046" fmla="*/ 554755 h 729579"/>
              <a:gd name="connsiteX31-7047" fmla="*/ 505685 w 1039179"/>
              <a:gd name="connsiteY31-7048" fmla="*/ 523317 h 729579"/>
              <a:gd name="connsiteX32-7049" fmla="*/ 525838 w 1039179"/>
              <a:gd name="connsiteY32-7050" fmla="*/ 528603 h 729579"/>
              <a:gd name="connsiteX33-7051" fmla="*/ 603174 w 1039179"/>
              <a:gd name="connsiteY33-7052" fmla="*/ 565847 h 729579"/>
              <a:gd name="connsiteX34-7053" fmla="*/ 652507 w 1039179"/>
              <a:gd name="connsiteY34-7054" fmla="*/ 621337 h 729579"/>
              <a:gd name="connsiteX35-7055" fmla="*/ 649635 w 1039179"/>
              <a:gd name="connsiteY35-7056" fmla="*/ 621337 h 729579"/>
              <a:gd name="connsiteX36-7057" fmla="*/ 687668 w 1039179"/>
              <a:gd name="connsiteY36-7058" fmla="*/ 654043 h 729579"/>
              <a:gd name="connsiteX37-7059" fmla="*/ 767548 w 1039179"/>
              <a:gd name="connsiteY37-7060" fmla="*/ 675561 h 729579"/>
              <a:gd name="connsiteX38-7061" fmla="*/ 760786 w 1039179"/>
              <a:gd name="connsiteY38-7062" fmla="*/ 561837 h 729579"/>
              <a:gd name="connsiteX39-7063" fmla="*/ 863868 w 1039179"/>
              <a:gd name="connsiteY39-7064" fmla="*/ 501158 h 729579"/>
              <a:gd name="connsiteX40-7065" fmla="*/ 916175 w 1039179"/>
              <a:gd name="connsiteY40-7066" fmla="*/ 550791 h 729579"/>
              <a:gd name="connsiteX41-7067" fmla="*/ 1039179 w 1039179"/>
              <a:gd name="connsiteY41-7068" fmla="*/ 435487 h 729579"/>
              <a:gd name="connsiteX42-7069" fmla="*/ 938561 w 1039179"/>
              <a:gd name="connsiteY42-7070" fmla="*/ 312203 h 729579"/>
              <a:gd name="connsiteX43-7071" fmla="*/ 931051 w 1039179"/>
              <a:gd name="connsiteY43-7072" fmla="*/ 353627 h 729579"/>
              <a:gd name="connsiteX0-7073" fmla="*/ 931051 w 1039179"/>
              <a:gd name="connsiteY0-7074" fmla="*/ 353627 h 729579"/>
              <a:gd name="connsiteX1-7075" fmla="*/ 1022885 w 1039179"/>
              <a:gd name="connsiteY1-7076" fmla="*/ 278823 h 729579"/>
              <a:gd name="connsiteX2-7077" fmla="*/ 944826 w 1039179"/>
              <a:gd name="connsiteY2-7078" fmla="*/ 178462 h 729579"/>
              <a:gd name="connsiteX3-7079" fmla="*/ 1022885 w 1039179"/>
              <a:gd name="connsiteY3-7080" fmla="*/ 167311 h 729579"/>
              <a:gd name="connsiteX4-7081" fmla="*/ 927994 w 1039179"/>
              <a:gd name="connsiteY4-7082" fmla="*/ 125469 h 729579"/>
              <a:gd name="connsiteX5-7083" fmla="*/ 1019937 w 1039179"/>
              <a:gd name="connsiteY5-7084" fmla="*/ 55756 h 729579"/>
              <a:gd name="connsiteX6-7085" fmla="*/ 929702 w 1039179"/>
              <a:gd name="connsiteY6-7086" fmla="*/ 13978 h 729579"/>
              <a:gd name="connsiteX7-7087" fmla="*/ 879077 w 1039179"/>
              <a:gd name="connsiteY7-7088" fmla="*/ 69157 h 729579"/>
              <a:gd name="connsiteX8-7089" fmla="*/ 790632 w 1039179"/>
              <a:gd name="connsiteY8-7090" fmla="*/ 69703 h 729579"/>
              <a:gd name="connsiteX9-7091" fmla="*/ 826991 w 1039179"/>
              <a:gd name="connsiteY9-7092" fmla="*/ 5644 h 729579"/>
              <a:gd name="connsiteX10-7093" fmla="*/ 709412 w 1039179"/>
              <a:gd name="connsiteY10-7094" fmla="*/ 0 h 729579"/>
              <a:gd name="connsiteX11-7095" fmla="*/ 622295 w 1039179"/>
              <a:gd name="connsiteY11-7096" fmla="*/ 33464 h 729579"/>
              <a:gd name="connsiteX12-7097" fmla="*/ 534966 w 1039179"/>
              <a:gd name="connsiteY12-7098" fmla="*/ 50207 h 729579"/>
              <a:gd name="connsiteX13-7099" fmla="*/ 456481 w 1039179"/>
              <a:gd name="connsiteY13-7100" fmla="*/ 16732 h 729579"/>
              <a:gd name="connsiteX14-7101" fmla="*/ 339926 w 1039179"/>
              <a:gd name="connsiteY14-7102" fmla="*/ 58573 h 729579"/>
              <a:gd name="connsiteX15-7103" fmla="*/ 354070 w 1039179"/>
              <a:gd name="connsiteY15-7104" fmla="*/ 97009 h 729579"/>
              <a:gd name="connsiteX16-7105" fmla="*/ 296647 w 1039179"/>
              <a:gd name="connsiteY16-7106" fmla="*/ 133216 h 729579"/>
              <a:gd name="connsiteX17-7107" fmla="*/ 286478 w 1039179"/>
              <a:gd name="connsiteY17-7108" fmla="*/ 234112 h 729579"/>
              <a:gd name="connsiteX18-7109" fmla="*/ 261013 w 1039179"/>
              <a:gd name="connsiteY18-7110" fmla="*/ 262080 h 729579"/>
              <a:gd name="connsiteX19-7111" fmla="*/ 181802 w 1039179"/>
              <a:gd name="connsiteY19-7112" fmla="*/ 205630 h 729579"/>
              <a:gd name="connsiteX20-7113" fmla="*/ 165907 w 1039179"/>
              <a:gd name="connsiteY20-7114" fmla="*/ 214681 h 729579"/>
              <a:gd name="connsiteX21-7115" fmla="*/ 207993 w 1039179"/>
              <a:gd name="connsiteY21-7116" fmla="*/ 306675 h 729579"/>
              <a:gd name="connsiteX22-7117" fmla="*/ 185690 w 1039179"/>
              <a:gd name="connsiteY22-7118" fmla="*/ 440500 h 729579"/>
              <a:gd name="connsiteX23-7119" fmla="*/ 79176 w 1039179"/>
              <a:gd name="connsiteY23-7120" fmla="*/ 463089 h 729579"/>
              <a:gd name="connsiteX24-7121" fmla="*/ 61488 w 1039179"/>
              <a:gd name="connsiteY24-7122" fmla="*/ 403377 h 729579"/>
              <a:gd name="connsiteX25-7123" fmla="*/ 0 w 1039179"/>
              <a:gd name="connsiteY25-7124" fmla="*/ 419276 h 729579"/>
              <a:gd name="connsiteX26-7125" fmla="*/ 77437 w 1039179"/>
              <a:gd name="connsiteY26-7126" fmla="*/ 563196 h 729579"/>
              <a:gd name="connsiteX27-7127" fmla="*/ 140227 w 1039179"/>
              <a:gd name="connsiteY27-7128" fmla="*/ 609744 h 729579"/>
              <a:gd name="connsiteX28-7129" fmla="*/ 243154 w 1039179"/>
              <a:gd name="connsiteY28-7130" fmla="*/ 729579 h 729579"/>
              <a:gd name="connsiteX29-7131" fmla="*/ 318522 w 1039179"/>
              <a:gd name="connsiteY29-7132" fmla="*/ 676324 h 729579"/>
              <a:gd name="connsiteX30-7133" fmla="*/ 366030 w 1039179"/>
              <a:gd name="connsiteY30-7134" fmla="*/ 554755 h 729579"/>
              <a:gd name="connsiteX31-7135" fmla="*/ 505685 w 1039179"/>
              <a:gd name="connsiteY31-7136" fmla="*/ 523317 h 729579"/>
              <a:gd name="connsiteX32-7137" fmla="*/ 525838 w 1039179"/>
              <a:gd name="connsiteY32-7138" fmla="*/ 528603 h 729579"/>
              <a:gd name="connsiteX33-7139" fmla="*/ 603174 w 1039179"/>
              <a:gd name="connsiteY33-7140" fmla="*/ 565847 h 729579"/>
              <a:gd name="connsiteX34-7141" fmla="*/ 652507 w 1039179"/>
              <a:gd name="connsiteY34-7142" fmla="*/ 621337 h 729579"/>
              <a:gd name="connsiteX35-7143" fmla="*/ 649635 w 1039179"/>
              <a:gd name="connsiteY35-7144" fmla="*/ 621337 h 729579"/>
              <a:gd name="connsiteX36-7145" fmla="*/ 687668 w 1039179"/>
              <a:gd name="connsiteY36-7146" fmla="*/ 654043 h 729579"/>
              <a:gd name="connsiteX37-7147" fmla="*/ 767548 w 1039179"/>
              <a:gd name="connsiteY37-7148" fmla="*/ 675561 h 729579"/>
              <a:gd name="connsiteX38-7149" fmla="*/ 760786 w 1039179"/>
              <a:gd name="connsiteY38-7150" fmla="*/ 561837 h 729579"/>
              <a:gd name="connsiteX39-7151" fmla="*/ 863868 w 1039179"/>
              <a:gd name="connsiteY39-7152" fmla="*/ 501158 h 729579"/>
              <a:gd name="connsiteX40-7153" fmla="*/ 932582 w 1039179"/>
              <a:gd name="connsiteY40-7154" fmla="*/ 559147 h 729579"/>
              <a:gd name="connsiteX41-7155" fmla="*/ 1039179 w 1039179"/>
              <a:gd name="connsiteY41-7156" fmla="*/ 435487 h 729579"/>
              <a:gd name="connsiteX42-7157" fmla="*/ 938561 w 1039179"/>
              <a:gd name="connsiteY42-7158" fmla="*/ 312203 h 729579"/>
              <a:gd name="connsiteX43-7159" fmla="*/ 931051 w 1039179"/>
              <a:gd name="connsiteY43-7160" fmla="*/ 353627 h 729579"/>
              <a:gd name="connsiteX0-7161" fmla="*/ 931051 w 1022885"/>
              <a:gd name="connsiteY0-7162" fmla="*/ 353627 h 729579"/>
              <a:gd name="connsiteX1-7163" fmla="*/ 1022885 w 1022885"/>
              <a:gd name="connsiteY1-7164" fmla="*/ 278823 h 729579"/>
              <a:gd name="connsiteX2-7165" fmla="*/ 944826 w 1022885"/>
              <a:gd name="connsiteY2-7166" fmla="*/ 178462 h 729579"/>
              <a:gd name="connsiteX3-7167" fmla="*/ 1022885 w 1022885"/>
              <a:gd name="connsiteY3-7168" fmla="*/ 167311 h 729579"/>
              <a:gd name="connsiteX4-7169" fmla="*/ 927994 w 1022885"/>
              <a:gd name="connsiteY4-7170" fmla="*/ 125469 h 729579"/>
              <a:gd name="connsiteX5-7171" fmla="*/ 1019937 w 1022885"/>
              <a:gd name="connsiteY5-7172" fmla="*/ 55756 h 729579"/>
              <a:gd name="connsiteX6-7173" fmla="*/ 929702 w 1022885"/>
              <a:gd name="connsiteY6-7174" fmla="*/ 13978 h 729579"/>
              <a:gd name="connsiteX7-7175" fmla="*/ 879077 w 1022885"/>
              <a:gd name="connsiteY7-7176" fmla="*/ 69157 h 729579"/>
              <a:gd name="connsiteX8-7177" fmla="*/ 790632 w 1022885"/>
              <a:gd name="connsiteY8-7178" fmla="*/ 69703 h 729579"/>
              <a:gd name="connsiteX9-7179" fmla="*/ 826991 w 1022885"/>
              <a:gd name="connsiteY9-7180" fmla="*/ 5644 h 729579"/>
              <a:gd name="connsiteX10-7181" fmla="*/ 709412 w 1022885"/>
              <a:gd name="connsiteY10-7182" fmla="*/ 0 h 729579"/>
              <a:gd name="connsiteX11-7183" fmla="*/ 622295 w 1022885"/>
              <a:gd name="connsiteY11-7184" fmla="*/ 33464 h 729579"/>
              <a:gd name="connsiteX12-7185" fmla="*/ 534966 w 1022885"/>
              <a:gd name="connsiteY12-7186" fmla="*/ 50207 h 729579"/>
              <a:gd name="connsiteX13-7187" fmla="*/ 456481 w 1022885"/>
              <a:gd name="connsiteY13-7188" fmla="*/ 16732 h 729579"/>
              <a:gd name="connsiteX14-7189" fmla="*/ 339926 w 1022885"/>
              <a:gd name="connsiteY14-7190" fmla="*/ 58573 h 729579"/>
              <a:gd name="connsiteX15-7191" fmla="*/ 354070 w 1022885"/>
              <a:gd name="connsiteY15-7192" fmla="*/ 97009 h 729579"/>
              <a:gd name="connsiteX16-7193" fmla="*/ 296647 w 1022885"/>
              <a:gd name="connsiteY16-7194" fmla="*/ 133216 h 729579"/>
              <a:gd name="connsiteX17-7195" fmla="*/ 286478 w 1022885"/>
              <a:gd name="connsiteY17-7196" fmla="*/ 234112 h 729579"/>
              <a:gd name="connsiteX18-7197" fmla="*/ 261013 w 1022885"/>
              <a:gd name="connsiteY18-7198" fmla="*/ 262080 h 729579"/>
              <a:gd name="connsiteX19-7199" fmla="*/ 181802 w 1022885"/>
              <a:gd name="connsiteY19-7200" fmla="*/ 205630 h 729579"/>
              <a:gd name="connsiteX20-7201" fmla="*/ 165907 w 1022885"/>
              <a:gd name="connsiteY20-7202" fmla="*/ 214681 h 729579"/>
              <a:gd name="connsiteX21-7203" fmla="*/ 207993 w 1022885"/>
              <a:gd name="connsiteY21-7204" fmla="*/ 306675 h 729579"/>
              <a:gd name="connsiteX22-7205" fmla="*/ 185690 w 1022885"/>
              <a:gd name="connsiteY22-7206" fmla="*/ 440500 h 729579"/>
              <a:gd name="connsiteX23-7207" fmla="*/ 79176 w 1022885"/>
              <a:gd name="connsiteY23-7208" fmla="*/ 463089 h 729579"/>
              <a:gd name="connsiteX24-7209" fmla="*/ 61488 w 1022885"/>
              <a:gd name="connsiteY24-7210" fmla="*/ 403377 h 729579"/>
              <a:gd name="connsiteX25-7211" fmla="*/ 0 w 1022885"/>
              <a:gd name="connsiteY25-7212" fmla="*/ 419276 h 729579"/>
              <a:gd name="connsiteX26-7213" fmla="*/ 77437 w 1022885"/>
              <a:gd name="connsiteY26-7214" fmla="*/ 563196 h 729579"/>
              <a:gd name="connsiteX27-7215" fmla="*/ 140227 w 1022885"/>
              <a:gd name="connsiteY27-7216" fmla="*/ 609744 h 729579"/>
              <a:gd name="connsiteX28-7217" fmla="*/ 243154 w 1022885"/>
              <a:gd name="connsiteY28-7218" fmla="*/ 729579 h 729579"/>
              <a:gd name="connsiteX29-7219" fmla="*/ 318522 w 1022885"/>
              <a:gd name="connsiteY29-7220" fmla="*/ 676324 h 729579"/>
              <a:gd name="connsiteX30-7221" fmla="*/ 366030 w 1022885"/>
              <a:gd name="connsiteY30-7222" fmla="*/ 554755 h 729579"/>
              <a:gd name="connsiteX31-7223" fmla="*/ 505685 w 1022885"/>
              <a:gd name="connsiteY31-7224" fmla="*/ 523317 h 729579"/>
              <a:gd name="connsiteX32-7225" fmla="*/ 525838 w 1022885"/>
              <a:gd name="connsiteY32-7226" fmla="*/ 528603 h 729579"/>
              <a:gd name="connsiteX33-7227" fmla="*/ 603174 w 1022885"/>
              <a:gd name="connsiteY33-7228" fmla="*/ 565847 h 729579"/>
              <a:gd name="connsiteX34-7229" fmla="*/ 652507 w 1022885"/>
              <a:gd name="connsiteY34-7230" fmla="*/ 621337 h 729579"/>
              <a:gd name="connsiteX35-7231" fmla="*/ 649635 w 1022885"/>
              <a:gd name="connsiteY35-7232" fmla="*/ 621337 h 729579"/>
              <a:gd name="connsiteX36-7233" fmla="*/ 687668 w 1022885"/>
              <a:gd name="connsiteY36-7234" fmla="*/ 654043 h 729579"/>
              <a:gd name="connsiteX37-7235" fmla="*/ 767548 w 1022885"/>
              <a:gd name="connsiteY37-7236" fmla="*/ 675561 h 729579"/>
              <a:gd name="connsiteX38-7237" fmla="*/ 760786 w 1022885"/>
              <a:gd name="connsiteY38-7238" fmla="*/ 561837 h 729579"/>
              <a:gd name="connsiteX39-7239" fmla="*/ 863868 w 1022885"/>
              <a:gd name="connsiteY39-7240" fmla="*/ 501158 h 729579"/>
              <a:gd name="connsiteX40-7241" fmla="*/ 932582 w 1022885"/>
              <a:gd name="connsiteY40-7242" fmla="*/ 559147 h 729579"/>
              <a:gd name="connsiteX41-7243" fmla="*/ 989959 w 1022885"/>
              <a:gd name="connsiteY41-7244" fmla="*/ 349147 h 729579"/>
              <a:gd name="connsiteX42-7245" fmla="*/ 938561 w 1022885"/>
              <a:gd name="connsiteY42-7246" fmla="*/ 312203 h 729579"/>
              <a:gd name="connsiteX43-7247" fmla="*/ 931051 w 1022885"/>
              <a:gd name="connsiteY43-7248" fmla="*/ 353627 h 729579"/>
              <a:gd name="connsiteX0-7249" fmla="*/ 931051 w 1022885"/>
              <a:gd name="connsiteY0-7250" fmla="*/ 353627 h 729579"/>
              <a:gd name="connsiteX1-7251" fmla="*/ 1022885 w 1022885"/>
              <a:gd name="connsiteY1-7252" fmla="*/ 278823 h 729579"/>
              <a:gd name="connsiteX2-7253" fmla="*/ 944826 w 1022885"/>
              <a:gd name="connsiteY2-7254" fmla="*/ 178462 h 729579"/>
              <a:gd name="connsiteX3-7255" fmla="*/ 1022885 w 1022885"/>
              <a:gd name="connsiteY3-7256" fmla="*/ 167311 h 729579"/>
              <a:gd name="connsiteX4-7257" fmla="*/ 927994 w 1022885"/>
              <a:gd name="connsiteY4-7258" fmla="*/ 125469 h 729579"/>
              <a:gd name="connsiteX5-7259" fmla="*/ 1019937 w 1022885"/>
              <a:gd name="connsiteY5-7260" fmla="*/ 55756 h 729579"/>
              <a:gd name="connsiteX6-7261" fmla="*/ 929702 w 1022885"/>
              <a:gd name="connsiteY6-7262" fmla="*/ 13978 h 729579"/>
              <a:gd name="connsiteX7-7263" fmla="*/ 879077 w 1022885"/>
              <a:gd name="connsiteY7-7264" fmla="*/ 69157 h 729579"/>
              <a:gd name="connsiteX8-7265" fmla="*/ 790632 w 1022885"/>
              <a:gd name="connsiteY8-7266" fmla="*/ 69703 h 729579"/>
              <a:gd name="connsiteX9-7267" fmla="*/ 826991 w 1022885"/>
              <a:gd name="connsiteY9-7268" fmla="*/ 5644 h 729579"/>
              <a:gd name="connsiteX10-7269" fmla="*/ 709412 w 1022885"/>
              <a:gd name="connsiteY10-7270" fmla="*/ 0 h 729579"/>
              <a:gd name="connsiteX11-7271" fmla="*/ 622295 w 1022885"/>
              <a:gd name="connsiteY11-7272" fmla="*/ 33464 h 729579"/>
              <a:gd name="connsiteX12-7273" fmla="*/ 534966 w 1022885"/>
              <a:gd name="connsiteY12-7274" fmla="*/ 50207 h 729579"/>
              <a:gd name="connsiteX13-7275" fmla="*/ 456481 w 1022885"/>
              <a:gd name="connsiteY13-7276" fmla="*/ 16732 h 729579"/>
              <a:gd name="connsiteX14-7277" fmla="*/ 339926 w 1022885"/>
              <a:gd name="connsiteY14-7278" fmla="*/ 58573 h 729579"/>
              <a:gd name="connsiteX15-7279" fmla="*/ 354070 w 1022885"/>
              <a:gd name="connsiteY15-7280" fmla="*/ 97009 h 729579"/>
              <a:gd name="connsiteX16-7281" fmla="*/ 296647 w 1022885"/>
              <a:gd name="connsiteY16-7282" fmla="*/ 133216 h 729579"/>
              <a:gd name="connsiteX17-7283" fmla="*/ 286478 w 1022885"/>
              <a:gd name="connsiteY17-7284" fmla="*/ 234112 h 729579"/>
              <a:gd name="connsiteX18-7285" fmla="*/ 261013 w 1022885"/>
              <a:gd name="connsiteY18-7286" fmla="*/ 262080 h 729579"/>
              <a:gd name="connsiteX19-7287" fmla="*/ 181802 w 1022885"/>
              <a:gd name="connsiteY19-7288" fmla="*/ 205630 h 729579"/>
              <a:gd name="connsiteX20-7289" fmla="*/ 165907 w 1022885"/>
              <a:gd name="connsiteY20-7290" fmla="*/ 214681 h 729579"/>
              <a:gd name="connsiteX21-7291" fmla="*/ 207993 w 1022885"/>
              <a:gd name="connsiteY21-7292" fmla="*/ 306675 h 729579"/>
              <a:gd name="connsiteX22-7293" fmla="*/ 185690 w 1022885"/>
              <a:gd name="connsiteY22-7294" fmla="*/ 440500 h 729579"/>
              <a:gd name="connsiteX23-7295" fmla="*/ 79176 w 1022885"/>
              <a:gd name="connsiteY23-7296" fmla="*/ 463089 h 729579"/>
              <a:gd name="connsiteX24-7297" fmla="*/ 61488 w 1022885"/>
              <a:gd name="connsiteY24-7298" fmla="*/ 403377 h 729579"/>
              <a:gd name="connsiteX25-7299" fmla="*/ 0 w 1022885"/>
              <a:gd name="connsiteY25-7300" fmla="*/ 419276 h 729579"/>
              <a:gd name="connsiteX26-7301" fmla="*/ 77437 w 1022885"/>
              <a:gd name="connsiteY26-7302" fmla="*/ 563196 h 729579"/>
              <a:gd name="connsiteX27-7303" fmla="*/ 140227 w 1022885"/>
              <a:gd name="connsiteY27-7304" fmla="*/ 609744 h 729579"/>
              <a:gd name="connsiteX28-7305" fmla="*/ 243154 w 1022885"/>
              <a:gd name="connsiteY28-7306" fmla="*/ 729579 h 729579"/>
              <a:gd name="connsiteX29-7307" fmla="*/ 318522 w 1022885"/>
              <a:gd name="connsiteY29-7308" fmla="*/ 676324 h 729579"/>
              <a:gd name="connsiteX30-7309" fmla="*/ 366030 w 1022885"/>
              <a:gd name="connsiteY30-7310" fmla="*/ 554755 h 729579"/>
              <a:gd name="connsiteX31-7311" fmla="*/ 505685 w 1022885"/>
              <a:gd name="connsiteY31-7312" fmla="*/ 523317 h 729579"/>
              <a:gd name="connsiteX32-7313" fmla="*/ 525838 w 1022885"/>
              <a:gd name="connsiteY32-7314" fmla="*/ 528603 h 729579"/>
              <a:gd name="connsiteX33-7315" fmla="*/ 603174 w 1022885"/>
              <a:gd name="connsiteY33-7316" fmla="*/ 565847 h 729579"/>
              <a:gd name="connsiteX34-7317" fmla="*/ 652507 w 1022885"/>
              <a:gd name="connsiteY34-7318" fmla="*/ 621337 h 729579"/>
              <a:gd name="connsiteX35-7319" fmla="*/ 649635 w 1022885"/>
              <a:gd name="connsiteY35-7320" fmla="*/ 621337 h 729579"/>
              <a:gd name="connsiteX36-7321" fmla="*/ 687668 w 1022885"/>
              <a:gd name="connsiteY36-7322" fmla="*/ 654043 h 729579"/>
              <a:gd name="connsiteX37-7323" fmla="*/ 767548 w 1022885"/>
              <a:gd name="connsiteY37-7324" fmla="*/ 675561 h 729579"/>
              <a:gd name="connsiteX38-7325" fmla="*/ 760786 w 1022885"/>
              <a:gd name="connsiteY38-7326" fmla="*/ 561837 h 729579"/>
              <a:gd name="connsiteX39-7327" fmla="*/ 863868 w 1022885"/>
              <a:gd name="connsiteY39-7328" fmla="*/ 501158 h 729579"/>
              <a:gd name="connsiteX40-7329" fmla="*/ 932582 w 1022885"/>
              <a:gd name="connsiteY40-7330" fmla="*/ 559147 h 729579"/>
              <a:gd name="connsiteX41-7331" fmla="*/ 989959 w 1022885"/>
              <a:gd name="connsiteY41-7332" fmla="*/ 349147 h 729579"/>
              <a:gd name="connsiteX42-7333" fmla="*/ 931051 w 1022885"/>
              <a:gd name="connsiteY42-7334" fmla="*/ 353627 h 729579"/>
              <a:gd name="connsiteX0-7335" fmla="*/ 906442 w 1022885"/>
              <a:gd name="connsiteY0-7336" fmla="*/ 342487 h 729579"/>
              <a:gd name="connsiteX1-7337" fmla="*/ 1022885 w 1022885"/>
              <a:gd name="connsiteY1-7338" fmla="*/ 278823 h 729579"/>
              <a:gd name="connsiteX2-7339" fmla="*/ 944826 w 1022885"/>
              <a:gd name="connsiteY2-7340" fmla="*/ 178462 h 729579"/>
              <a:gd name="connsiteX3-7341" fmla="*/ 1022885 w 1022885"/>
              <a:gd name="connsiteY3-7342" fmla="*/ 167311 h 729579"/>
              <a:gd name="connsiteX4-7343" fmla="*/ 927994 w 1022885"/>
              <a:gd name="connsiteY4-7344" fmla="*/ 125469 h 729579"/>
              <a:gd name="connsiteX5-7345" fmla="*/ 1019937 w 1022885"/>
              <a:gd name="connsiteY5-7346" fmla="*/ 55756 h 729579"/>
              <a:gd name="connsiteX6-7347" fmla="*/ 929702 w 1022885"/>
              <a:gd name="connsiteY6-7348" fmla="*/ 13978 h 729579"/>
              <a:gd name="connsiteX7-7349" fmla="*/ 879077 w 1022885"/>
              <a:gd name="connsiteY7-7350" fmla="*/ 69157 h 729579"/>
              <a:gd name="connsiteX8-7351" fmla="*/ 790632 w 1022885"/>
              <a:gd name="connsiteY8-7352" fmla="*/ 69703 h 729579"/>
              <a:gd name="connsiteX9-7353" fmla="*/ 826991 w 1022885"/>
              <a:gd name="connsiteY9-7354" fmla="*/ 5644 h 729579"/>
              <a:gd name="connsiteX10-7355" fmla="*/ 709412 w 1022885"/>
              <a:gd name="connsiteY10-7356" fmla="*/ 0 h 729579"/>
              <a:gd name="connsiteX11-7357" fmla="*/ 622295 w 1022885"/>
              <a:gd name="connsiteY11-7358" fmla="*/ 33464 h 729579"/>
              <a:gd name="connsiteX12-7359" fmla="*/ 534966 w 1022885"/>
              <a:gd name="connsiteY12-7360" fmla="*/ 50207 h 729579"/>
              <a:gd name="connsiteX13-7361" fmla="*/ 456481 w 1022885"/>
              <a:gd name="connsiteY13-7362" fmla="*/ 16732 h 729579"/>
              <a:gd name="connsiteX14-7363" fmla="*/ 339926 w 1022885"/>
              <a:gd name="connsiteY14-7364" fmla="*/ 58573 h 729579"/>
              <a:gd name="connsiteX15-7365" fmla="*/ 354070 w 1022885"/>
              <a:gd name="connsiteY15-7366" fmla="*/ 97009 h 729579"/>
              <a:gd name="connsiteX16-7367" fmla="*/ 296647 w 1022885"/>
              <a:gd name="connsiteY16-7368" fmla="*/ 133216 h 729579"/>
              <a:gd name="connsiteX17-7369" fmla="*/ 286478 w 1022885"/>
              <a:gd name="connsiteY17-7370" fmla="*/ 234112 h 729579"/>
              <a:gd name="connsiteX18-7371" fmla="*/ 261013 w 1022885"/>
              <a:gd name="connsiteY18-7372" fmla="*/ 262080 h 729579"/>
              <a:gd name="connsiteX19-7373" fmla="*/ 181802 w 1022885"/>
              <a:gd name="connsiteY19-7374" fmla="*/ 205630 h 729579"/>
              <a:gd name="connsiteX20-7375" fmla="*/ 165907 w 1022885"/>
              <a:gd name="connsiteY20-7376" fmla="*/ 214681 h 729579"/>
              <a:gd name="connsiteX21-7377" fmla="*/ 207993 w 1022885"/>
              <a:gd name="connsiteY21-7378" fmla="*/ 306675 h 729579"/>
              <a:gd name="connsiteX22-7379" fmla="*/ 185690 w 1022885"/>
              <a:gd name="connsiteY22-7380" fmla="*/ 440500 h 729579"/>
              <a:gd name="connsiteX23-7381" fmla="*/ 79176 w 1022885"/>
              <a:gd name="connsiteY23-7382" fmla="*/ 463089 h 729579"/>
              <a:gd name="connsiteX24-7383" fmla="*/ 61488 w 1022885"/>
              <a:gd name="connsiteY24-7384" fmla="*/ 403377 h 729579"/>
              <a:gd name="connsiteX25-7385" fmla="*/ 0 w 1022885"/>
              <a:gd name="connsiteY25-7386" fmla="*/ 419276 h 729579"/>
              <a:gd name="connsiteX26-7387" fmla="*/ 77437 w 1022885"/>
              <a:gd name="connsiteY26-7388" fmla="*/ 563196 h 729579"/>
              <a:gd name="connsiteX27-7389" fmla="*/ 140227 w 1022885"/>
              <a:gd name="connsiteY27-7390" fmla="*/ 609744 h 729579"/>
              <a:gd name="connsiteX28-7391" fmla="*/ 243154 w 1022885"/>
              <a:gd name="connsiteY28-7392" fmla="*/ 729579 h 729579"/>
              <a:gd name="connsiteX29-7393" fmla="*/ 318522 w 1022885"/>
              <a:gd name="connsiteY29-7394" fmla="*/ 676324 h 729579"/>
              <a:gd name="connsiteX30-7395" fmla="*/ 366030 w 1022885"/>
              <a:gd name="connsiteY30-7396" fmla="*/ 554755 h 729579"/>
              <a:gd name="connsiteX31-7397" fmla="*/ 505685 w 1022885"/>
              <a:gd name="connsiteY31-7398" fmla="*/ 523317 h 729579"/>
              <a:gd name="connsiteX32-7399" fmla="*/ 525838 w 1022885"/>
              <a:gd name="connsiteY32-7400" fmla="*/ 528603 h 729579"/>
              <a:gd name="connsiteX33-7401" fmla="*/ 603174 w 1022885"/>
              <a:gd name="connsiteY33-7402" fmla="*/ 565847 h 729579"/>
              <a:gd name="connsiteX34-7403" fmla="*/ 652507 w 1022885"/>
              <a:gd name="connsiteY34-7404" fmla="*/ 621337 h 729579"/>
              <a:gd name="connsiteX35-7405" fmla="*/ 649635 w 1022885"/>
              <a:gd name="connsiteY35-7406" fmla="*/ 621337 h 729579"/>
              <a:gd name="connsiteX36-7407" fmla="*/ 687668 w 1022885"/>
              <a:gd name="connsiteY36-7408" fmla="*/ 654043 h 729579"/>
              <a:gd name="connsiteX37-7409" fmla="*/ 767548 w 1022885"/>
              <a:gd name="connsiteY37-7410" fmla="*/ 675561 h 729579"/>
              <a:gd name="connsiteX38-7411" fmla="*/ 760786 w 1022885"/>
              <a:gd name="connsiteY38-7412" fmla="*/ 561837 h 729579"/>
              <a:gd name="connsiteX39-7413" fmla="*/ 863868 w 1022885"/>
              <a:gd name="connsiteY39-7414" fmla="*/ 501158 h 729579"/>
              <a:gd name="connsiteX40-7415" fmla="*/ 932582 w 1022885"/>
              <a:gd name="connsiteY40-7416" fmla="*/ 559147 h 729579"/>
              <a:gd name="connsiteX41-7417" fmla="*/ 989959 w 1022885"/>
              <a:gd name="connsiteY41-7418" fmla="*/ 349147 h 729579"/>
              <a:gd name="connsiteX42-7419" fmla="*/ 906442 w 1022885"/>
              <a:gd name="connsiteY42-7420" fmla="*/ 342487 h 729579"/>
              <a:gd name="connsiteX0-7421" fmla="*/ 906442 w 1022885"/>
              <a:gd name="connsiteY0-7422" fmla="*/ 342487 h 729579"/>
              <a:gd name="connsiteX1-7423" fmla="*/ 1022885 w 1022885"/>
              <a:gd name="connsiteY1-7424" fmla="*/ 278823 h 729579"/>
              <a:gd name="connsiteX2-7425" fmla="*/ 944826 w 1022885"/>
              <a:gd name="connsiteY2-7426" fmla="*/ 178462 h 729579"/>
              <a:gd name="connsiteX3-7427" fmla="*/ 1022885 w 1022885"/>
              <a:gd name="connsiteY3-7428" fmla="*/ 167311 h 729579"/>
              <a:gd name="connsiteX4-7429" fmla="*/ 927994 w 1022885"/>
              <a:gd name="connsiteY4-7430" fmla="*/ 125469 h 729579"/>
              <a:gd name="connsiteX5-7431" fmla="*/ 1019937 w 1022885"/>
              <a:gd name="connsiteY5-7432" fmla="*/ 55756 h 729579"/>
              <a:gd name="connsiteX6-7433" fmla="*/ 929702 w 1022885"/>
              <a:gd name="connsiteY6-7434" fmla="*/ 13978 h 729579"/>
              <a:gd name="connsiteX7-7435" fmla="*/ 879077 w 1022885"/>
              <a:gd name="connsiteY7-7436" fmla="*/ 69157 h 729579"/>
              <a:gd name="connsiteX8-7437" fmla="*/ 790632 w 1022885"/>
              <a:gd name="connsiteY8-7438" fmla="*/ 69703 h 729579"/>
              <a:gd name="connsiteX9-7439" fmla="*/ 826991 w 1022885"/>
              <a:gd name="connsiteY9-7440" fmla="*/ 5644 h 729579"/>
              <a:gd name="connsiteX10-7441" fmla="*/ 709412 w 1022885"/>
              <a:gd name="connsiteY10-7442" fmla="*/ 0 h 729579"/>
              <a:gd name="connsiteX11-7443" fmla="*/ 622295 w 1022885"/>
              <a:gd name="connsiteY11-7444" fmla="*/ 33464 h 729579"/>
              <a:gd name="connsiteX12-7445" fmla="*/ 534966 w 1022885"/>
              <a:gd name="connsiteY12-7446" fmla="*/ 50207 h 729579"/>
              <a:gd name="connsiteX13-7447" fmla="*/ 456481 w 1022885"/>
              <a:gd name="connsiteY13-7448" fmla="*/ 16732 h 729579"/>
              <a:gd name="connsiteX14-7449" fmla="*/ 339926 w 1022885"/>
              <a:gd name="connsiteY14-7450" fmla="*/ 58573 h 729579"/>
              <a:gd name="connsiteX15-7451" fmla="*/ 354070 w 1022885"/>
              <a:gd name="connsiteY15-7452" fmla="*/ 97009 h 729579"/>
              <a:gd name="connsiteX16-7453" fmla="*/ 296647 w 1022885"/>
              <a:gd name="connsiteY16-7454" fmla="*/ 133216 h 729579"/>
              <a:gd name="connsiteX17-7455" fmla="*/ 286478 w 1022885"/>
              <a:gd name="connsiteY17-7456" fmla="*/ 234112 h 729579"/>
              <a:gd name="connsiteX18-7457" fmla="*/ 261013 w 1022885"/>
              <a:gd name="connsiteY18-7458" fmla="*/ 262080 h 729579"/>
              <a:gd name="connsiteX19-7459" fmla="*/ 181802 w 1022885"/>
              <a:gd name="connsiteY19-7460" fmla="*/ 205630 h 729579"/>
              <a:gd name="connsiteX20-7461" fmla="*/ 165907 w 1022885"/>
              <a:gd name="connsiteY20-7462" fmla="*/ 214681 h 729579"/>
              <a:gd name="connsiteX21-7463" fmla="*/ 207993 w 1022885"/>
              <a:gd name="connsiteY21-7464" fmla="*/ 306675 h 729579"/>
              <a:gd name="connsiteX22-7465" fmla="*/ 185690 w 1022885"/>
              <a:gd name="connsiteY22-7466" fmla="*/ 440500 h 729579"/>
              <a:gd name="connsiteX23-7467" fmla="*/ 79176 w 1022885"/>
              <a:gd name="connsiteY23-7468" fmla="*/ 463089 h 729579"/>
              <a:gd name="connsiteX24-7469" fmla="*/ 61488 w 1022885"/>
              <a:gd name="connsiteY24-7470" fmla="*/ 403377 h 729579"/>
              <a:gd name="connsiteX25-7471" fmla="*/ 0 w 1022885"/>
              <a:gd name="connsiteY25-7472" fmla="*/ 419276 h 729579"/>
              <a:gd name="connsiteX26-7473" fmla="*/ 77437 w 1022885"/>
              <a:gd name="connsiteY26-7474" fmla="*/ 563196 h 729579"/>
              <a:gd name="connsiteX27-7475" fmla="*/ 140227 w 1022885"/>
              <a:gd name="connsiteY27-7476" fmla="*/ 609744 h 729579"/>
              <a:gd name="connsiteX28-7477" fmla="*/ 243154 w 1022885"/>
              <a:gd name="connsiteY28-7478" fmla="*/ 729579 h 729579"/>
              <a:gd name="connsiteX29-7479" fmla="*/ 318522 w 1022885"/>
              <a:gd name="connsiteY29-7480" fmla="*/ 676324 h 729579"/>
              <a:gd name="connsiteX30-7481" fmla="*/ 366030 w 1022885"/>
              <a:gd name="connsiteY30-7482" fmla="*/ 554755 h 729579"/>
              <a:gd name="connsiteX31-7483" fmla="*/ 505685 w 1022885"/>
              <a:gd name="connsiteY31-7484" fmla="*/ 523317 h 729579"/>
              <a:gd name="connsiteX32-7485" fmla="*/ 525838 w 1022885"/>
              <a:gd name="connsiteY32-7486" fmla="*/ 528603 h 729579"/>
              <a:gd name="connsiteX33-7487" fmla="*/ 603174 w 1022885"/>
              <a:gd name="connsiteY33-7488" fmla="*/ 565847 h 729579"/>
              <a:gd name="connsiteX34-7489" fmla="*/ 652507 w 1022885"/>
              <a:gd name="connsiteY34-7490" fmla="*/ 621337 h 729579"/>
              <a:gd name="connsiteX35-7491" fmla="*/ 649635 w 1022885"/>
              <a:gd name="connsiteY35-7492" fmla="*/ 621337 h 729579"/>
              <a:gd name="connsiteX36-7493" fmla="*/ 687668 w 1022885"/>
              <a:gd name="connsiteY36-7494" fmla="*/ 654043 h 729579"/>
              <a:gd name="connsiteX37-7495" fmla="*/ 767548 w 1022885"/>
              <a:gd name="connsiteY37-7496" fmla="*/ 675561 h 729579"/>
              <a:gd name="connsiteX38-7497" fmla="*/ 760786 w 1022885"/>
              <a:gd name="connsiteY38-7498" fmla="*/ 561837 h 729579"/>
              <a:gd name="connsiteX39-7499" fmla="*/ 863868 w 1022885"/>
              <a:gd name="connsiteY39-7500" fmla="*/ 501158 h 729579"/>
              <a:gd name="connsiteX40-7501" fmla="*/ 932582 w 1022885"/>
              <a:gd name="connsiteY40-7502" fmla="*/ 559147 h 729579"/>
              <a:gd name="connsiteX41-7503" fmla="*/ 989959 w 1022885"/>
              <a:gd name="connsiteY41-7504" fmla="*/ 349147 h 729579"/>
              <a:gd name="connsiteX42-7505" fmla="*/ 906442 w 1022885"/>
              <a:gd name="connsiteY42-7506" fmla="*/ 342487 h 729579"/>
              <a:gd name="connsiteX0-7507" fmla="*/ 911911 w 1022885"/>
              <a:gd name="connsiteY0-7508" fmla="*/ 353628 h 729579"/>
              <a:gd name="connsiteX1-7509" fmla="*/ 1022885 w 1022885"/>
              <a:gd name="connsiteY1-7510" fmla="*/ 278823 h 729579"/>
              <a:gd name="connsiteX2-7511" fmla="*/ 944826 w 1022885"/>
              <a:gd name="connsiteY2-7512" fmla="*/ 178462 h 729579"/>
              <a:gd name="connsiteX3-7513" fmla="*/ 1022885 w 1022885"/>
              <a:gd name="connsiteY3-7514" fmla="*/ 167311 h 729579"/>
              <a:gd name="connsiteX4-7515" fmla="*/ 927994 w 1022885"/>
              <a:gd name="connsiteY4-7516" fmla="*/ 125469 h 729579"/>
              <a:gd name="connsiteX5-7517" fmla="*/ 1019937 w 1022885"/>
              <a:gd name="connsiteY5-7518" fmla="*/ 55756 h 729579"/>
              <a:gd name="connsiteX6-7519" fmla="*/ 929702 w 1022885"/>
              <a:gd name="connsiteY6-7520" fmla="*/ 13978 h 729579"/>
              <a:gd name="connsiteX7-7521" fmla="*/ 879077 w 1022885"/>
              <a:gd name="connsiteY7-7522" fmla="*/ 69157 h 729579"/>
              <a:gd name="connsiteX8-7523" fmla="*/ 790632 w 1022885"/>
              <a:gd name="connsiteY8-7524" fmla="*/ 69703 h 729579"/>
              <a:gd name="connsiteX9-7525" fmla="*/ 826991 w 1022885"/>
              <a:gd name="connsiteY9-7526" fmla="*/ 5644 h 729579"/>
              <a:gd name="connsiteX10-7527" fmla="*/ 709412 w 1022885"/>
              <a:gd name="connsiteY10-7528" fmla="*/ 0 h 729579"/>
              <a:gd name="connsiteX11-7529" fmla="*/ 622295 w 1022885"/>
              <a:gd name="connsiteY11-7530" fmla="*/ 33464 h 729579"/>
              <a:gd name="connsiteX12-7531" fmla="*/ 534966 w 1022885"/>
              <a:gd name="connsiteY12-7532" fmla="*/ 50207 h 729579"/>
              <a:gd name="connsiteX13-7533" fmla="*/ 456481 w 1022885"/>
              <a:gd name="connsiteY13-7534" fmla="*/ 16732 h 729579"/>
              <a:gd name="connsiteX14-7535" fmla="*/ 339926 w 1022885"/>
              <a:gd name="connsiteY14-7536" fmla="*/ 58573 h 729579"/>
              <a:gd name="connsiteX15-7537" fmla="*/ 354070 w 1022885"/>
              <a:gd name="connsiteY15-7538" fmla="*/ 97009 h 729579"/>
              <a:gd name="connsiteX16-7539" fmla="*/ 296647 w 1022885"/>
              <a:gd name="connsiteY16-7540" fmla="*/ 133216 h 729579"/>
              <a:gd name="connsiteX17-7541" fmla="*/ 286478 w 1022885"/>
              <a:gd name="connsiteY17-7542" fmla="*/ 234112 h 729579"/>
              <a:gd name="connsiteX18-7543" fmla="*/ 261013 w 1022885"/>
              <a:gd name="connsiteY18-7544" fmla="*/ 262080 h 729579"/>
              <a:gd name="connsiteX19-7545" fmla="*/ 181802 w 1022885"/>
              <a:gd name="connsiteY19-7546" fmla="*/ 205630 h 729579"/>
              <a:gd name="connsiteX20-7547" fmla="*/ 165907 w 1022885"/>
              <a:gd name="connsiteY20-7548" fmla="*/ 214681 h 729579"/>
              <a:gd name="connsiteX21-7549" fmla="*/ 207993 w 1022885"/>
              <a:gd name="connsiteY21-7550" fmla="*/ 306675 h 729579"/>
              <a:gd name="connsiteX22-7551" fmla="*/ 185690 w 1022885"/>
              <a:gd name="connsiteY22-7552" fmla="*/ 440500 h 729579"/>
              <a:gd name="connsiteX23-7553" fmla="*/ 79176 w 1022885"/>
              <a:gd name="connsiteY23-7554" fmla="*/ 463089 h 729579"/>
              <a:gd name="connsiteX24-7555" fmla="*/ 61488 w 1022885"/>
              <a:gd name="connsiteY24-7556" fmla="*/ 403377 h 729579"/>
              <a:gd name="connsiteX25-7557" fmla="*/ 0 w 1022885"/>
              <a:gd name="connsiteY25-7558" fmla="*/ 419276 h 729579"/>
              <a:gd name="connsiteX26-7559" fmla="*/ 77437 w 1022885"/>
              <a:gd name="connsiteY26-7560" fmla="*/ 563196 h 729579"/>
              <a:gd name="connsiteX27-7561" fmla="*/ 140227 w 1022885"/>
              <a:gd name="connsiteY27-7562" fmla="*/ 609744 h 729579"/>
              <a:gd name="connsiteX28-7563" fmla="*/ 243154 w 1022885"/>
              <a:gd name="connsiteY28-7564" fmla="*/ 729579 h 729579"/>
              <a:gd name="connsiteX29-7565" fmla="*/ 318522 w 1022885"/>
              <a:gd name="connsiteY29-7566" fmla="*/ 676324 h 729579"/>
              <a:gd name="connsiteX30-7567" fmla="*/ 366030 w 1022885"/>
              <a:gd name="connsiteY30-7568" fmla="*/ 554755 h 729579"/>
              <a:gd name="connsiteX31-7569" fmla="*/ 505685 w 1022885"/>
              <a:gd name="connsiteY31-7570" fmla="*/ 523317 h 729579"/>
              <a:gd name="connsiteX32-7571" fmla="*/ 525838 w 1022885"/>
              <a:gd name="connsiteY32-7572" fmla="*/ 528603 h 729579"/>
              <a:gd name="connsiteX33-7573" fmla="*/ 603174 w 1022885"/>
              <a:gd name="connsiteY33-7574" fmla="*/ 565847 h 729579"/>
              <a:gd name="connsiteX34-7575" fmla="*/ 652507 w 1022885"/>
              <a:gd name="connsiteY34-7576" fmla="*/ 621337 h 729579"/>
              <a:gd name="connsiteX35-7577" fmla="*/ 649635 w 1022885"/>
              <a:gd name="connsiteY35-7578" fmla="*/ 621337 h 729579"/>
              <a:gd name="connsiteX36-7579" fmla="*/ 687668 w 1022885"/>
              <a:gd name="connsiteY36-7580" fmla="*/ 654043 h 729579"/>
              <a:gd name="connsiteX37-7581" fmla="*/ 767548 w 1022885"/>
              <a:gd name="connsiteY37-7582" fmla="*/ 675561 h 729579"/>
              <a:gd name="connsiteX38-7583" fmla="*/ 760786 w 1022885"/>
              <a:gd name="connsiteY38-7584" fmla="*/ 561837 h 729579"/>
              <a:gd name="connsiteX39-7585" fmla="*/ 863868 w 1022885"/>
              <a:gd name="connsiteY39-7586" fmla="*/ 501158 h 729579"/>
              <a:gd name="connsiteX40-7587" fmla="*/ 932582 w 1022885"/>
              <a:gd name="connsiteY40-7588" fmla="*/ 559147 h 729579"/>
              <a:gd name="connsiteX41-7589" fmla="*/ 989959 w 1022885"/>
              <a:gd name="connsiteY41-7590" fmla="*/ 349147 h 729579"/>
              <a:gd name="connsiteX42-7591" fmla="*/ 911911 w 1022885"/>
              <a:gd name="connsiteY42-7592" fmla="*/ 353628 h 729579"/>
              <a:gd name="connsiteX0-7593" fmla="*/ 911911 w 1022885"/>
              <a:gd name="connsiteY0-7594" fmla="*/ 345273 h 729579"/>
              <a:gd name="connsiteX1-7595" fmla="*/ 1022885 w 1022885"/>
              <a:gd name="connsiteY1-7596" fmla="*/ 278823 h 729579"/>
              <a:gd name="connsiteX2-7597" fmla="*/ 944826 w 1022885"/>
              <a:gd name="connsiteY2-7598" fmla="*/ 178462 h 729579"/>
              <a:gd name="connsiteX3-7599" fmla="*/ 1022885 w 1022885"/>
              <a:gd name="connsiteY3-7600" fmla="*/ 167311 h 729579"/>
              <a:gd name="connsiteX4-7601" fmla="*/ 927994 w 1022885"/>
              <a:gd name="connsiteY4-7602" fmla="*/ 125469 h 729579"/>
              <a:gd name="connsiteX5-7603" fmla="*/ 1019937 w 1022885"/>
              <a:gd name="connsiteY5-7604" fmla="*/ 55756 h 729579"/>
              <a:gd name="connsiteX6-7605" fmla="*/ 929702 w 1022885"/>
              <a:gd name="connsiteY6-7606" fmla="*/ 13978 h 729579"/>
              <a:gd name="connsiteX7-7607" fmla="*/ 879077 w 1022885"/>
              <a:gd name="connsiteY7-7608" fmla="*/ 69157 h 729579"/>
              <a:gd name="connsiteX8-7609" fmla="*/ 790632 w 1022885"/>
              <a:gd name="connsiteY8-7610" fmla="*/ 69703 h 729579"/>
              <a:gd name="connsiteX9-7611" fmla="*/ 826991 w 1022885"/>
              <a:gd name="connsiteY9-7612" fmla="*/ 5644 h 729579"/>
              <a:gd name="connsiteX10-7613" fmla="*/ 709412 w 1022885"/>
              <a:gd name="connsiteY10-7614" fmla="*/ 0 h 729579"/>
              <a:gd name="connsiteX11-7615" fmla="*/ 622295 w 1022885"/>
              <a:gd name="connsiteY11-7616" fmla="*/ 33464 h 729579"/>
              <a:gd name="connsiteX12-7617" fmla="*/ 534966 w 1022885"/>
              <a:gd name="connsiteY12-7618" fmla="*/ 50207 h 729579"/>
              <a:gd name="connsiteX13-7619" fmla="*/ 456481 w 1022885"/>
              <a:gd name="connsiteY13-7620" fmla="*/ 16732 h 729579"/>
              <a:gd name="connsiteX14-7621" fmla="*/ 339926 w 1022885"/>
              <a:gd name="connsiteY14-7622" fmla="*/ 58573 h 729579"/>
              <a:gd name="connsiteX15-7623" fmla="*/ 354070 w 1022885"/>
              <a:gd name="connsiteY15-7624" fmla="*/ 97009 h 729579"/>
              <a:gd name="connsiteX16-7625" fmla="*/ 296647 w 1022885"/>
              <a:gd name="connsiteY16-7626" fmla="*/ 133216 h 729579"/>
              <a:gd name="connsiteX17-7627" fmla="*/ 286478 w 1022885"/>
              <a:gd name="connsiteY17-7628" fmla="*/ 234112 h 729579"/>
              <a:gd name="connsiteX18-7629" fmla="*/ 261013 w 1022885"/>
              <a:gd name="connsiteY18-7630" fmla="*/ 262080 h 729579"/>
              <a:gd name="connsiteX19-7631" fmla="*/ 181802 w 1022885"/>
              <a:gd name="connsiteY19-7632" fmla="*/ 205630 h 729579"/>
              <a:gd name="connsiteX20-7633" fmla="*/ 165907 w 1022885"/>
              <a:gd name="connsiteY20-7634" fmla="*/ 214681 h 729579"/>
              <a:gd name="connsiteX21-7635" fmla="*/ 207993 w 1022885"/>
              <a:gd name="connsiteY21-7636" fmla="*/ 306675 h 729579"/>
              <a:gd name="connsiteX22-7637" fmla="*/ 185690 w 1022885"/>
              <a:gd name="connsiteY22-7638" fmla="*/ 440500 h 729579"/>
              <a:gd name="connsiteX23-7639" fmla="*/ 79176 w 1022885"/>
              <a:gd name="connsiteY23-7640" fmla="*/ 463089 h 729579"/>
              <a:gd name="connsiteX24-7641" fmla="*/ 61488 w 1022885"/>
              <a:gd name="connsiteY24-7642" fmla="*/ 403377 h 729579"/>
              <a:gd name="connsiteX25-7643" fmla="*/ 0 w 1022885"/>
              <a:gd name="connsiteY25-7644" fmla="*/ 419276 h 729579"/>
              <a:gd name="connsiteX26-7645" fmla="*/ 77437 w 1022885"/>
              <a:gd name="connsiteY26-7646" fmla="*/ 563196 h 729579"/>
              <a:gd name="connsiteX27-7647" fmla="*/ 140227 w 1022885"/>
              <a:gd name="connsiteY27-7648" fmla="*/ 609744 h 729579"/>
              <a:gd name="connsiteX28-7649" fmla="*/ 243154 w 1022885"/>
              <a:gd name="connsiteY28-7650" fmla="*/ 729579 h 729579"/>
              <a:gd name="connsiteX29-7651" fmla="*/ 318522 w 1022885"/>
              <a:gd name="connsiteY29-7652" fmla="*/ 676324 h 729579"/>
              <a:gd name="connsiteX30-7653" fmla="*/ 366030 w 1022885"/>
              <a:gd name="connsiteY30-7654" fmla="*/ 554755 h 729579"/>
              <a:gd name="connsiteX31-7655" fmla="*/ 505685 w 1022885"/>
              <a:gd name="connsiteY31-7656" fmla="*/ 523317 h 729579"/>
              <a:gd name="connsiteX32-7657" fmla="*/ 525838 w 1022885"/>
              <a:gd name="connsiteY32-7658" fmla="*/ 528603 h 729579"/>
              <a:gd name="connsiteX33-7659" fmla="*/ 603174 w 1022885"/>
              <a:gd name="connsiteY33-7660" fmla="*/ 565847 h 729579"/>
              <a:gd name="connsiteX34-7661" fmla="*/ 652507 w 1022885"/>
              <a:gd name="connsiteY34-7662" fmla="*/ 621337 h 729579"/>
              <a:gd name="connsiteX35-7663" fmla="*/ 649635 w 1022885"/>
              <a:gd name="connsiteY35-7664" fmla="*/ 621337 h 729579"/>
              <a:gd name="connsiteX36-7665" fmla="*/ 687668 w 1022885"/>
              <a:gd name="connsiteY36-7666" fmla="*/ 654043 h 729579"/>
              <a:gd name="connsiteX37-7667" fmla="*/ 767548 w 1022885"/>
              <a:gd name="connsiteY37-7668" fmla="*/ 675561 h 729579"/>
              <a:gd name="connsiteX38-7669" fmla="*/ 760786 w 1022885"/>
              <a:gd name="connsiteY38-7670" fmla="*/ 561837 h 729579"/>
              <a:gd name="connsiteX39-7671" fmla="*/ 863868 w 1022885"/>
              <a:gd name="connsiteY39-7672" fmla="*/ 501158 h 729579"/>
              <a:gd name="connsiteX40-7673" fmla="*/ 932582 w 1022885"/>
              <a:gd name="connsiteY40-7674" fmla="*/ 559147 h 729579"/>
              <a:gd name="connsiteX41-7675" fmla="*/ 989959 w 1022885"/>
              <a:gd name="connsiteY41-7676" fmla="*/ 349147 h 729579"/>
              <a:gd name="connsiteX42-7677" fmla="*/ 911911 w 1022885"/>
              <a:gd name="connsiteY42-7678" fmla="*/ 345273 h 729579"/>
              <a:gd name="connsiteX0-7679" fmla="*/ 911911 w 1022885"/>
              <a:gd name="connsiteY0-7680" fmla="*/ 345273 h 729579"/>
              <a:gd name="connsiteX1-7681" fmla="*/ 998275 w 1022885"/>
              <a:gd name="connsiteY1-7682" fmla="*/ 281607 h 729579"/>
              <a:gd name="connsiteX2-7683" fmla="*/ 944826 w 1022885"/>
              <a:gd name="connsiteY2-7684" fmla="*/ 178462 h 729579"/>
              <a:gd name="connsiteX3-7685" fmla="*/ 1022885 w 1022885"/>
              <a:gd name="connsiteY3-7686" fmla="*/ 167311 h 729579"/>
              <a:gd name="connsiteX4-7687" fmla="*/ 927994 w 1022885"/>
              <a:gd name="connsiteY4-7688" fmla="*/ 125469 h 729579"/>
              <a:gd name="connsiteX5-7689" fmla="*/ 1019937 w 1022885"/>
              <a:gd name="connsiteY5-7690" fmla="*/ 55756 h 729579"/>
              <a:gd name="connsiteX6-7691" fmla="*/ 929702 w 1022885"/>
              <a:gd name="connsiteY6-7692" fmla="*/ 13978 h 729579"/>
              <a:gd name="connsiteX7-7693" fmla="*/ 879077 w 1022885"/>
              <a:gd name="connsiteY7-7694" fmla="*/ 69157 h 729579"/>
              <a:gd name="connsiteX8-7695" fmla="*/ 790632 w 1022885"/>
              <a:gd name="connsiteY8-7696" fmla="*/ 69703 h 729579"/>
              <a:gd name="connsiteX9-7697" fmla="*/ 826991 w 1022885"/>
              <a:gd name="connsiteY9-7698" fmla="*/ 5644 h 729579"/>
              <a:gd name="connsiteX10-7699" fmla="*/ 709412 w 1022885"/>
              <a:gd name="connsiteY10-7700" fmla="*/ 0 h 729579"/>
              <a:gd name="connsiteX11-7701" fmla="*/ 622295 w 1022885"/>
              <a:gd name="connsiteY11-7702" fmla="*/ 33464 h 729579"/>
              <a:gd name="connsiteX12-7703" fmla="*/ 534966 w 1022885"/>
              <a:gd name="connsiteY12-7704" fmla="*/ 50207 h 729579"/>
              <a:gd name="connsiteX13-7705" fmla="*/ 456481 w 1022885"/>
              <a:gd name="connsiteY13-7706" fmla="*/ 16732 h 729579"/>
              <a:gd name="connsiteX14-7707" fmla="*/ 339926 w 1022885"/>
              <a:gd name="connsiteY14-7708" fmla="*/ 58573 h 729579"/>
              <a:gd name="connsiteX15-7709" fmla="*/ 354070 w 1022885"/>
              <a:gd name="connsiteY15-7710" fmla="*/ 97009 h 729579"/>
              <a:gd name="connsiteX16-7711" fmla="*/ 296647 w 1022885"/>
              <a:gd name="connsiteY16-7712" fmla="*/ 133216 h 729579"/>
              <a:gd name="connsiteX17-7713" fmla="*/ 286478 w 1022885"/>
              <a:gd name="connsiteY17-7714" fmla="*/ 234112 h 729579"/>
              <a:gd name="connsiteX18-7715" fmla="*/ 261013 w 1022885"/>
              <a:gd name="connsiteY18-7716" fmla="*/ 262080 h 729579"/>
              <a:gd name="connsiteX19-7717" fmla="*/ 181802 w 1022885"/>
              <a:gd name="connsiteY19-7718" fmla="*/ 205630 h 729579"/>
              <a:gd name="connsiteX20-7719" fmla="*/ 165907 w 1022885"/>
              <a:gd name="connsiteY20-7720" fmla="*/ 214681 h 729579"/>
              <a:gd name="connsiteX21-7721" fmla="*/ 207993 w 1022885"/>
              <a:gd name="connsiteY21-7722" fmla="*/ 306675 h 729579"/>
              <a:gd name="connsiteX22-7723" fmla="*/ 185690 w 1022885"/>
              <a:gd name="connsiteY22-7724" fmla="*/ 440500 h 729579"/>
              <a:gd name="connsiteX23-7725" fmla="*/ 79176 w 1022885"/>
              <a:gd name="connsiteY23-7726" fmla="*/ 463089 h 729579"/>
              <a:gd name="connsiteX24-7727" fmla="*/ 61488 w 1022885"/>
              <a:gd name="connsiteY24-7728" fmla="*/ 403377 h 729579"/>
              <a:gd name="connsiteX25-7729" fmla="*/ 0 w 1022885"/>
              <a:gd name="connsiteY25-7730" fmla="*/ 419276 h 729579"/>
              <a:gd name="connsiteX26-7731" fmla="*/ 77437 w 1022885"/>
              <a:gd name="connsiteY26-7732" fmla="*/ 563196 h 729579"/>
              <a:gd name="connsiteX27-7733" fmla="*/ 140227 w 1022885"/>
              <a:gd name="connsiteY27-7734" fmla="*/ 609744 h 729579"/>
              <a:gd name="connsiteX28-7735" fmla="*/ 243154 w 1022885"/>
              <a:gd name="connsiteY28-7736" fmla="*/ 729579 h 729579"/>
              <a:gd name="connsiteX29-7737" fmla="*/ 318522 w 1022885"/>
              <a:gd name="connsiteY29-7738" fmla="*/ 676324 h 729579"/>
              <a:gd name="connsiteX30-7739" fmla="*/ 366030 w 1022885"/>
              <a:gd name="connsiteY30-7740" fmla="*/ 554755 h 729579"/>
              <a:gd name="connsiteX31-7741" fmla="*/ 505685 w 1022885"/>
              <a:gd name="connsiteY31-7742" fmla="*/ 523317 h 729579"/>
              <a:gd name="connsiteX32-7743" fmla="*/ 525838 w 1022885"/>
              <a:gd name="connsiteY32-7744" fmla="*/ 528603 h 729579"/>
              <a:gd name="connsiteX33-7745" fmla="*/ 603174 w 1022885"/>
              <a:gd name="connsiteY33-7746" fmla="*/ 565847 h 729579"/>
              <a:gd name="connsiteX34-7747" fmla="*/ 652507 w 1022885"/>
              <a:gd name="connsiteY34-7748" fmla="*/ 621337 h 729579"/>
              <a:gd name="connsiteX35-7749" fmla="*/ 649635 w 1022885"/>
              <a:gd name="connsiteY35-7750" fmla="*/ 621337 h 729579"/>
              <a:gd name="connsiteX36-7751" fmla="*/ 687668 w 1022885"/>
              <a:gd name="connsiteY36-7752" fmla="*/ 654043 h 729579"/>
              <a:gd name="connsiteX37-7753" fmla="*/ 767548 w 1022885"/>
              <a:gd name="connsiteY37-7754" fmla="*/ 675561 h 729579"/>
              <a:gd name="connsiteX38-7755" fmla="*/ 760786 w 1022885"/>
              <a:gd name="connsiteY38-7756" fmla="*/ 561837 h 729579"/>
              <a:gd name="connsiteX39-7757" fmla="*/ 863868 w 1022885"/>
              <a:gd name="connsiteY39-7758" fmla="*/ 501158 h 729579"/>
              <a:gd name="connsiteX40-7759" fmla="*/ 932582 w 1022885"/>
              <a:gd name="connsiteY40-7760" fmla="*/ 559147 h 729579"/>
              <a:gd name="connsiteX41-7761" fmla="*/ 989959 w 1022885"/>
              <a:gd name="connsiteY41-7762" fmla="*/ 349147 h 729579"/>
              <a:gd name="connsiteX42-7763" fmla="*/ 911911 w 1022885"/>
              <a:gd name="connsiteY42-7764" fmla="*/ 345273 h 729579"/>
              <a:gd name="connsiteX0-7765" fmla="*/ 911911 w 1022885"/>
              <a:gd name="connsiteY0-7766" fmla="*/ 345273 h 729579"/>
              <a:gd name="connsiteX1-7767" fmla="*/ 998275 w 1022885"/>
              <a:gd name="connsiteY1-7768" fmla="*/ 281607 h 729579"/>
              <a:gd name="connsiteX2-7769" fmla="*/ 942091 w 1022885"/>
              <a:gd name="connsiteY2-7770" fmla="*/ 203529 h 729579"/>
              <a:gd name="connsiteX3-7771" fmla="*/ 1022885 w 1022885"/>
              <a:gd name="connsiteY3-7772" fmla="*/ 167311 h 729579"/>
              <a:gd name="connsiteX4-7773" fmla="*/ 927994 w 1022885"/>
              <a:gd name="connsiteY4-7774" fmla="*/ 125469 h 729579"/>
              <a:gd name="connsiteX5-7775" fmla="*/ 1019937 w 1022885"/>
              <a:gd name="connsiteY5-7776" fmla="*/ 55756 h 729579"/>
              <a:gd name="connsiteX6-7777" fmla="*/ 929702 w 1022885"/>
              <a:gd name="connsiteY6-7778" fmla="*/ 13978 h 729579"/>
              <a:gd name="connsiteX7-7779" fmla="*/ 879077 w 1022885"/>
              <a:gd name="connsiteY7-7780" fmla="*/ 69157 h 729579"/>
              <a:gd name="connsiteX8-7781" fmla="*/ 790632 w 1022885"/>
              <a:gd name="connsiteY8-7782" fmla="*/ 69703 h 729579"/>
              <a:gd name="connsiteX9-7783" fmla="*/ 826991 w 1022885"/>
              <a:gd name="connsiteY9-7784" fmla="*/ 5644 h 729579"/>
              <a:gd name="connsiteX10-7785" fmla="*/ 709412 w 1022885"/>
              <a:gd name="connsiteY10-7786" fmla="*/ 0 h 729579"/>
              <a:gd name="connsiteX11-7787" fmla="*/ 622295 w 1022885"/>
              <a:gd name="connsiteY11-7788" fmla="*/ 33464 h 729579"/>
              <a:gd name="connsiteX12-7789" fmla="*/ 534966 w 1022885"/>
              <a:gd name="connsiteY12-7790" fmla="*/ 50207 h 729579"/>
              <a:gd name="connsiteX13-7791" fmla="*/ 456481 w 1022885"/>
              <a:gd name="connsiteY13-7792" fmla="*/ 16732 h 729579"/>
              <a:gd name="connsiteX14-7793" fmla="*/ 339926 w 1022885"/>
              <a:gd name="connsiteY14-7794" fmla="*/ 58573 h 729579"/>
              <a:gd name="connsiteX15-7795" fmla="*/ 354070 w 1022885"/>
              <a:gd name="connsiteY15-7796" fmla="*/ 97009 h 729579"/>
              <a:gd name="connsiteX16-7797" fmla="*/ 296647 w 1022885"/>
              <a:gd name="connsiteY16-7798" fmla="*/ 133216 h 729579"/>
              <a:gd name="connsiteX17-7799" fmla="*/ 286478 w 1022885"/>
              <a:gd name="connsiteY17-7800" fmla="*/ 234112 h 729579"/>
              <a:gd name="connsiteX18-7801" fmla="*/ 261013 w 1022885"/>
              <a:gd name="connsiteY18-7802" fmla="*/ 262080 h 729579"/>
              <a:gd name="connsiteX19-7803" fmla="*/ 181802 w 1022885"/>
              <a:gd name="connsiteY19-7804" fmla="*/ 205630 h 729579"/>
              <a:gd name="connsiteX20-7805" fmla="*/ 165907 w 1022885"/>
              <a:gd name="connsiteY20-7806" fmla="*/ 214681 h 729579"/>
              <a:gd name="connsiteX21-7807" fmla="*/ 207993 w 1022885"/>
              <a:gd name="connsiteY21-7808" fmla="*/ 306675 h 729579"/>
              <a:gd name="connsiteX22-7809" fmla="*/ 185690 w 1022885"/>
              <a:gd name="connsiteY22-7810" fmla="*/ 440500 h 729579"/>
              <a:gd name="connsiteX23-7811" fmla="*/ 79176 w 1022885"/>
              <a:gd name="connsiteY23-7812" fmla="*/ 463089 h 729579"/>
              <a:gd name="connsiteX24-7813" fmla="*/ 61488 w 1022885"/>
              <a:gd name="connsiteY24-7814" fmla="*/ 403377 h 729579"/>
              <a:gd name="connsiteX25-7815" fmla="*/ 0 w 1022885"/>
              <a:gd name="connsiteY25-7816" fmla="*/ 419276 h 729579"/>
              <a:gd name="connsiteX26-7817" fmla="*/ 77437 w 1022885"/>
              <a:gd name="connsiteY26-7818" fmla="*/ 563196 h 729579"/>
              <a:gd name="connsiteX27-7819" fmla="*/ 140227 w 1022885"/>
              <a:gd name="connsiteY27-7820" fmla="*/ 609744 h 729579"/>
              <a:gd name="connsiteX28-7821" fmla="*/ 243154 w 1022885"/>
              <a:gd name="connsiteY28-7822" fmla="*/ 729579 h 729579"/>
              <a:gd name="connsiteX29-7823" fmla="*/ 318522 w 1022885"/>
              <a:gd name="connsiteY29-7824" fmla="*/ 676324 h 729579"/>
              <a:gd name="connsiteX30-7825" fmla="*/ 366030 w 1022885"/>
              <a:gd name="connsiteY30-7826" fmla="*/ 554755 h 729579"/>
              <a:gd name="connsiteX31-7827" fmla="*/ 505685 w 1022885"/>
              <a:gd name="connsiteY31-7828" fmla="*/ 523317 h 729579"/>
              <a:gd name="connsiteX32-7829" fmla="*/ 525838 w 1022885"/>
              <a:gd name="connsiteY32-7830" fmla="*/ 528603 h 729579"/>
              <a:gd name="connsiteX33-7831" fmla="*/ 603174 w 1022885"/>
              <a:gd name="connsiteY33-7832" fmla="*/ 565847 h 729579"/>
              <a:gd name="connsiteX34-7833" fmla="*/ 652507 w 1022885"/>
              <a:gd name="connsiteY34-7834" fmla="*/ 621337 h 729579"/>
              <a:gd name="connsiteX35-7835" fmla="*/ 649635 w 1022885"/>
              <a:gd name="connsiteY35-7836" fmla="*/ 621337 h 729579"/>
              <a:gd name="connsiteX36-7837" fmla="*/ 687668 w 1022885"/>
              <a:gd name="connsiteY36-7838" fmla="*/ 654043 h 729579"/>
              <a:gd name="connsiteX37-7839" fmla="*/ 767548 w 1022885"/>
              <a:gd name="connsiteY37-7840" fmla="*/ 675561 h 729579"/>
              <a:gd name="connsiteX38-7841" fmla="*/ 760786 w 1022885"/>
              <a:gd name="connsiteY38-7842" fmla="*/ 561837 h 729579"/>
              <a:gd name="connsiteX39-7843" fmla="*/ 863868 w 1022885"/>
              <a:gd name="connsiteY39-7844" fmla="*/ 501158 h 729579"/>
              <a:gd name="connsiteX40-7845" fmla="*/ 932582 w 1022885"/>
              <a:gd name="connsiteY40-7846" fmla="*/ 559147 h 729579"/>
              <a:gd name="connsiteX41-7847" fmla="*/ 989959 w 1022885"/>
              <a:gd name="connsiteY41-7848" fmla="*/ 349147 h 729579"/>
              <a:gd name="connsiteX42-7849" fmla="*/ 911911 w 1022885"/>
              <a:gd name="connsiteY42-7850" fmla="*/ 345273 h 729579"/>
              <a:gd name="connsiteX0-7851" fmla="*/ 911911 w 1019937"/>
              <a:gd name="connsiteY0-7852" fmla="*/ 345273 h 729579"/>
              <a:gd name="connsiteX1-7853" fmla="*/ 998275 w 1019937"/>
              <a:gd name="connsiteY1-7854" fmla="*/ 281607 h 729579"/>
              <a:gd name="connsiteX2-7855" fmla="*/ 942091 w 1019937"/>
              <a:gd name="connsiteY2-7856" fmla="*/ 203529 h 729579"/>
              <a:gd name="connsiteX3-7857" fmla="*/ 1011947 w 1019937"/>
              <a:gd name="connsiteY3-7858" fmla="*/ 189592 h 729579"/>
              <a:gd name="connsiteX4-7859" fmla="*/ 927994 w 1019937"/>
              <a:gd name="connsiteY4-7860" fmla="*/ 125469 h 729579"/>
              <a:gd name="connsiteX5-7861" fmla="*/ 1019937 w 1019937"/>
              <a:gd name="connsiteY5-7862" fmla="*/ 55756 h 729579"/>
              <a:gd name="connsiteX6-7863" fmla="*/ 929702 w 1019937"/>
              <a:gd name="connsiteY6-7864" fmla="*/ 13978 h 729579"/>
              <a:gd name="connsiteX7-7865" fmla="*/ 879077 w 1019937"/>
              <a:gd name="connsiteY7-7866" fmla="*/ 69157 h 729579"/>
              <a:gd name="connsiteX8-7867" fmla="*/ 790632 w 1019937"/>
              <a:gd name="connsiteY8-7868" fmla="*/ 69703 h 729579"/>
              <a:gd name="connsiteX9-7869" fmla="*/ 826991 w 1019937"/>
              <a:gd name="connsiteY9-7870" fmla="*/ 5644 h 729579"/>
              <a:gd name="connsiteX10-7871" fmla="*/ 709412 w 1019937"/>
              <a:gd name="connsiteY10-7872" fmla="*/ 0 h 729579"/>
              <a:gd name="connsiteX11-7873" fmla="*/ 622295 w 1019937"/>
              <a:gd name="connsiteY11-7874" fmla="*/ 33464 h 729579"/>
              <a:gd name="connsiteX12-7875" fmla="*/ 534966 w 1019937"/>
              <a:gd name="connsiteY12-7876" fmla="*/ 50207 h 729579"/>
              <a:gd name="connsiteX13-7877" fmla="*/ 456481 w 1019937"/>
              <a:gd name="connsiteY13-7878" fmla="*/ 16732 h 729579"/>
              <a:gd name="connsiteX14-7879" fmla="*/ 339926 w 1019937"/>
              <a:gd name="connsiteY14-7880" fmla="*/ 58573 h 729579"/>
              <a:gd name="connsiteX15-7881" fmla="*/ 354070 w 1019937"/>
              <a:gd name="connsiteY15-7882" fmla="*/ 97009 h 729579"/>
              <a:gd name="connsiteX16-7883" fmla="*/ 296647 w 1019937"/>
              <a:gd name="connsiteY16-7884" fmla="*/ 133216 h 729579"/>
              <a:gd name="connsiteX17-7885" fmla="*/ 286478 w 1019937"/>
              <a:gd name="connsiteY17-7886" fmla="*/ 234112 h 729579"/>
              <a:gd name="connsiteX18-7887" fmla="*/ 261013 w 1019937"/>
              <a:gd name="connsiteY18-7888" fmla="*/ 262080 h 729579"/>
              <a:gd name="connsiteX19-7889" fmla="*/ 181802 w 1019937"/>
              <a:gd name="connsiteY19-7890" fmla="*/ 205630 h 729579"/>
              <a:gd name="connsiteX20-7891" fmla="*/ 165907 w 1019937"/>
              <a:gd name="connsiteY20-7892" fmla="*/ 214681 h 729579"/>
              <a:gd name="connsiteX21-7893" fmla="*/ 207993 w 1019937"/>
              <a:gd name="connsiteY21-7894" fmla="*/ 306675 h 729579"/>
              <a:gd name="connsiteX22-7895" fmla="*/ 185690 w 1019937"/>
              <a:gd name="connsiteY22-7896" fmla="*/ 440500 h 729579"/>
              <a:gd name="connsiteX23-7897" fmla="*/ 79176 w 1019937"/>
              <a:gd name="connsiteY23-7898" fmla="*/ 463089 h 729579"/>
              <a:gd name="connsiteX24-7899" fmla="*/ 61488 w 1019937"/>
              <a:gd name="connsiteY24-7900" fmla="*/ 403377 h 729579"/>
              <a:gd name="connsiteX25-7901" fmla="*/ 0 w 1019937"/>
              <a:gd name="connsiteY25-7902" fmla="*/ 419276 h 729579"/>
              <a:gd name="connsiteX26-7903" fmla="*/ 77437 w 1019937"/>
              <a:gd name="connsiteY26-7904" fmla="*/ 563196 h 729579"/>
              <a:gd name="connsiteX27-7905" fmla="*/ 140227 w 1019937"/>
              <a:gd name="connsiteY27-7906" fmla="*/ 609744 h 729579"/>
              <a:gd name="connsiteX28-7907" fmla="*/ 243154 w 1019937"/>
              <a:gd name="connsiteY28-7908" fmla="*/ 729579 h 729579"/>
              <a:gd name="connsiteX29-7909" fmla="*/ 318522 w 1019937"/>
              <a:gd name="connsiteY29-7910" fmla="*/ 676324 h 729579"/>
              <a:gd name="connsiteX30-7911" fmla="*/ 366030 w 1019937"/>
              <a:gd name="connsiteY30-7912" fmla="*/ 554755 h 729579"/>
              <a:gd name="connsiteX31-7913" fmla="*/ 505685 w 1019937"/>
              <a:gd name="connsiteY31-7914" fmla="*/ 523317 h 729579"/>
              <a:gd name="connsiteX32-7915" fmla="*/ 525838 w 1019937"/>
              <a:gd name="connsiteY32-7916" fmla="*/ 528603 h 729579"/>
              <a:gd name="connsiteX33-7917" fmla="*/ 603174 w 1019937"/>
              <a:gd name="connsiteY33-7918" fmla="*/ 565847 h 729579"/>
              <a:gd name="connsiteX34-7919" fmla="*/ 652507 w 1019937"/>
              <a:gd name="connsiteY34-7920" fmla="*/ 621337 h 729579"/>
              <a:gd name="connsiteX35-7921" fmla="*/ 649635 w 1019937"/>
              <a:gd name="connsiteY35-7922" fmla="*/ 621337 h 729579"/>
              <a:gd name="connsiteX36-7923" fmla="*/ 687668 w 1019937"/>
              <a:gd name="connsiteY36-7924" fmla="*/ 654043 h 729579"/>
              <a:gd name="connsiteX37-7925" fmla="*/ 767548 w 1019937"/>
              <a:gd name="connsiteY37-7926" fmla="*/ 675561 h 729579"/>
              <a:gd name="connsiteX38-7927" fmla="*/ 760786 w 1019937"/>
              <a:gd name="connsiteY38-7928" fmla="*/ 561837 h 729579"/>
              <a:gd name="connsiteX39-7929" fmla="*/ 863868 w 1019937"/>
              <a:gd name="connsiteY39-7930" fmla="*/ 501158 h 729579"/>
              <a:gd name="connsiteX40-7931" fmla="*/ 932582 w 1019937"/>
              <a:gd name="connsiteY40-7932" fmla="*/ 559147 h 729579"/>
              <a:gd name="connsiteX41-7933" fmla="*/ 989959 w 1019937"/>
              <a:gd name="connsiteY41-7934" fmla="*/ 349147 h 729579"/>
              <a:gd name="connsiteX42-7935" fmla="*/ 911911 w 1019937"/>
              <a:gd name="connsiteY42-7936" fmla="*/ 345273 h 729579"/>
              <a:gd name="connsiteX0-7937" fmla="*/ 911911 w 1019937"/>
              <a:gd name="connsiteY0-7938" fmla="*/ 345273 h 729579"/>
              <a:gd name="connsiteX1-7939" fmla="*/ 998275 w 1019937"/>
              <a:gd name="connsiteY1-7940" fmla="*/ 281607 h 729579"/>
              <a:gd name="connsiteX2-7941" fmla="*/ 942091 w 1019937"/>
              <a:gd name="connsiteY2-7942" fmla="*/ 203529 h 729579"/>
              <a:gd name="connsiteX3-7943" fmla="*/ 1011947 w 1019937"/>
              <a:gd name="connsiteY3-7944" fmla="*/ 189592 h 729579"/>
              <a:gd name="connsiteX4-7945" fmla="*/ 927994 w 1019937"/>
              <a:gd name="connsiteY4-7946" fmla="*/ 125469 h 729579"/>
              <a:gd name="connsiteX5-7947" fmla="*/ 1019937 w 1019937"/>
              <a:gd name="connsiteY5-7948" fmla="*/ 55756 h 729579"/>
              <a:gd name="connsiteX6-7949" fmla="*/ 929702 w 1019937"/>
              <a:gd name="connsiteY6-7950" fmla="*/ 13978 h 729579"/>
              <a:gd name="connsiteX7-7951" fmla="*/ 879077 w 1019937"/>
              <a:gd name="connsiteY7-7952" fmla="*/ 69157 h 729579"/>
              <a:gd name="connsiteX8-7953" fmla="*/ 790632 w 1019937"/>
              <a:gd name="connsiteY8-7954" fmla="*/ 69703 h 729579"/>
              <a:gd name="connsiteX9-7955" fmla="*/ 826991 w 1019937"/>
              <a:gd name="connsiteY9-7956" fmla="*/ 5644 h 729579"/>
              <a:gd name="connsiteX10-7957" fmla="*/ 709412 w 1019937"/>
              <a:gd name="connsiteY10-7958" fmla="*/ 0 h 729579"/>
              <a:gd name="connsiteX11-7959" fmla="*/ 622295 w 1019937"/>
              <a:gd name="connsiteY11-7960" fmla="*/ 33464 h 729579"/>
              <a:gd name="connsiteX12-7961" fmla="*/ 534966 w 1019937"/>
              <a:gd name="connsiteY12-7962" fmla="*/ 50207 h 729579"/>
              <a:gd name="connsiteX13-7963" fmla="*/ 456481 w 1019937"/>
              <a:gd name="connsiteY13-7964" fmla="*/ 16732 h 729579"/>
              <a:gd name="connsiteX14-7965" fmla="*/ 339926 w 1019937"/>
              <a:gd name="connsiteY14-7966" fmla="*/ 58573 h 729579"/>
              <a:gd name="connsiteX15-7967" fmla="*/ 354070 w 1019937"/>
              <a:gd name="connsiteY15-7968" fmla="*/ 97009 h 729579"/>
              <a:gd name="connsiteX16-7969" fmla="*/ 296647 w 1019937"/>
              <a:gd name="connsiteY16-7970" fmla="*/ 133216 h 729579"/>
              <a:gd name="connsiteX17-7971" fmla="*/ 286478 w 1019937"/>
              <a:gd name="connsiteY17-7972" fmla="*/ 234112 h 729579"/>
              <a:gd name="connsiteX18-7973" fmla="*/ 261013 w 1019937"/>
              <a:gd name="connsiteY18-7974" fmla="*/ 262080 h 729579"/>
              <a:gd name="connsiteX19-7975" fmla="*/ 181802 w 1019937"/>
              <a:gd name="connsiteY19-7976" fmla="*/ 205630 h 729579"/>
              <a:gd name="connsiteX20-7977" fmla="*/ 165907 w 1019937"/>
              <a:gd name="connsiteY20-7978" fmla="*/ 214681 h 729579"/>
              <a:gd name="connsiteX21-7979" fmla="*/ 207993 w 1019937"/>
              <a:gd name="connsiteY21-7980" fmla="*/ 306675 h 729579"/>
              <a:gd name="connsiteX22-7981" fmla="*/ 185690 w 1019937"/>
              <a:gd name="connsiteY22-7982" fmla="*/ 440500 h 729579"/>
              <a:gd name="connsiteX23-7983" fmla="*/ 79176 w 1019937"/>
              <a:gd name="connsiteY23-7984" fmla="*/ 463089 h 729579"/>
              <a:gd name="connsiteX24-7985" fmla="*/ 61488 w 1019937"/>
              <a:gd name="connsiteY24-7986" fmla="*/ 403377 h 729579"/>
              <a:gd name="connsiteX25-7987" fmla="*/ 0 w 1019937"/>
              <a:gd name="connsiteY25-7988" fmla="*/ 419276 h 729579"/>
              <a:gd name="connsiteX26-7989" fmla="*/ 77437 w 1019937"/>
              <a:gd name="connsiteY26-7990" fmla="*/ 563196 h 729579"/>
              <a:gd name="connsiteX27-7991" fmla="*/ 140227 w 1019937"/>
              <a:gd name="connsiteY27-7992" fmla="*/ 609744 h 729579"/>
              <a:gd name="connsiteX28-7993" fmla="*/ 243154 w 1019937"/>
              <a:gd name="connsiteY28-7994" fmla="*/ 729579 h 729579"/>
              <a:gd name="connsiteX29-7995" fmla="*/ 318522 w 1019937"/>
              <a:gd name="connsiteY29-7996" fmla="*/ 676324 h 729579"/>
              <a:gd name="connsiteX30-7997" fmla="*/ 366030 w 1019937"/>
              <a:gd name="connsiteY30-7998" fmla="*/ 554755 h 729579"/>
              <a:gd name="connsiteX31-7999" fmla="*/ 505685 w 1019937"/>
              <a:gd name="connsiteY31-8000" fmla="*/ 523317 h 729579"/>
              <a:gd name="connsiteX32-8001" fmla="*/ 525838 w 1019937"/>
              <a:gd name="connsiteY32-8002" fmla="*/ 528603 h 729579"/>
              <a:gd name="connsiteX33-8003" fmla="*/ 603174 w 1019937"/>
              <a:gd name="connsiteY33-8004" fmla="*/ 565847 h 729579"/>
              <a:gd name="connsiteX34-8005" fmla="*/ 652507 w 1019937"/>
              <a:gd name="connsiteY34-8006" fmla="*/ 621337 h 729579"/>
              <a:gd name="connsiteX35-8007" fmla="*/ 649635 w 1019937"/>
              <a:gd name="connsiteY35-8008" fmla="*/ 621337 h 729579"/>
              <a:gd name="connsiteX36-8009" fmla="*/ 687668 w 1019937"/>
              <a:gd name="connsiteY36-8010" fmla="*/ 654043 h 729579"/>
              <a:gd name="connsiteX37-8011" fmla="*/ 767548 w 1019937"/>
              <a:gd name="connsiteY37-8012" fmla="*/ 675561 h 729579"/>
              <a:gd name="connsiteX38-8013" fmla="*/ 760786 w 1019937"/>
              <a:gd name="connsiteY38-8014" fmla="*/ 561837 h 729579"/>
              <a:gd name="connsiteX39-8015" fmla="*/ 863868 w 1019937"/>
              <a:gd name="connsiteY39-8016" fmla="*/ 501158 h 729579"/>
              <a:gd name="connsiteX40-8017" fmla="*/ 932582 w 1019937"/>
              <a:gd name="connsiteY40-8018" fmla="*/ 559147 h 729579"/>
              <a:gd name="connsiteX41-8019" fmla="*/ 998163 w 1019937"/>
              <a:gd name="connsiteY41-8020" fmla="*/ 349147 h 729579"/>
              <a:gd name="connsiteX42-8021" fmla="*/ 911911 w 1019937"/>
              <a:gd name="connsiteY42-8022" fmla="*/ 345273 h 729579"/>
              <a:gd name="connsiteX0-8023" fmla="*/ 911911 w 1019937"/>
              <a:gd name="connsiteY0-8024" fmla="*/ 345273 h 729579"/>
              <a:gd name="connsiteX1-8025" fmla="*/ 998275 w 1019937"/>
              <a:gd name="connsiteY1-8026" fmla="*/ 281607 h 729579"/>
              <a:gd name="connsiteX2-8027" fmla="*/ 942091 w 1019937"/>
              <a:gd name="connsiteY2-8028" fmla="*/ 203529 h 729579"/>
              <a:gd name="connsiteX3-8029" fmla="*/ 1011947 w 1019937"/>
              <a:gd name="connsiteY3-8030" fmla="*/ 189592 h 729579"/>
              <a:gd name="connsiteX4-8031" fmla="*/ 927994 w 1019937"/>
              <a:gd name="connsiteY4-8032" fmla="*/ 125469 h 729579"/>
              <a:gd name="connsiteX5-8033" fmla="*/ 1019937 w 1019937"/>
              <a:gd name="connsiteY5-8034" fmla="*/ 55756 h 729579"/>
              <a:gd name="connsiteX6-8035" fmla="*/ 929702 w 1019937"/>
              <a:gd name="connsiteY6-8036" fmla="*/ 13978 h 729579"/>
              <a:gd name="connsiteX7-8037" fmla="*/ 879077 w 1019937"/>
              <a:gd name="connsiteY7-8038" fmla="*/ 69157 h 729579"/>
              <a:gd name="connsiteX8-8039" fmla="*/ 790632 w 1019937"/>
              <a:gd name="connsiteY8-8040" fmla="*/ 69703 h 729579"/>
              <a:gd name="connsiteX9-8041" fmla="*/ 826991 w 1019937"/>
              <a:gd name="connsiteY9-8042" fmla="*/ 5644 h 729579"/>
              <a:gd name="connsiteX10-8043" fmla="*/ 709412 w 1019937"/>
              <a:gd name="connsiteY10-8044" fmla="*/ 0 h 729579"/>
              <a:gd name="connsiteX11-8045" fmla="*/ 622295 w 1019937"/>
              <a:gd name="connsiteY11-8046" fmla="*/ 33464 h 729579"/>
              <a:gd name="connsiteX12-8047" fmla="*/ 534966 w 1019937"/>
              <a:gd name="connsiteY12-8048" fmla="*/ 50207 h 729579"/>
              <a:gd name="connsiteX13-8049" fmla="*/ 456481 w 1019937"/>
              <a:gd name="connsiteY13-8050" fmla="*/ 16732 h 729579"/>
              <a:gd name="connsiteX14-8051" fmla="*/ 339926 w 1019937"/>
              <a:gd name="connsiteY14-8052" fmla="*/ 58573 h 729579"/>
              <a:gd name="connsiteX15-8053" fmla="*/ 354070 w 1019937"/>
              <a:gd name="connsiteY15-8054" fmla="*/ 97009 h 729579"/>
              <a:gd name="connsiteX16-8055" fmla="*/ 296647 w 1019937"/>
              <a:gd name="connsiteY16-8056" fmla="*/ 133216 h 729579"/>
              <a:gd name="connsiteX17-8057" fmla="*/ 286478 w 1019937"/>
              <a:gd name="connsiteY17-8058" fmla="*/ 234112 h 729579"/>
              <a:gd name="connsiteX18-8059" fmla="*/ 261013 w 1019937"/>
              <a:gd name="connsiteY18-8060" fmla="*/ 262080 h 729579"/>
              <a:gd name="connsiteX19-8061" fmla="*/ 181802 w 1019937"/>
              <a:gd name="connsiteY19-8062" fmla="*/ 205630 h 729579"/>
              <a:gd name="connsiteX20-8063" fmla="*/ 165907 w 1019937"/>
              <a:gd name="connsiteY20-8064" fmla="*/ 214681 h 729579"/>
              <a:gd name="connsiteX21-8065" fmla="*/ 207993 w 1019937"/>
              <a:gd name="connsiteY21-8066" fmla="*/ 306675 h 729579"/>
              <a:gd name="connsiteX22-8067" fmla="*/ 185690 w 1019937"/>
              <a:gd name="connsiteY22-8068" fmla="*/ 440500 h 729579"/>
              <a:gd name="connsiteX23-8069" fmla="*/ 79176 w 1019937"/>
              <a:gd name="connsiteY23-8070" fmla="*/ 463089 h 729579"/>
              <a:gd name="connsiteX24-8071" fmla="*/ 61488 w 1019937"/>
              <a:gd name="connsiteY24-8072" fmla="*/ 403377 h 729579"/>
              <a:gd name="connsiteX25-8073" fmla="*/ 0 w 1019937"/>
              <a:gd name="connsiteY25-8074" fmla="*/ 419276 h 729579"/>
              <a:gd name="connsiteX26-8075" fmla="*/ 77437 w 1019937"/>
              <a:gd name="connsiteY26-8076" fmla="*/ 563196 h 729579"/>
              <a:gd name="connsiteX27-8077" fmla="*/ 140227 w 1019937"/>
              <a:gd name="connsiteY27-8078" fmla="*/ 609744 h 729579"/>
              <a:gd name="connsiteX28-8079" fmla="*/ 243154 w 1019937"/>
              <a:gd name="connsiteY28-8080" fmla="*/ 729579 h 729579"/>
              <a:gd name="connsiteX29-8081" fmla="*/ 318522 w 1019937"/>
              <a:gd name="connsiteY29-8082" fmla="*/ 676324 h 729579"/>
              <a:gd name="connsiteX30-8083" fmla="*/ 366030 w 1019937"/>
              <a:gd name="connsiteY30-8084" fmla="*/ 554755 h 729579"/>
              <a:gd name="connsiteX31-8085" fmla="*/ 505685 w 1019937"/>
              <a:gd name="connsiteY31-8086" fmla="*/ 523317 h 729579"/>
              <a:gd name="connsiteX32-8087" fmla="*/ 525838 w 1019937"/>
              <a:gd name="connsiteY32-8088" fmla="*/ 528603 h 729579"/>
              <a:gd name="connsiteX33-8089" fmla="*/ 603174 w 1019937"/>
              <a:gd name="connsiteY33-8090" fmla="*/ 565847 h 729579"/>
              <a:gd name="connsiteX34-8091" fmla="*/ 652507 w 1019937"/>
              <a:gd name="connsiteY34-8092" fmla="*/ 621337 h 729579"/>
              <a:gd name="connsiteX35-8093" fmla="*/ 649635 w 1019937"/>
              <a:gd name="connsiteY35-8094" fmla="*/ 621337 h 729579"/>
              <a:gd name="connsiteX36-8095" fmla="*/ 687668 w 1019937"/>
              <a:gd name="connsiteY36-8096" fmla="*/ 654043 h 729579"/>
              <a:gd name="connsiteX37-8097" fmla="*/ 767548 w 1019937"/>
              <a:gd name="connsiteY37-8098" fmla="*/ 675561 h 729579"/>
              <a:gd name="connsiteX38-8099" fmla="*/ 760786 w 1019937"/>
              <a:gd name="connsiteY38-8100" fmla="*/ 561837 h 729579"/>
              <a:gd name="connsiteX39-8101" fmla="*/ 863868 w 1019937"/>
              <a:gd name="connsiteY39-8102" fmla="*/ 501158 h 729579"/>
              <a:gd name="connsiteX40-8103" fmla="*/ 932582 w 1019937"/>
              <a:gd name="connsiteY40-8104" fmla="*/ 559147 h 729579"/>
              <a:gd name="connsiteX41-8105" fmla="*/ 998163 w 1019937"/>
              <a:gd name="connsiteY41-8106" fmla="*/ 349147 h 729579"/>
              <a:gd name="connsiteX42-8107" fmla="*/ 911911 w 1019937"/>
              <a:gd name="connsiteY42-8108" fmla="*/ 345273 h 729579"/>
              <a:gd name="connsiteX0-8109" fmla="*/ 911911 w 1019937"/>
              <a:gd name="connsiteY0-8110" fmla="*/ 345273 h 729579"/>
              <a:gd name="connsiteX1-8111" fmla="*/ 998275 w 1019937"/>
              <a:gd name="connsiteY1-8112" fmla="*/ 281607 h 729579"/>
              <a:gd name="connsiteX2-8113" fmla="*/ 942091 w 1019937"/>
              <a:gd name="connsiteY2-8114" fmla="*/ 203529 h 729579"/>
              <a:gd name="connsiteX3-8115" fmla="*/ 1011947 w 1019937"/>
              <a:gd name="connsiteY3-8116" fmla="*/ 189592 h 729579"/>
              <a:gd name="connsiteX4-8117" fmla="*/ 927994 w 1019937"/>
              <a:gd name="connsiteY4-8118" fmla="*/ 125469 h 729579"/>
              <a:gd name="connsiteX5-8119" fmla="*/ 1019937 w 1019937"/>
              <a:gd name="connsiteY5-8120" fmla="*/ 55756 h 729579"/>
              <a:gd name="connsiteX6-8121" fmla="*/ 929702 w 1019937"/>
              <a:gd name="connsiteY6-8122" fmla="*/ 13978 h 729579"/>
              <a:gd name="connsiteX7-8123" fmla="*/ 879077 w 1019937"/>
              <a:gd name="connsiteY7-8124" fmla="*/ 69157 h 729579"/>
              <a:gd name="connsiteX8-8125" fmla="*/ 790632 w 1019937"/>
              <a:gd name="connsiteY8-8126" fmla="*/ 69703 h 729579"/>
              <a:gd name="connsiteX9-8127" fmla="*/ 826991 w 1019937"/>
              <a:gd name="connsiteY9-8128" fmla="*/ 5644 h 729579"/>
              <a:gd name="connsiteX10-8129" fmla="*/ 709412 w 1019937"/>
              <a:gd name="connsiteY10-8130" fmla="*/ 0 h 729579"/>
              <a:gd name="connsiteX11-8131" fmla="*/ 622295 w 1019937"/>
              <a:gd name="connsiteY11-8132" fmla="*/ 33464 h 729579"/>
              <a:gd name="connsiteX12-8133" fmla="*/ 534966 w 1019937"/>
              <a:gd name="connsiteY12-8134" fmla="*/ 50207 h 729579"/>
              <a:gd name="connsiteX13-8135" fmla="*/ 456481 w 1019937"/>
              <a:gd name="connsiteY13-8136" fmla="*/ 16732 h 729579"/>
              <a:gd name="connsiteX14-8137" fmla="*/ 339926 w 1019937"/>
              <a:gd name="connsiteY14-8138" fmla="*/ 58573 h 729579"/>
              <a:gd name="connsiteX15-8139" fmla="*/ 337664 w 1019937"/>
              <a:gd name="connsiteY15-8140" fmla="*/ 91438 h 729579"/>
              <a:gd name="connsiteX16-8141" fmla="*/ 354070 w 1019937"/>
              <a:gd name="connsiteY16-8142" fmla="*/ 97009 h 729579"/>
              <a:gd name="connsiteX17-8143" fmla="*/ 296647 w 1019937"/>
              <a:gd name="connsiteY17-8144" fmla="*/ 133216 h 729579"/>
              <a:gd name="connsiteX18-8145" fmla="*/ 286478 w 1019937"/>
              <a:gd name="connsiteY18-8146" fmla="*/ 234112 h 729579"/>
              <a:gd name="connsiteX19-8147" fmla="*/ 261013 w 1019937"/>
              <a:gd name="connsiteY19-8148" fmla="*/ 262080 h 729579"/>
              <a:gd name="connsiteX20-8149" fmla="*/ 181802 w 1019937"/>
              <a:gd name="connsiteY20-8150" fmla="*/ 205630 h 729579"/>
              <a:gd name="connsiteX21-8151" fmla="*/ 165907 w 1019937"/>
              <a:gd name="connsiteY21-8152" fmla="*/ 214681 h 729579"/>
              <a:gd name="connsiteX22-8153" fmla="*/ 207993 w 1019937"/>
              <a:gd name="connsiteY22-8154" fmla="*/ 306675 h 729579"/>
              <a:gd name="connsiteX23-8155" fmla="*/ 185690 w 1019937"/>
              <a:gd name="connsiteY23-8156" fmla="*/ 440500 h 729579"/>
              <a:gd name="connsiteX24-8157" fmla="*/ 79176 w 1019937"/>
              <a:gd name="connsiteY24-8158" fmla="*/ 463089 h 729579"/>
              <a:gd name="connsiteX25-8159" fmla="*/ 61488 w 1019937"/>
              <a:gd name="connsiteY25-8160" fmla="*/ 403377 h 729579"/>
              <a:gd name="connsiteX26-8161" fmla="*/ 0 w 1019937"/>
              <a:gd name="connsiteY26-8162" fmla="*/ 419276 h 729579"/>
              <a:gd name="connsiteX27-8163" fmla="*/ 77437 w 1019937"/>
              <a:gd name="connsiteY27-8164" fmla="*/ 563196 h 729579"/>
              <a:gd name="connsiteX28-8165" fmla="*/ 140227 w 1019937"/>
              <a:gd name="connsiteY28-8166" fmla="*/ 609744 h 729579"/>
              <a:gd name="connsiteX29-8167" fmla="*/ 243154 w 1019937"/>
              <a:gd name="connsiteY29-8168" fmla="*/ 729579 h 729579"/>
              <a:gd name="connsiteX30-8169" fmla="*/ 318522 w 1019937"/>
              <a:gd name="connsiteY30-8170" fmla="*/ 676324 h 729579"/>
              <a:gd name="connsiteX31-8171" fmla="*/ 366030 w 1019937"/>
              <a:gd name="connsiteY31-8172" fmla="*/ 554755 h 729579"/>
              <a:gd name="connsiteX32-8173" fmla="*/ 505685 w 1019937"/>
              <a:gd name="connsiteY32-8174" fmla="*/ 523317 h 729579"/>
              <a:gd name="connsiteX33-8175" fmla="*/ 525838 w 1019937"/>
              <a:gd name="connsiteY33-8176" fmla="*/ 528603 h 729579"/>
              <a:gd name="connsiteX34-8177" fmla="*/ 603174 w 1019937"/>
              <a:gd name="connsiteY34-8178" fmla="*/ 565847 h 729579"/>
              <a:gd name="connsiteX35-8179" fmla="*/ 652507 w 1019937"/>
              <a:gd name="connsiteY35-8180" fmla="*/ 621337 h 729579"/>
              <a:gd name="connsiteX36-8181" fmla="*/ 649635 w 1019937"/>
              <a:gd name="connsiteY36-8182" fmla="*/ 621337 h 729579"/>
              <a:gd name="connsiteX37-8183" fmla="*/ 687668 w 1019937"/>
              <a:gd name="connsiteY37-8184" fmla="*/ 654043 h 729579"/>
              <a:gd name="connsiteX38-8185" fmla="*/ 767548 w 1019937"/>
              <a:gd name="connsiteY38-8186" fmla="*/ 675561 h 729579"/>
              <a:gd name="connsiteX39-8187" fmla="*/ 760786 w 1019937"/>
              <a:gd name="connsiteY39-8188" fmla="*/ 561837 h 729579"/>
              <a:gd name="connsiteX40-8189" fmla="*/ 863868 w 1019937"/>
              <a:gd name="connsiteY40-8190" fmla="*/ 501158 h 729579"/>
              <a:gd name="connsiteX41-8191" fmla="*/ 932582 w 1019937"/>
              <a:gd name="connsiteY41-8192" fmla="*/ 559147 h 729579"/>
              <a:gd name="connsiteX42-8193" fmla="*/ 998163 w 1019937"/>
              <a:gd name="connsiteY42-8194" fmla="*/ 349147 h 729579"/>
              <a:gd name="connsiteX43-8195" fmla="*/ 911911 w 1019937"/>
              <a:gd name="connsiteY43-8196" fmla="*/ 345273 h 729579"/>
              <a:gd name="connsiteX0-8197" fmla="*/ 911911 w 1019937"/>
              <a:gd name="connsiteY0-8198" fmla="*/ 345273 h 729579"/>
              <a:gd name="connsiteX1-8199" fmla="*/ 998275 w 1019937"/>
              <a:gd name="connsiteY1-8200" fmla="*/ 281607 h 729579"/>
              <a:gd name="connsiteX2-8201" fmla="*/ 942091 w 1019937"/>
              <a:gd name="connsiteY2-8202" fmla="*/ 203529 h 729579"/>
              <a:gd name="connsiteX3-8203" fmla="*/ 1011947 w 1019937"/>
              <a:gd name="connsiteY3-8204" fmla="*/ 189592 h 729579"/>
              <a:gd name="connsiteX4-8205" fmla="*/ 927994 w 1019937"/>
              <a:gd name="connsiteY4-8206" fmla="*/ 125469 h 729579"/>
              <a:gd name="connsiteX5-8207" fmla="*/ 1019937 w 1019937"/>
              <a:gd name="connsiteY5-8208" fmla="*/ 55756 h 729579"/>
              <a:gd name="connsiteX6-8209" fmla="*/ 929702 w 1019937"/>
              <a:gd name="connsiteY6-8210" fmla="*/ 13978 h 729579"/>
              <a:gd name="connsiteX7-8211" fmla="*/ 879077 w 1019937"/>
              <a:gd name="connsiteY7-8212" fmla="*/ 69157 h 729579"/>
              <a:gd name="connsiteX8-8213" fmla="*/ 790632 w 1019937"/>
              <a:gd name="connsiteY8-8214" fmla="*/ 69703 h 729579"/>
              <a:gd name="connsiteX9-8215" fmla="*/ 826991 w 1019937"/>
              <a:gd name="connsiteY9-8216" fmla="*/ 5644 h 729579"/>
              <a:gd name="connsiteX10-8217" fmla="*/ 709412 w 1019937"/>
              <a:gd name="connsiteY10-8218" fmla="*/ 0 h 729579"/>
              <a:gd name="connsiteX11-8219" fmla="*/ 622295 w 1019937"/>
              <a:gd name="connsiteY11-8220" fmla="*/ 33464 h 729579"/>
              <a:gd name="connsiteX12-8221" fmla="*/ 534966 w 1019937"/>
              <a:gd name="connsiteY12-8222" fmla="*/ 50207 h 729579"/>
              <a:gd name="connsiteX13-8223" fmla="*/ 456481 w 1019937"/>
              <a:gd name="connsiteY13-8224" fmla="*/ 16732 h 729579"/>
              <a:gd name="connsiteX14-8225" fmla="*/ 339926 w 1019937"/>
              <a:gd name="connsiteY14-8226" fmla="*/ 58573 h 729579"/>
              <a:gd name="connsiteX15-8227" fmla="*/ 337664 w 1019937"/>
              <a:gd name="connsiteY15-8228" fmla="*/ 91438 h 729579"/>
              <a:gd name="connsiteX16-8229" fmla="*/ 354070 w 1019937"/>
              <a:gd name="connsiteY16-8230" fmla="*/ 97009 h 729579"/>
              <a:gd name="connsiteX17-8231" fmla="*/ 296647 w 1019937"/>
              <a:gd name="connsiteY17-8232" fmla="*/ 133216 h 729579"/>
              <a:gd name="connsiteX18-8233" fmla="*/ 286478 w 1019937"/>
              <a:gd name="connsiteY18-8234" fmla="*/ 234112 h 729579"/>
              <a:gd name="connsiteX19-8235" fmla="*/ 261013 w 1019937"/>
              <a:gd name="connsiteY19-8236" fmla="*/ 262080 h 729579"/>
              <a:gd name="connsiteX20-8237" fmla="*/ 181802 w 1019937"/>
              <a:gd name="connsiteY20-8238" fmla="*/ 205630 h 729579"/>
              <a:gd name="connsiteX21-8239" fmla="*/ 165907 w 1019937"/>
              <a:gd name="connsiteY21-8240" fmla="*/ 214681 h 729579"/>
              <a:gd name="connsiteX22-8241" fmla="*/ 207993 w 1019937"/>
              <a:gd name="connsiteY22-8242" fmla="*/ 306675 h 729579"/>
              <a:gd name="connsiteX23-8243" fmla="*/ 185690 w 1019937"/>
              <a:gd name="connsiteY23-8244" fmla="*/ 440500 h 729579"/>
              <a:gd name="connsiteX24-8245" fmla="*/ 79176 w 1019937"/>
              <a:gd name="connsiteY24-8246" fmla="*/ 463089 h 729579"/>
              <a:gd name="connsiteX25-8247" fmla="*/ 61488 w 1019937"/>
              <a:gd name="connsiteY25-8248" fmla="*/ 403377 h 729579"/>
              <a:gd name="connsiteX26-8249" fmla="*/ 0 w 1019937"/>
              <a:gd name="connsiteY26-8250" fmla="*/ 419276 h 729579"/>
              <a:gd name="connsiteX27-8251" fmla="*/ 71968 w 1019937"/>
              <a:gd name="connsiteY27-8252" fmla="*/ 565982 h 729579"/>
              <a:gd name="connsiteX28-8253" fmla="*/ 140227 w 1019937"/>
              <a:gd name="connsiteY28-8254" fmla="*/ 609744 h 729579"/>
              <a:gd name="connsiteX29-8255" fmla="*/ 243154 w 1019937"/>
              <a:gd name="connsiteY29-8256" fmla="*/ 729579 h 729579"/>
              <a:gd name="connsiteX30-8257" fmla="*/ 318522 w 1019937"/>
              <a:gd name="connsiteY30-8258" fmla="*/ 676324 h 729579"/>
              <a:gd name="connsiteX31-8259" fmla="*/ 366030 w 1019937"/>
              <a:gd name="connsiteY31-8260" fmla="*/ 554755 h 729579"/>
              <a:gd name="connsiteX32-8261" fmla="*/ 505685 w 1019937"/>
              <a:gd name="connsiteY32-8262" fmla="*/ 523317 h 729579"/>
              <a:gd name="connsiteX33-8263" fmla="*/ 525838 w 1019937"/>
              <a:gd name="connsiteY33-8264" fmla="*/ 528603 h 729579"/>
              <a:gd name="connsiteX34-8265" fmla="*/ 603174 w 1019937"/>
              <a:gd name="connsiteY34-8266" fmla="*/ 565847 h 729579"/>
              <a:gd name="connsiteX35-8267" fmla="*/ 652507 w 1019937"/>
              <a:gd name="connsiteY35-8268" fmla="*/ 621337 h 729579"/>
              <a:gd name="connsiteX36-8269" fmla="*/ 649635 w 1019937"/>
              <a:gd name="connsiteY36-8270" fmla="*/ 621337 h 729579"/>
              <a:gd name="connsiteX37-8271" fmla="*/ 687668 w 1019937"/>
              <a:gd name="connsiteY37-8272" fmla="*/ 654043 h 729579"/>
              <a:gd name="connsiteX38-8273" fmla="*/ 767548 w 1019937"/>
              <a:gd name="connsiteY38-8274" fmla="*/ 675561 h 729579"/>
              <a:gd name="connsiteX39-8275" fmla="*/ 760786 w 1019937"/>
              <a:gd name="connsiteY39-8276" fmla="*/ 561837 h 729579"/>
              <a:gd name="connsiteX40-8277" fmla="*/ 863868 w 1019937"/>
              <a:gd name="connsiteY40-8278" fmla="*/ 501158 h 729579"/>
              <a:gd name="connsiteX41-8279" fmla="*/ 932582 w 1019937"/>
              <a:gd name="connsiteY41-8280" fmla="*/ 559147 h 729579"/>
              <a:gd name="connsiteX42-8281" fmla="*/ 998163 w 1019937"/>
              <a:gd name="connsiteY42-8282" fmla="*/ 349147 h 729579"/>
              <a:gd name="connsiteX43-8283" fmla="*/ 911911 w 1019937"/>
              <a:gd name="connsiteY43-8284" fmla="*/ 345273 h 729579"/>
              <a:gd name="connsiteX0-8285" fmla="*/ 911911 w 1019937"/>
              <a:gd name="connsiteY0-8286" fmla="*/ 345273 h 729579"/>
              <a:gd name="connsiteX1-8287" fmla="*/ 998275 w 1019937"/>
              <a:gd name="connsiteY1-8288" fmla="*/ 281607 h 729579"/>
              <a:gd name="connsiteX2-8289" fmla="*/ 942091 w 1019937"/>
              <a:gd name="connsiteY2-8290" fmla="*/ 203529 h 729579"/>
              <a:gd name="connsiteX3-8291" fmla="*/ 1011947 w 1019937"/>
              <a:gd name="connsiteY3-8292" fmla="*/ 189592 h 729579"/>
              <a:gd name="connsiteX4-8293" fmla="*/ 927994 w 1019937"/>
              <a:gd name="connsiteY4-8294" fmla="*/ 125469 h 729579"/>
              <a:gd name="connsiteX5-8295" fmla="*/ 1019937 w 1019937"/>
              <a:gd name="connsiteY5-8296" fmla="*/ 55756 h 729579"/>
              <a:gd name="connsiteX6-8297" fmla="*/ 929702 w 1019937"/>
              <a:gd name="connsiteY6-8298" fmla="*/ 13978 h 729579"/>
              <a:gd name="connsiteX7-8299" fmla="*/ 879077 w 1019937"/>
              <a:gd name="connsiteY7-8300" fmla="*/ 69157 h 729579"/>
              <a:gd name="connsiteX8-8301" fmla="*/ 790632 w 1019937"/>
              <a:gd name="connsiteY8-8302" fmla="*/ 69703 h 729579"/>
              <a:gd name="connsiteX9-8303" fmla="*/ 826991 w 1019937"/>
              <a:gd name="connsiteY9-8304" fmla="*/ 5644 h 729579"/>
              <a:gd name="connsiteX10-8305" fmla="*/ 709412 w 1019937"/>
              <a:gd name="connsiteY10-8306" fmla="*/ 0 h 729579"/>
              <a:gd name="connsiteX11-8307" fmla="*/ 622295 w 1019937"/>
              <a:gd name="connsiteY11-8308" fmla="*/ 33464 h 729579"/>
              <a:gd name="connsiteX12-8309" fmla="*/ 534966 w 1019937"/>
              <a:gd name="connsiteY12-8310" fmla="*/ 50207 h 729579"/>
              <a:gd name="connsiteX13-8311" fmla="*/ 456481 w 1019937"/>
              <a:gd name="connsiteY13-8312" fmla="*/ 16732 h 729579"/>
              <a:gd name="connsiteX14-8313" fmla="*/ 339926 w 1019937"/>
              <a:gd name="connsiteY14-8314" fmla="*/ 58573 h 729579"/>
              <a:gd name="connsiteX15-8315" fmla="*/ 337664 w 1019937"/>
              <a:gd name="connsiteY15-8316" fmla="*/ 91438 h 729579"/>
              <a:gd name="connsiteX16-8317" fmla="*/ 354070 w 1019937"/>
              <a:gd name="connsiteY16-8318" fmla="*/ 97009 h 729579"/>
              <a:gd name="connsiteX17-8319" fmla="*/ 296647 w 1019937"/>
              <a:gd name="connsiteY17-8320" fmla="*/ 133216 h 729579"/>
              <a:gd name="connsiteX18-8321" fmla="*/ 278275 w 1019937"/>
              <a:gd name="connsiteY18-8322" fmla="*/ 222971 h 729579"/>
              <a:gd name="connsiteX19-8323" fmla="*/ 261013 w 1019937"/>
              <a:gd name="connsiteY19-8324" fmla="*/ 262080 h 729579"/>
              <a:gd name="connsiteX20-8325" fmla="*/ 181802 w 1019937"/>
              <a:gd name="connsiteY20-8326" fmla="*/ 205630 h 729579"/>
              <a:gd name="connsiteX21-8327" fmla="*/ 165907 w 1019937"/>
              <a:gd name="connsiteY21-8328" fmla="*/ 214681 h 729579"/>
              <a:gd name="connsiteX22-8329" fmla="*/ 207993 w 1019937"/>
              <a:gd name="connsiteY22-8330" fmla="*/ 306675 h 729579"/>
              <a:gd name="connsiteX23-8331" fmla="*/ 185690 w 1019937"/>
              <a:gd name="connsiteY23-8332" fmla="*/ 440500 h 729579"/>
              <a:gd name="connsiteX24-8333" fmla="*/ 79176 w 1019937"/>
              <a:gd name="connsiteY24-8334" fmla="*/ 463089 h 729579"/>
              <a:gd name="connsiteX25-8335" fmla="*/ 61488 w 1019937"/>
              <a:gd name="connsiteY25-8336" fmla="*/ 403377 h 729579"/>
              <a:gd name="connsiteX26-8337" fmla="*/ 0 w 1019937"/>
              <a:gd name="connsiteY26-8338" fmla="*/ 419276 h 729579"/>
              <a:gd name="connsiteX27-8339" fmla="*/ 71968 w 1019937"/>
              <a:gd name="connsiteY27-8340" fmla="*/ 565982 h 729579"/>
              <a:gd name="connsiteX28-8341" fmla="*/ 140227 w 1019937"/>
              <a:gd name="connsiteY28-8342" fmla="*/ 609744 h 729579"/>
              <a:gd name="connsiteX29-8343" fmla="*/ 243154 w 1019937"/>
              <a:gd name="connsiteY29-8344" fmla="*/ 729579 h 729579"/>
              <a:gd name="connsiteX30-8345" fmla="*/ 318522 w 1019937"/>
              <a:gd name="connsiteY30-8346" fmla="*/ 676324 h 729579"/>
              <a:gd name="connsiteX31-8347" fmla="*/ 366030 w 1019937"/>
              <a:gd name="connsiteY31-8348" fmla="*/ 554755 h 729579"/>
              <a:gd name="connsiteX32-8349" fmla="*/ 505685 w 1019937"/>
              <a:gd name="connsiteY32-8350" fmla="*/ 523317 h 729579"/>
              <a:gd name="connsiteX33-8351" fmla="*/ 525838 w 1019937"/>
              <a:gd name="connsiteY33-8352" fmla="*/ 528603 h 729579"/>
              <a:gd name="connsiteX34-8353" fmla="*/ 603174 w 1019937"/>
              <a:gd name="connsiteY34-8354" fmla="*/ 565847 h 729579"/>
              <a:gd name="connsiteX35-8355" fmla="*/ 652507 w 1019937"/>
              <a:gd name="connsiteY35-8356" fmla="*/ 621337 h 729579"/>
              <a:gd name="connsiteX36-8357" fmla="*/ 649635 w 1019937"/>
              <a:gd name="connsiteY36-8358" fmla="*/ 621337 h 729579"/>
              <a:gd name="connsiteX37-8359" fmla="*/ 687668 w 1019937"/>
              <a:gd name="connsiteY37-8360" fmla="*/ 654043 h 729579"/>
              <a:gd name="connsiteX38-8361" fmla="*/ 767548 w 1019937"/>
              <a:gd name="connsiteY38-8362" fmla="*/ 675561 h 729579"/>
              <a:gd name="connsiteX39-8363" fmla="*/ 760786 w 1019937"/>
              <a:gd name="connsiteY39-8364" fmla="*/ 561837 h 729579"/>
              <a:gd name="connsiteX40-8365" fmla="*/ 863868 w 1019937"/>
              <a:gd name="connsiteY40-8366" fmla="*/ 501158 h 729579"/>
              <a:gd name="connsiteX41-8367" fmla="*/ 932582 w 1019937"/>
              <a:gd name="connsiteY41-8368" fmla="*/ 559147 h 729579"/>
              <a:gd name="connsiteX42-8369" fmla="*/ 998163 w 1019937"/>
              <a:gd name="connsiteY42-8370" fmla="*/ 349147 h 729579"/>
              <a:gd name="connsiteX43-8371" fmla="*/ 911911 w 1019937"/>
              <a:gd name="connsiteY43-8372" fmla="*/ 345273 h 729579"/>
              <a:gd name="connsiteX0-8373" fmla="*/ 911911 w 1019937"/>
              <a:gd name="connsiteY0-8374" fmla="*/ 345273 h 729579"/>
              <a:gd name="connsiteX1-8375" fmla="*/ 998275 w 1019937"/>
              <a:gd name="connsiteY1-8376" fmla="*/ 281607 h 729579"/>
              <a:gd name="connsiteX2-8377" fmla="*/ 942091 w 1019937"/>
              <a:gd name="connsiteY2-8378" fmla="*/ 203529 h 729579"/>
              <a:gd name="connsiteX3-8379" fmla="*/ 1011947 w 1019937"/>
              <a:gd name="connsiteY3-8380" fmla="*/ 189592 h 729579"/>
              <a:gd name="connsiteX4-8381" fmla="*/ 927994 w 1019937"/>
              <a:gd name="connsiteY4-8382" fmla="*/ 125469 h 729579"/>
              <a:gd name="connsiteX5-8383" fmla="*/ 1019937 w 1019937"/>
              <a:gd name="connsiteY5-8384" fmla="*/ 55756 h 729579"/>
              <a:gd name="connsiteX6-8385" fmla="*/ 929702 w 1019937"/>
              <a:gd name="connsiteY6-8386" fmla="*/ 13978 h 729579"/>
              <a:gd name="connsiteX7-8387" fmla="*/ 879077 w 1019937"/>
              <a:gd name="connsiteY7-8388" fmla="*/ 69157 h 729579"/>
              <a:gd name="connsiteX8-8389" fmla="*/ 790632 w 1019937"/>
              <a:gd name="connsiteY8-8390" fmla="*/ 69703 h 729579"/>
              <a:gd name="connsiteX9-8391" fmla="*/ 826991 w 1019937"/>
              <a:gd name="connsiteY9-8392" fmla="*/ 5644 h 729579"/>
              <a:gd name="connsiteX10-8393" fmla="*/ 709412 w 1019937"/>
              <a:gd name="connsiteY10-8394" fmla="*/ 0 h 729579"/>
              <a:gd name="connsiteX11-8395" fmla="*/ 622295 w 1019937"/>
              <a:gd name="connsiteY11-8396" fmla="*/ 33464 h 729579"/>
              <a:gd name="connsiteX12-8397" fmla="*/ 534966 w 1019937"/>
              <a:gd name="connsiteY12-8398" fmla="*/ 50207 h 729579"/>
              <a:gd name="connsiteX13-8399" fmla="*/ 456481 w 1019937"/>
              <a:gd name="connsiteY13-8400" fmla="*/ 16732 h 729579"/>
              <a:gd name="connsiteX14-8401" fmla="*/ 339926 w 1019937"/>
              <a:gd name="connsiteY14-8402" fmla="*/ 58573 h 729579"/>
              <a:gd name="connsiteX15-8403" fmla="*/ 337664 w 1019937"/>
              <a:gd name="connsiteY15-8404" fmla="*/ 91438 h 729579"/>
              <a:gd name="connsiteX16-8405" fmla="*/ 354070 w 1019937"/>
              <a:gd name="connsiteY16-8406" fmla="*/ 97009 h 729579"/>
              <a:gd name="connsiteX17-8407" fmla="*/ 296647 w 1019937"/>
              <a:gd name="connsiteY17-8408" fmla="*/ 133216 h 729579"/>
              <a:gd name="connsiteX18-8409" fmla="*/ 278275 w 1019937"/>
              <a:gd name="connsiteY18-8410" fmla="*/ 222971 h 729579"/>
              <a:gd name="connsiteX19-8411" fmla="*/ 261013 w 1019937"/>
              <a:gd name="connsiteY19-8412" fmla="*/ 262080 h 729579"/>
              <a:gd name="connsiteX20-8413" fmla="*/ 181802 w 1019937"/>
              <a:gd name="connsiteY20-8414" fmla="*/ 205630 h 729579"/>
              <a:gd name="connsiteX21-8415" fmla="*/ 165907 w 1019937"/>
              <a:gd name="connsiteY21-8416" fmla="*/ 214681 h 729579"/>
              <a:gd name="connsiteX22-8417" fmla="*/ 207993 w 1019937"/>
              <a:gd name="connsiteY22-8418" fmla="*/ 306675 h 729579"/>
              <a:gd name="connsiteX23-8419" fmla="*/ 185690 w 1019937"/>
              <a:gd name="connsiteY23-8420" fmla="*/ 440500 h 729579"/>
              <a:gd name="connsiteX24-8421" fmla="*/ 79176 w 1019937"/>
              <a:gd name="connsiteY24-8422" fmla="*/ 463089 h 729579"/>
              <a:gd name="connsiteX25-8423" fmla="*/ 61488 w 1019937"/>
              <a:gd name="connsiteY25-8424" fmla="*/ 403377 h 729579"/>
              <a:gd name="connsiteX26-8425" fmla="*/ 0 w 1019937"/>
              <a:gd name="connsiteY26-8426" fmla="*/ 419276 h 729579"/>
              <a:gd name="connsiteX27-8427" fmla="*/ 71968 w 1019937"/>
              <a:gd name="connsiteY27-8428" fmla="*/ 565982 h 729579"/>
              <a:gd name="connsiteX28-8429" fmla="*/ 140227 w 1019937"/>
              <a:gd name="connsiteY28-8430" fmla="*/ 609744 h 729579"/>
              <a:gd name="connsiteX29-8431" fmla="*/ 243154 w 1019937"/>
              <a:gd name="connsiteY29-8432" fmla="*/ 729579 h 729579"/>
              <a:gd name="connsiteX30-8433" fmla="*/ 318522 w 1019937"/>
              <a:gd name="connsiteY30-8434" fmla="*/ 676324 h 729579"/>
              <a:gd name="connsiteX31-8435" fmla="*/ 366030 w 1019937"/>
              <a:gd name="connsiteY31-8436" fmla="*/ 554755 h 729579"/>
              <a:gd name="connsiteX32-8437" fmla="*/ 505685 w 1019937"/>
              <a:gd name="connsiteY32-8438" fmla="*/ 523317 h 729579"/>
              <a:gd name="connsiteX33-8439" fmla="*/ 525838 w 1019937"/>
              <a:gd name="connsiteY33-8440" fmla="*/ 528603 h 729579"/>
              <a:gd name="connsiteX34-8441" fmla="*/ 597706 w 1019937"/>
              <a:gd name="connsiteY34-8442" fmla="*/ 574202 h 729579"/>
              <a:gd name="connsiteX35-8443" fmla="*/ 652507 w 1019937"/>
              <a:gd name="connsiteY35-8444" fmla="*/ 621337 h 729579"/>
              <a:gd name="connsiteX36-8445" fmla="*/ 649635 w 1019937"/>
              <a:gd name="connsiteY36-8446" fmla="*/ 621337 h 729579"/>
              <a:gd name="connsiteX37-8447" fmla="*/ 687668 w 1019937"/>
              <a:gd name="connsiteY37-8448" fmla="*/ 654043 h 729579"/>
              <a:gd name="connsiteX38-8449" fmla="*/ 767548 w 1019937"/>
              <a:gd name="connsiteY38-8450" fmla="*/ 675561 h 729579"/>
              <a:gd name="connsiteX39-8451" fmla="*/ 760786 w 1019937"/>
              <a:gd name="connsiteY39-8452" fmla="*/ 561837 h 729579"/>
              <a:gd name="connsiteX40-8453" fmla="*/ 863868 w 1019937"/>
              <a:gd name="connsiteY40-8454" fmla="*/ 501158 h 729579"/>
              <a:gd name="connsiteX41-8455" fmla="*/ 932582 w 1019937"/>
              <a:gd name="connsiteY41-8456" fmla="*/ 559147 h 729579"/>
              <a:gd name="connsiteX42-8457" fmla="*/ 998163 w 1019937"/>
              <a:gd name="connsiteY42-8458" fmla="*/ 349147 h 729579"/>
              <a:gd name="connsiteX43-8459" fmla="*/ 911911 w 1019937"/>
              <a:gd name="connsiteY43-8460" fmla="*/ 345273 h 729579"/>
              <a:gd name="connsiteX0-8461" fmla="*/ 911911 w 1019937"/>
              <a:gd name="connsiteY0-8462" fmla="*/ 345273 h 729579"/>
              <a:gd name="connsiteX1-8463" fmla="*/ 998275 w 1019937"/>
              <a:gd name="connsiteY1-8464" fmla="*/ 281607 h 729579"/>
              <a:gd name="connsiteX2-8465" fmla="*/ 942091 w 1019937"/>
              <a:gd name="connsiteY2-8466" fmla="*/ 203529 h 729579"/>
              <a:gd name="connsiteX3-8467" fmla="*/ 1011947 w 1019937"/>
              <a:gd name="connsiteY3-8468" fmla="*/ 189592 h 729579"/>
              <a:gd name="connsiteX4-8469" fmla="*/ 927994 w 1019937"/>
              <a:gd name="connsiteY4-8470" fmla="*/ 125469 h 729579"/>
              <a:gd name="connsiteX5-8471" fmla="*/ 1019937 w 1019937"/>
              <a:gd name="connsiteY5-8472" fmla="*/ 55756 h 729579"/>
              <a:gd name="connsiteX6-8473" fmla="*/ 935171 w 1019937"/>
              <a:gd name="connsiteY6-8474" fmla="*/ 11194 h 729579"/>
              <a:gd name="connsiteX7-8475" fmla="*/ 879077 w 1019937"/>
              <a:gd name="connsiteY7-8476" fmla="*/ 69157 h 729579"/>
              <a:gd name="connsiteX8-8477" fmla="*/ 790632 w 1019937"/>
              <a:gd name="connsiteY8-8478" fmla="*/ 69703 h 729579"/>
              <a:gd name="connsiteX9-8479" fmla="*/ 826991 w 1019937"/>
              <a:gd name="connsiteY9-8480" fmla="*/ 5644 h 729579"/>
              <a:gd name="connsiteX10-8481" fmla="*/ 709412 w 1019937"/>
              <a:gd name="connsiteY10-8482" fmla="*/ 0 h 729579"/>
              <a:gd name="connsiteX11-8483" fmla="*/ 622295 w 1019937"/>
              <a:gd name="connsiteY11-8484" fmla="*/ 33464 h 729579"/>
              <a:gd name="connsiteX12-8485" fmla="*/ 534966 w 1019937"/>
              <a:gd name="connsiteY12-8486" fmla="*/ 50207 h 729579"/>
              <a:gd name="connsiteX13-8487" fmla="*/ 456481 w 1019937"/>
              <a:gd name="connsiteY13-8488" fmla="*/ 16732 h 729579"/>
              <a:gd name="connsiteX14-8489" fmla="*/ 339926 w 1019937"/>
              <a:gd name="connsiteY14-8490" fmla="*/ 58573 h 729579"/>
              <a:gd name="connsiteX15-8491" fmla="*/ 337664 w 1019937"/>
              <a:gd name="connsiteY15-8492" fmla="*/ 91438 h 729579"/>
              <a:gd name="connsiteX16-8493" fmla="*/ 354070 w 1019937"/>
              <a:gd name="connsiteY16-8494" fmla="*/ 97009 h 729579"/>
              <a:gd name="connsiteX17-8495" fmla="*/ 296647 w 1019937"/>
              <a:gd name="connsiteY17-8496" fmla="*/ 133216 h 729579"/>
              <a:gd name="connsiteX18-8497" fmla="*/ 278275 w 1019937"/>
              <a:gd name="connsiteY18-8498" fmla="*/ 222971 h 729579"/>
              <a:gd name="connsiteX19-8499" fmla="*/ 261013 w 1019937"/>
              <a:gd name="connsiteY19-8500" fmla="*/ 262080 h 729579"/>
              <a:gd name="connsiteX20-8501" fmla="*/ 181802 w 1019937"/>
              <a:gd name="connsiteY20-8502" fmla="*/ 205630 h 729579"/>
              <a:gd name="connsiteX21-8503" fmla="*/ 165907 w 1019937"/>
              <a:gd name="connsiteY21-8504" fmla="*/ 214681 h 729579"/>
              <a:gd name="connsiteX22-8505" fmla="*/ 207993 w 1019937"/>
              <a:gd name="connsiteY22-8506" fmla="*/ 306675 h 729579"/>
              <a:gd name="connsiteX23-8507" fmla="*/ 185690 w 1019937"/>
              <a:gd name="connsiteY23-8508" fmla="*/ 440500 h 729579"/>
              <a:gd name="connsiteX24-8509" fmla="*/ 79176 w 1019937"/>
              <a:gd name="connsiteY24-8510" fmla="*/ 463089 h 729579"/>
              <a:gd name="connsiteX25-8511" fmla="*/ 61488 w 1019937"/>
              <a:gd name="connsiteY25-8512" fmla="*/ 403377 h 729579"/>
              <a:gd name="connsiteX26-8513" fmla="*/ 0 w 1019937"/>
              <a:gd name="connsiteY26-8514" fmla="*/ 419276 h 729579"/>
              <a:gd name="connsiteX27-8515" fmla="*/ 71968 w 1019937"/>
              <a:gd name="connsiteY27-8516" fmla="*/ 565982 h 729579"/>
              <a:gd name="connsiteX28-8517" fmla="*/ 140227 w 1019937"/>
              <a:gd name="connsiteY28-8518" fmla="*/ 609744 h 729579"/>
              <a:gd name="connsiteX29-8519" fmla="*/ 243154 w 1019937"/>
              <a:gd name="connsiteY29-8520" fmla="*/ 729579 h 729579"/>
              <a:gd name="connsiteX30-8521" fmla="*/ 318522 w 1019937"/>
              <a:gd name="connsiteY30-8522" fmla="*/ 676324 h 729579"/>
              <a:gd name="connsiteX31-8523" fmla="*/ 366030 w 1019937"/>
              <a:gd name="connsiteY31-8524" fmla="*/ 554755 h 729579"/>
              <a:gd name="connsiteX32-8525" fmla="*/ 505685 w 1019937"/>
              <a:gd name="connsiteY32-8526" fmla="*/ 523317 h 729579"/>
              <a:gd name="connsiteX33-8527" fmla="*/ 525838 w 1019937"/>
              <a:gd name="connsiteY33-8528" fmla="*/ 528603 h 729579"/>
              <a:gd name="connsiteX34-8529" fmla="*/ 597706 w 1019937"/>
              <a:gd name="connsiteY34-8530" fmla="*/ 574202 h 729579"/>
              <a:gd name="connsiteX35-8531" fmla="*/ 652507 w 1019937"/>
              <a:gd name="connsiteY35-8532" fmla="*/ 621337 h 729579"/>
              <a:gd name="connsiteX36-8533" fmla="*/ 649635 w 1019937"/>
              <a:gd name="connsiteY36-8534" fmla="*/ 621337 h 729579"/>
              <a:gd name="connsiteX37-8535" fmla="*/ 687668 w 1019937"/>
              <a:gd name="connsiteY37-8536" fmla="*/ 654043 h 729579"/>
              <a:gd name="connsiteX38-8537" fmla="*/ 767548 w 1019937"/>
              <a:gd name="connsiteY38-8538" fmla="*/ 675561 h 729579"/>
              <a:gd name="connsiteX39-8539" fmla="*/ 760786 w 1019937"/>
              <a:gd name="connsiteY39-8540" fmla="*/ 561837 h 729579"/>
              <a:gd name="connsiteX40-8541" fmla="*/ 863868 w 1019937"/>
              <a:gd name="connsiteY40-8542" fmla="*/ 501158 h 729579"/>
              <a:gd name="connsiteX41-8543" fmla="*/ 932582 w 1019937"/>
              <a:gd name="connsiteY41-8544" fmla="*/ 559147 h 729579"/>
              <a:gd name="connsiteX42-8545" fmla="*/ 998163 w 1019937"/>
              <a:gd name="connsiteY42-8546" fmla="*/ 349147 h 729579"/>
              <a:gd name="connsiteX43-8547" fmla="*/ 911911 w 1019937"/>
              <a:gd name="connsiteY43-8548" fmla="*/ 345273 h 729579"/>
              <a:gd name="connsiteX0-8549" fmla="*/ 911911 w 1019937"/>
              <a:gd name="connsiteY0-8550" fmla="*/ 345273 h 729579"/>
              <a:gd name="connsiteX1-8551" fmla="*/ 998275 w 1019937"/>
              <a:gd name="connsiteY1-8552" fmla="*/ 281607 h 729579"/>
              <a:gd name="connsiteX2-8553" fmla="*/ 942091 w 1019937"/>
              <a:gd name="connsiteY2-8554" fmla="*/ 203529 h 729579"/>
              <a:gd name="connsiteX3-8555" fmla="*/ 1011947 w 1019937"/>
              <a:gd name="connsiteY3-8556" fmla="*/ 189592 h 729579"/>
              <a:gd name="connsiteX4-8557" fmla="*/ 927994 w 1019937"/>
              <a:gd name="connsiteY4-8558" fmla="*/ 125469 h 729579"/>
              <a:gd name="connsiteX5-8559" fmla="*/ 1019937 w 1019937"/>
              <a:gd name="connsiteY5-8560" fmla="*/ 55756 h 729579"/>
              <a:gd name="connsiteX6-8561" fmla="*/ 926967 w 1019937"/>
              <a:gd name="connsiteY6-8562" fmla="*/ 8408 h 729579"/>
              <a:gd name="connsiteX7-8563" fmla="*/ 879077 w 1019937"/>
              <a:gd name="connsiteY7-8564" fmla="*/ 69157 h 729579"/>
              <a:gd name="connsiteX8-8565" fmla="*/ 790632 w 1019937"/>
              <a:gd name="connsiteY8-8566" fmla="*/ 69703 h 729579"/>
              <a:gd name="connsiteX9-8567" fmla="*/ 826991 w 1019937"/>
              <a:gd name="connsiteY9-8568" fmla="*/ 5644 h 729579"/>
              <a:gd name="connsiteX10-8569" fmla="*/ 709412 w 1019937"/>
              <a:gd name="connsiteY10-8570" fmla="*/ 0 h 729579"/>
              <a:gd name="connsiteX11-8571" fmla="*/ 622295 w 1019937"/>
              <a:gd name="connsiteY11-8572" fmla="*/ 33464 h 729579"/>
              <a:gd name="connsiteX12-8573" fmla="*/ 534966 w 1019937"/>
              <a:gd name="connsiteY12-8574" fmla="*/ 50207 h 729579"/>
              <a:gd name="connsiteX13-8575" fmla="*/ 456481 w 1019937"/>
              <a:gd name="connsiteY13-8576" fmla="*/ 16732 h 729579"/>
              <a:gd name="connsiteX14-8577" fmla="*/ 339926 w 1019937"/>
              <a:gd name="connsiteY14-8578" fmla="*/ 58573 h 729579"/>
              <a:gd name="connsiteX15-8579" fmla="*/ 337664 w 1019937"/>
              <a:gd name="connsiteY15-8580" fmla="*/ 91438 h 729579"/>
              <a:gd name="connsiteX16-8581" fmla="*/ 354070 w 1019937"/>
              <a:gd name="connsiteY16-8582" fmla="*/ 97009 h 729579"/>
              <a:gd name="connsiteX17-8583" fmla="*/ 296647 w 1019937"/>
              <a:gd name="connsiteY17-8584" fmla="*/ 133216 h 729579"/>
              <a:gd name="connsiteX18-8585" fmla="*/ 278275 w 1019937"/>
              <a:gd name="connsiteY18-8586" fmla="*/ 222971 h 729579"/>
              <a:gd name="connsiteX19-8587" fmla="*/ 261013 w 1019937"/>
              <a:gd name="connsiteY19-8588" fmla="*/ 262080 h 729579"/>
              <a:gd name="connsiteX20-8589" fmla="*/ 181802 w 1019937"/>
              <a:gd name="connsiteY20-8590" fmla="*/ 205630 h 729579"/>
              <a:gd name="connsiteX21-8591" fmla="*/ 165907 w 1019937"/>
              <a:gd name="connsiteY21-8592" fmla="*/ 214681 h 729579"/>
              <a:gd name="connsiteX22-8593" fmla="*/ 207993 w 1019937"/>
              <a:gd name="connsiteY22-8594" fmla="*/ 306675 h 729579"/>
              <a:gd name="connsiteX23-8595" fmla="*/ 185690 w 1019937"/>
              <a:gd name="connsiteY23-8596" fmla="*/ 440500 h 729579"/>
              <a:gd name="connsiteX24-8597" fmla="*/ 79176 w 1019937"/>
              <a:gd name="connsiteY24-8598" fmla="*/ 463089 h 729579"/>
              <a:gd name="connsiteX25-8599" fmla="*/ 61488 w 1019937"/>
              <a:gd name="connsiteY25-8600" fmla="*/ 403377 h 729579"/>
              <a:gd name="connsiteX26-8601" fmla="*/ 0 w 1019937"/>
              <a:gd name="connsiteY26-8602" fmla="*/ 419276 h 729579"/>
              <a:gd name="connsiteX27-8603" fmla="*/ 71968 w 1019937"/>
              <a:gd name="connsiteY27-8604" fmla="*/ 565982 h 729579"/>
              <a:gd name="connsiteX28-8605" fmla="*/ 140227 w 1019937"/>
              <a:gd name="connsiteY28-8606" fmla="*/ 609744 h 729579"/>
              <a:gd name="connsiteX29-8607" fmla="*/ 243154 w 1019937"/>
              <a:gd name="connsiteY29-8608" fmla="*/ 729579 h 729579"/>
              <a:gd name="connsiteX30-8609" fmla="*/ 318522 w 1019937"/>
              <a:gd name="connsiteY30-8610" fmla="*/ 676324 h 729579"/>
              <a:gd name="connsiteX31-8611" fmla="*/ 366030 w 1019937"/>
              <a:gd name="connsiteY31-8612" fmla="*/ 554755 h 729579"/>
              <a:gd name="connsiteX32-8613" fmla="*/ 505685 w 1019937"/>
              <a:gd name="connsiteY32-8614" fmla="*/ 523317 h 729579"/>
              <a:gd name="connsiteX33-8615" fmla="*/ 525838 w 1019937"/>
              <a:gd name="connsiteY33-8616" fmla="*/ 528603 h 729579"/>
              <a:gd name="connsiteX34-8617" fmla="*/ 597706 w 1019937"/>
              <a:gd name="connsiteY34-8618" fmla="*/ 574202 h 729579"/>
              <a:gd name="connsiteX35-8619" fmla="*/ 652507 w 1019937"/>
              <a:gd name="connsiteY35-8620" fmla="*/ 621337 h 729579"/>
              <a:gd name="connsiteX36-8621" fmla="*/ 649635 w 1019937"/>
              <a:gd name="connsiteY36-8622" fmla="*/ 621337 h 729579"/>
              <a:gd name="connsiteX37-8623" fmla="*/ 687668 w 1019937"/>
              <a:gd name="connsiteY37-8624" fmla="*/ 654043 h 729579"/>
              <a:gd name="connsiteX38-8625" fmla="*/ 767548 w 1019937"/>
              <a:gd name="connsiteY38-8626" fmla="*/ 675561 h 729579"/>
              <a:gd name="connsiteX39-8627" fmla="*/ 760786 w 1019937"/>
              <a:gd name="connsiteY39-8628" fmla="*/ 561837 h 729579"/>
              <a:gd name="connsiteX40-8629" fmla="*/ 863868 w 1019937"/>
              <a:gd name="connsiteY40-8630" fmla="*/ 501158 h 729579"/>
              <a:gd name="connsiteX41-8631" fmla="*/ 932582 w 1019937"/>
              <a:gd name="connsiteY41-8632" fmla="*/ 559147 h 729579"/>
              <a:gd name="connsiteX42-8633" fmla="*/ 998163 w 1019937"/>
              <a:gd name="connsiteY42-8634" fmla="*/ 349147 h 729579"/>
              <a:gd name="connsiteX43-8635" fmla="*/ 911911 w 1019937"/>
              <a:gd name="connsiteY43-8636" fmla="*/ 345273 h 729579"/>
              <a:gd name="connsiteX0-8637" fmla="*/ 911911 w 1025406"/>
              <a:gd name="connsiteY0-8638" fmla="*/ 345273 h 729579"/>
              <a:gd name="connsiteX1-8639" fmla="*/ 998275 w 1025406"/>
              <a:gd name="connsiteY1-8640" fmla="*/ 281607 h 729579"/>
              <a:gd name="connsiteX2-8641" fmla="*/ 942091 w 1025406"/>
              <a:gd name="connsiteY2-8642" fmla="*/ 203529 h 729579"/>
              <a:gd name="connsiteX3-8643" fmla="*/ 1011947 w 1025406"/>
              <a:gd name="connsiteY3-8644" fmla="*/ 189592 h 729579"/>
              <a:gd name="connsiteX4-8645" fmla="*/ 927994 w 1025406"/>
              <a:gd name="connsiteY4-8646" fmla="*/ 125469 h 729579"/>
              <a:gd name="connsiteX5-8647" fmla="*/ 1025406 w 1025406"/>
              <a:gd name="connsiteY5-8648" fmla="*/ 47401 h 729579"/>
              <a:gd name="connsiteX6-8649" fmla="*/ 926967 w 1025406"/>
              <a:gd name="connsiteY6-8650" fmla="*/ 8408 h 729579"/>
              <a:gd name="connsiteX7-8651" fmla="*/ 879077 w 1025406"/>
              <a:gd name="connsiteY7-8652" fmla="*/ 69157 h 729579"/>
              <a:gd name="connsiteX8-8653" fmla="*/ 790632 w 1025406"/>
              <a:gd name="connsiteY8-8654" fmla="*/ 69703 h 729579"/>
              <a:gd name="connsiteX9-8655" fmla="*/ 826991 w 1025406"/>
              <a:gd name="connsiteY9-8656" fmla="*/ 5644 h 729579"/>
              <a:gd name="connsiteX10-8657" fmla="*/ 709412 w 1025406"/>
              <a:gd name="connsiteY10-8658" fmla="*/ 0 h 729579"/>
              <a:gd name="connsiteX11-8659" fmla="*/ 622295 w 1025406"/>
              <a:gd name="connsiteY11-8660" fmla="*/ 33464 h 729579"/>
              <a:gd name="connsiteX12-8661" fmla="*/ 534966 w 1025406"/>
              <a:gd name="connsiteY12-8662" fmla="*/ 50207 h 729579"/>
              <a:gd name="connsiteX13-8663" fmla="*/ 456481 w 1025406"/>
              <a:gd name="connsiteY13-8664" fmla="*/ 16732 h 729579"/>
              <a:gd name="connsiteX14-8665" fmla="*/ 339926 w 1025406"/>
              <a:gd name="connsiteY14-8666" fmla="*/ 58573 h 729579"/>
              <a:gd name="connsiteX15-8667" fmla="*/ 337664 w 1025406"/>
              <a:gd name="connsiteY15-8668" fmla="*/ 91438 h 729579"/>
              <a:gd name="connsiteX16-8669" fmla="*/ 354070 w 1025406"/>
              <a:gd name="connsiteY16-8670" fmla="*/ 97009 h 729579"/>
              <a:gd name="connsiteX17-8671" fmla="*/ 296647 w 1025406"/>
              <a:gd name="connsiteY17-8672" fmla="*/ 133216 h 729579"/>
              <a:gd name="connsiteX18-8673" fmla="*/ 278275 w 1025406"/>
              <a:gd name="connsiteY18-8674" fmla="*/ 222971 h 729579"/>
              <a:gd name="connsiteX19-8675" fmla="*/ 261013 w 1025406"/>
              <a:gd name="connsiteY19-8676" fmla="*/ 262080 h 729579"/>
              <a:gd name="connsiteX20-8677" fmla="*/ 181802 w 1025406"/>
              <a:gd name="connsiteY20-8678" fmla="*/ 205630 h 729579"/>
              <a:gd name="connsiteX21-8679" fmla="*/ 165907 w 1025406"/>
              <a:gd name="connsiteY21-8680" fmla="*/ 214681 h 729579"/>
              <a:gd name="connsiteX22-8681" fmla="*/ 207993 w 1025406"/>
              <a:gd name="connsiteY22-8682" fmla="*/ 306675 h 729579"/>
              <a:gd name="connsiteX23-8683" fmla="*/ 185690 w 1025406"/>
              <a:gd name="connsiteY23-8684" fmla="*/ 440500 h 729579"/>
              <a:gd name="connsiteX24-8685" fmla="*/ 79176 w 1025406"/>
              <a:gd name="connsiteY24-8686" fmla="*/ 463089 h 729579"/>
              <a:gd name="connsiteX25-8687" fmla="*/ 61488 w 1025406"/>
              <a:gd name="connsiteY25-8688" fmla="*/ 403377 h 729579"/>
              <a:gd name="connsiteX26-8689" fmla="*/ 0 w 1025406"/>
              <a:gd name="connsiteY26-8690" fmla="*/ 419276 h 729579"/>
              <a:gd name="connsiteX27-8691" fmla="*/ 71968 w 1025406"/>
              <a:gd name="connsiteY27-8692" fmla="*/ 565982 h 729579"/>
              <a:gd name="connsiteX28-8693" fmla="*/ 140227 w 1025406"/>
              <a:gd name="connsiteY28-8694" fmla="*/ 609744 h 729579"/>
              <a:gd name="connsiteX29-8695" fmla="*/ 243154 w 1025406"/>
              <a:gd name="connsiteY29-8696" fmla="*/ 729579 h 729579"/>
              <a:gd name="connsiteX30-8697" fmla="*/ 318522 w 1025406"/>
              <a:gd name="connsiteY30-8698" fmla="*/ 676324 h 729579"/>
              <a:gd name="connsiteX31-8699" fmla="*/ 366030 w 1025406"/>
              <a:gd name="connsiteY31-8700" fmla="*/ 554755 h 729579"/>
              <a:gd name="connsiteX32-8701" fmla="*/ 505685 w 1025406"/>
              <a:gd name="connsiteY32-8702" fmla="*/ 523317 h 729579"/>
              <a:gd name="connsiteX33-8703" fmla="*/ 525838 w 1025406"/>
              <a:gd name="connsiteY33-8704" fmla="*/ 528603 h 729579"/>
              <a:gd name="connsiteX34-8705" fmla="*/ 597706 w 1025406"/>
              <a:gd name="connsiteY34-8706" fmla="*/ 574202 h 729579"/>
              <a:gd name="connsiteX35-8707" fmla="*/ 652507 w 1025406"/>
              <a:gd name="connsiteY35-8708" fmla="*/ 621337 h 729579"/>
              <a:gd name="connsiteX36-8709" fmla="*/ 649635 w 1025406"/>
              <a:gd name="connsiteY36-8710" fmla="*/ 621337 h 729579"/>
              <a:gd name="connsiteX37-8711" fmla="*/ 687668 w 1025406"/>
              <a:gd name="connsiteY37-8712" fmla="*/ 654043 h 729579"/>
              <a:gd name="connsiteX38-8713" fmla="*/ 767548 w 1025406"/>
              <a:gd name="connsiteY38-8714" fmla="*/ 675561 h 729579"/>
              <a:gd name="connsiteX39-8715" fmla="*/ 760786 w 1025406"/>
              <a:gd name="connsiteY39-8716" fmla="*/ 561837 h 729579"/>
              <a:gd name="connsiteX40-8717" fmla="*/ 863868 w 1025406"/>
              <a:gd name="connsiteY40-8718" fmla="*/ 501158 h 729579"/>
              <a:gd name="connsiteX41-8719" fmla="*/ 932582 w 1025406"/>
              <a:gd name="connsiteY41-8720" fmla="*/ 559147 h 729579"/>
              <a:gd name="connsiteX42-8721" fmla="*/ 998163 w 1025406"/>
              <a:gd name="connsiteY42-8722" fmla="*/ 349147 h 729579"/>
              <a:gd name="connsiteX43-8723" fmla="*/ 911911 w 1025406"/>
              <a:gd name="connsiteY43-8724" fmla="*/ 345273 h 729579"/>
              <a:gd name="connsiteX0-8725" fmla="*/ 911911 w 1025406"/>
              <a:gd name="connsiteY0-8726" fmla="*/ 345273 h 729579"/>
              <a:gd name="connsiteX1-8727" fmla="*/ 998275 w 1025406"/>
              <a:gd name="connsiteY1-8728" fmla="*/ 281607 h 729579"/>
              <a:gd name="connsiteX2-8729" fmla="*/ 942091 w 1025406"/>
              <a:gd name="connsiteY2-8730" fmla="*/ 203529 h 729579"/>
              <a:gd name="connsiteX3-8731" fmla="*/ 1011947 w 1025406"/>
              <a:gd name="connsiteY3-8732" fmla="*/ 189592 h 729579"/>
              <a:gd name="connsiteX4-8733" fmla="*/ 927994 w 1025406"/>
              <a:gd name="connsiteY4-8734" fmla="*/ 125469 h 729579"/>
              <a:gd name="connsiteX5-8735" fmla="*/ 1025406 w 1025406"/>
              <a:gd name="connsiteY5-8736" fmla="*/ 47401 h 729579"/>
              <a:gd name="connsiteX6-8737" fmla="*/ 926967 w 1025406"/>
              <a:gd name="connsiteY6-8738" fmla="*/ 8408 h 729579"/>
              <a:gd name="connsiteX7-8739" fmla="*/ 879077 w 1025406"/>
              <a:gd name="connsiteY7-8740" fmla="*/ 69157 h 729579"/>
              <a:gd name="connsiteX8-8741" fmla="*/ 790632 w 1025406"/>
              <a:gd name="connsiteY8-8742" fmla="*/ 69703 h 729579"/>
              <a:gd name="connsiteX9-8743" fmla="*/ 826991 w 1025406"/>
              <a:gd name="connsiteY9-8744" fmla="*/ 5644 h 729579"/>
              <a:gd name="connsiteX10-8745" fmla="*/ 709412 w 1025406"/>
              <a:gd name="connsiteY10-8746" fmla="*/ 0 h 729579"/>
              <a:gd name="connsiteX11-8747" fmla="*/ 622295 w 1025406"/>
              <a:gd name="connsiteY11-8748" fmla="*/ 33464 h 729579"/>
              <a:gd name="connsiteX12-8749" fmla="*/ 534966 w 1025406"/>
              <a:gd name="connsiteY12-8750" fmla="*/ 50207 h 729579"/>
              <a:gd name="connsiteX13-8751" fmla="*/ 456481 w 1025406"/>
              <a:gd name="connsiteY13-8752" fmla="*/ 16732 h 729579"/>
              <a:gd name="connsiteX14-8753" fmla="*/ 339926 w 1025406"/>
              <a:gd name="connsiteY14-8754" fmla="*/ 58573 h 729579"/>
              <a:gd name="connsiteX15-8755" fmla="*/ 337664 w 1025406"/>
              <a:gd name="connsiteY15-8756" fmla="*/ 91438 h 729579"/>
              <a:gd name="connsiteX16-8757" fmla="*/ 354070 w 1025406"/>
              <a:gd name="connsiteY16-8758" fmla="*/ 97009 h 729579"/>
              <a:gd name="connsiteX17-8759" fmla="*/ 296647 w 1025406"/>
              <a:gd name="connsiteY17-8760" fmla="*/ 133216 h 729579"/>
              <a:gd name="connsiteX18-8761" fmla="*/ 278275 w 1025406"/>
              <a:gd name="connsiteY18-8762" fmla="*/ 222971 h 729579"/>
              <a:gd name="connsiteX19-8763" fmla="*/ 261013 w 1025406"/>
              <a:gd name="connsiteY19-8764" fmla="*/ 262080 h 729579"/>
              <a:gd name="connsiteX20-8765" fmla="*/ 181802 w 1025406"/>
              <a:gd name="connsiteY20-8766" fmla="*/ 205630 h 729579"/>
              <a:gd name="connsiteX21-8767" fmla="*/ 165907 w 1025406"/>
              <a:gd name="connsiteY21-8768" fmla="*/ 214681 h 729579"/>
              <a:gd name="connsiteX22-8769" fmla="*/ 207993 w 1025406"/>
              <a:gd name="connsiteY22-8770" fmla="*/ 306675 h 729579"/>
              <a:gd name="connsiteX23-8771" fmla="*/ 185690 w 1025406"/>
              <a:gd name="connsiteY23-8772" fmla="*/ 440500 h 729579"/>
              <a:gd name="connsiteX24-8773" fmla="*/ 79176 w 1025406"/>
              <a:gd name="connsiteY24-8774" fmla="*/ 463089 h 729579"/>
              <a:gd name="connsiteX25-8775" fmla="*/ 61488 w 1025406"/>
              <a:gd name="connsiteY25-8776" fmla="*/ 403377 h 729579"/>
              <a:gd name="connsiteX26-8777" fmla="*/ 0 w 1025406"/>
              <a:gd name="connsiteY26-8778" fmla="*/ 419276 h 729579"/>
              <a:gd name="connsiteX27-8779" fmla="*/ 71968 w 1025406"/>
              <a:gd name="connsiteY27-8780" fmla="*/ 565982 h 729579"/>
              <a:gd name="connsiteX28-8781" fmla="*/ 140227 w 1025406"/>
              <a:gd name="connsiteY28-8782" fmla="*/ 609744 h 729579"/>
              <a:gd name="connsiteX29-8783" fmla="*/ 243154 w 1025406"/>
              <a:gd name="connsiteY29-8784" fmla="*/ 729579 h 729579"/>
              <a:gd name="connsiteX30-8785" fmla="*/ 318522 w 1025406"/>
              <a:gd name="connsiteY30-8786" fmla="*/ 676324 h 729579"/>
              <a:gd name="connsiteX31-8787" fmla="*/ 366030 w 1025406"/>
              <a:gd name="connsiteY31-8788" fmla="*/ 554755 h 729579"/>
              <a:gd name="connsiteX32-8789" fmla="*/ 505685 w 1025406"/>
              <a:gd name="connsiteY32-8790" fmla="*/ 523317 h 729579"/>
              <a:gd name="connsiteX33-8791" fmla="*/ 525838 w 1025406"/>
              <a:gd name="connsiteY33-8792" fmla="*/ 528603 h 729579"/>
              <a:gd name="connsiteX34-8793" fmla="*/ 597706 w 1025406"/>
              <a:gd name="connsiteY34-8794" fmla="*/ 574202 h 729579"/>
              <a:gd name="connsiteX35-8795" fmla="*/ 652507 w 1025406"/>
              <a:gd name="connsiteY35-8796" fmla="*/ 621337 h 729579"/>
              <a:gd name="connsiteX36-8797" fmla="*/ 641432 w 1025406"/>
              <a:gd name="connsiteY36-8798" fmla="*/ 615766 h 729579"/>
              <a:gd name="connsiteX37-8799" fmla="*/ 687668 w 1025406"/>
              <a:gd name="connsiteY37-8800" fmla="*/ 654043 h 729579"/>
              <a:gd name="connsiteX38-8801" fmla="*/ 767548 w 1025406"/>
              <a:gd name="connsiteY38-8802" fmla="*/ 675561 h 729579"/>
              <a:gd name="connsiteX39-8803" fmla="*/ 760786 w 1025406"/>
              <a:gd name="connsiteY39-8804" fmla="*/ 561837 h 729579"/>
              <a:gd name="connsiteX40-8805" fmla="*/ 863868 w 1025406"/>
              <a:gd name="connsiteY40-8806" fmla="*/ 501158 h 729579"/>
              <a:gd name="connsiteX41-8807" fmla="*/ 932582 w 1025406"/>
              <a:gd name="connsiteY41-8808" fmla="*/ 559147 h 729579"/>
              <a:gd name="connsiteX42-8809" fmla="*/ 998163 w 1025406"/>
              <a:gd name="connsiteY42-8810" fmla="*/ 349147 h 729579"/>
              <a:gd name="connsiteX43-8811" fmla="*/ 911911 w 1025406"/>
              <a:gd name="connsiteY43-8812" fmla="*/ 345273 h 729579"/>
              <a:gd name="connsiteX0-8813" fmla="*/ 911911 w 1025406"/>
              <a:gd name="connsiteY0-8814" fmla="*/ 345273 h 729579"/>
              <a:gd name="connsiteX1-8815" fmla="*/ 998275 w 1025406"/>
              <a:gd name="connsiteY1-8816" fmla="*/ 281607 h 729579"/>
              <a:gd name="connsiteX2-8817" fmla="*/ 942091 w 1025406"/>
              <a:gd name="connsiteY2-8818" fmla="*/ 203529 h 729579"/>
              <a:gd name="connsiteX3-8819" fmla="*/ 1011947 w 1025406"/>
              <a:gd name="connsiteY3-8820" fmla="*/ 189592 h 729579"/>
              <a:gd name="connsiteX4-8821" fmla="*/ 927994 w 1025406"/>
              <a:gd name="connsiteY4-8822" fmla="*/ 125469 h 729579"/>
              <a:gd name="connsiteX5-8823" fmla="*/ 1025406 w 1025406"/>
              <a:gd name="connsiteY5-8824" fmla="*/ 47401 h 729579"/>
              <a:gd name="connsiteX6-8825" fmla="*/ 926967 w 1025406"/>
              <a:gd name="connsiteY6-8826" fmla="*/ 8408 h 729579"/>
              <a:gd name="connsiteX7-8827" fmla="*/ 879077 w 1025406"/>
              <a:gd name="connsiteY7-8828" fmla="*/ 69157 h 729579"/>
              <a:gd name="connsiteX8-8829" fmla="*/ 790632 w 1025406"/>
              <a:gd name="connsiteY8-8830" fmla="*/ 69703 h 729579"/>
              <a:gd name="connsiteX9-8831" fmla="*/ 826991 w 1025406"/>
              <a:gd name="connsiteY9-8832" fmla="*/ 5644 h 729579"/>
              <a:gd name="connsiteX10-8833" fmla="*/ 709412 w 1025406"/>
              <a:gd name="connsiteY10-8834" fmla="*/ 0 h 729579"/>
              <a:gd name="connsiteX11-8835" fmla="*/ 622295 w 1025406"/>
              <a:gd name="connsiteY11-8836" fmla="*/ 33464 h 729579"/>
              <a:gd name="connsiteX12-8837" fmla="*/ 534966 w 1025406"/>
              <a:gd name="connsiteY12-8838" fmla="*/ 50207 h 729579"/>
              <a:gd name="connsiteX13-8839" fmla="*/ 456481 w 1025406"/>
              <a:gd name="connsiteY13-8840" fmla="*/ 16732 h 729579"/>
              <a:gd name="connsiteX14-8841" fmla="*/ 339926 w 1025406"/>
              <a:gd name="connsiteY14-8842" fmla="*/ 58573 h 729579"/>
              <a:gd name="connsiteX15-8843" fmla="*/ 337664 w 1025406"/>
              <a:gd name="connsiteY15-8844" fmla="*/ 91438 h 729579"/>
              <a:gd name="connsiteX16-8845" fmla="*/ 354070 w 1025406"/>
              <a:gd name="connsiteY16-8846" fmla="*/ 97009 h 729579"/>
              <a:gd name="connsiteX17-8847" fmla="*/ 296647 w 1025406"/>
              <a:gd name="connsiteY17-8848" fmla="*/ 133216 h 729579"/>
              <a:gd name="connsiteX18-8849" fmla="*/ 278275 w 1025406"/>
              <a:gd name="connsiteY18-8850" fmla="*/ 222971 h 729579"/>
              <a:gd name="connsiteX19-8851" fmla="*/ 261013 w 1025406"/>
              <a:gd name="connsiteY19-8852" fmla="*/ 262080 h 729579"/>
              <a:gd name="connsiteX20-8853" fmla="*/ 181802 w 1025406"/>
              <a:gd name="connsiteY20-8854" fmla="*/ 205630 h 729579"/>
              <a:gd name="connsiteX21-8855" fmla="*/ 165907 w 1025406"/>
              <a:gd name="connsiteY21-8856" fmla="*/ 214681 h 729579"/>
              <a:gd name="connsiteX22-8857" fmla="*/ 207993 w 1025406"/>
              <a:gd name="connsiteY22-8858" fmla="*/ 306675 h 729579"/>
              <a:gd name="connsiteX23-8859" fmla="*/ 185690 w 1025406"/>
              <a:gd name="connsiteY23-8860" fmla="*/ 440500 h 729579"/>
              <a:gd name="connsiteX24-8861" fmla="*/ 79176 w 1025406"/>
              <a:gd name="connsiteY24-8862" fmla="*/ 463089 h 729579"/>
              <a:gd name="connsiteX25-8863" fmla="*/ 61488 w 1025406"/>
              <a:gd name="connsiteY25-8864" fmla="*/ 403377 h 729579"/>
              <a:gd name="connsiteX26-8865" fmla="*/ 0 w 1025406"/>
              <a:gd name="connsiteY26-8866" fmla="*/ 419276 h 729579"/>
              <a:gd name="connsiteX27-8867" fmla="*/ 71968 w 1025406"/>
              <a:gd name="connsiteY27-8868" fmla="*/ 565982 h 729579"/>
              <a:gd name="connsiteX28-8869" fmla="*/ 140227 w 1025406"/>
              <a:gd name="connsiteY28-8870" fmla="*/ 609744 h 729579"/>
              <a:gd name="connsiteX29-8871" fmla="*/ 243154 w 1025406"/>
              <a:gd name="connsiteY29-8872" fmla="*/ 729579 h 729579"/>
              <a:gd name="connsiteX30-8873" fmla="*/ 318522 w 1025406"/>
              <a:gd name="connsiteY30-8874" fmla="*/ 676324 h 729579"/>
              <a:gd name="connsiteX31-8875" fmla="*/ 376967 w 1025406"/>
              <a:gd name="connsiteY31-8876" fmla="*/ 557541 h 729579"/>
              <a:gd name="connsiteX32-8877" fmla="*/ 505685 w 1025406"/>
              <a:gd name="connsiteY32-8878" fmla="*/ 523317 h 729579"/>
              <a:gd name="connsiteX33-8879" fmla="*/ 525838 w 1025406"/>
              <a:gd name="connsiteY33-8880" fmla="*/ 528603 h 729579"/>
              <a:gd name="connsiteX34-8881" fmla="*/ 597706 w 1025406"/>
              <a:gd name="connsiteY34-8882" fmla="*/ 574202 h 729579"/>
              <a:gd name="connsiteX35-8883" fmla="*/ 652507 w 1025406"/>
              <a:gd name="connsiteY35-8884" fmla="*/ 621337 h 729579"/>
              <a:gd name="connsiteX36-8885" fmla="*/ 641432 w 1025406"/>
              <a:gd name="connsiteY36-8886" fmla="*/ 615766 h 729579"/>
              <a:gd name="connsiteX37-8887" fmla="*/ 687668 w 1025406"/>
              <a:gd name="connsiteY37-8888" fmla="*/ 654043 h 729579"/>
              <a:gd name="connsiteX38-8889" fmla="*/ 767548 w 1025406"/>
              <a:gd name="connsiteY38-8890" fmla="*/ 675561 h 729579"/>
              <a:gd name="connsiteX39-8891" fmla="*/ 760786 w 1025406"/>
              <a:gd name="connsiteY39-8892" fmla="*/ 561837 h 729579"/>
              <a:gd name="connsiteX40-8893" fmla="*/ 863868 w 1025406"/>
              <a:gd name="connsiteY40-8894" fmla="*/ 501158 h 729579"/>
              <a:gd name="connsiteX41-8895" fmla="*/ 932582 w 1025406"/>
              <a:gd name="connsiteY41-8896" fmla="*/ 559147 h 729579"/>
              <a:gd name="connsiteX42-8897" fmla="*/ 998163 w 1025406"/>
              <a:gd name="connsiteY42-8898" fmla="*/ 349147 h 729579"/>
              <a:gd name="connsiteX43-8899" fmla="*/ 911911 w 1025406"/>
              <a:gd name="connsiteY43-8900" fmla="*/ 345273 h 7295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113" y="connsiteY28-114"/>
              </a:cxn>
              <a:cxn ang="0">
                <a:pos x="connsiteX29-405" y="connsiteY29-406"/>
              </a:cxn>
              <a:cxn ang="0">
                <a:pos x="connsiteX30-647" y="connsiteY30-648"/>
              </a:cxn>
              <a:cxn ang="0">
                <a:pos x="connsiteX31-773" y="connsiteY31-774"/>
              </a:cxn>
              <a:cxn ang="0">
                <a:pos x="connsiteX32-967" y="connsiteY32-968"/>
              </a:cxn>
              <a:cxn ang="0">
                <a:pos x="connsiteX33-1233" y="connsiteY33-1234"/>
              </a:cxn>
              <a:cxn ang="0">
                <a:pos x="connsiteX34-1303" y="connsiteY34-1304"/>
              </a:cxn>
              <a:cxn ang="0">
                <a:pos x="connsiteX35-1655" y="connsiteY35-1656"/>
              </a:cxn>
              <a:cxn ang="0">
                <a:pos x="connsiteX36-3083" y="connsiteY36-3084"/>
              </a:cxn>
              <a:cxn ang="0">
                <a:pos x="connsiteX37-3159" y="connsiteY37-3160"/>
              </a:cxn>
              <a:cxn ang="0">
                <a:pos x="connsiteX38-3691" y="connsiteY38-3692"/>
              </a:cxn>
              <a:cxn ang="0">
                <a:pos x="connsiteX39-4005" y="connsiteY39-4006"/>
              </a:cxn>
              <a:cxn ang="0">
                <a:pos x="connsiteX40-5607" y="connsiteY40-5608"/>
              </a:cxn>
              <a:cxn ang="0">
                <a:pos x="connsiteX41-5855" y="connsiteY41-5856"/>
              </a:cxn>
              <a:cxn ang="0">
                <a:pos x="connsiteX42-5941" y="connsiteY42-5942"/>
              </a:cxn>
              <a:cxn ang="0">
                <a:pos x="connsiteX43-6631" y="connsiteY43-6632"/>
              </a:cxn>
            </a:cxnLst>
            <a:rect l="l" t="t" r="r" b="b"/>
            <a:pathLst>
              <a:path w="1025406" h="729579">
                <a:moveTo>
                  <a:pt x="911911" y="345273"/>
                </a:moveTo>
                <a:lnTo>
                  <a:pt x="998275" y="281607"/>
                </a:lnTo>
                <a:lnTo>
                  <a:pt x="942091" y="203529"/>
                </a:lnTo>
                <a:lnTo>
                  <a:pt x="1011947" y="189592"/>
                </a:lnTo>
                <a:lnTo>
                  <a:pt x="927994" y="125469"/>
                </a:lnTo>
                <a:lnTo>
                  <a:pt x="1025406" y="47401"/>
                </a:lnTo>
                <a:lnTo>
                  <a:pt x="926967" y="8408"/>
                </a:lnTo>
                <a:lnTo>
                  <a:pt x="879077" y="69157"/>
                </a:lnTo>
                <a:lnTo>
                  <a:pt x="790632" y="69703"/>
                </a:lnTo>
                <a:lnTo>
                  <a:pt x="826991" y="5644"/>
                </a:lnTo>
                <a:lnTo>
                  <a:pt x="709412" y="0"/>
                </a:lnTo>
                <a:lnTo>
                  <a:pt x="622295" y="33464"/>
                </a:lnTo>
                <a:lnTo>
                  <a:pt x="534966" y="50207"/>
                </a:lnTo>
                <a:lnTo>
                  <a:pt x="456481" y="16732"/>
                </a:lnTo>
                <a:lnTo>
                  <a:pt x="339926" y="58573"/>
                </a:lnTo>
                <a:lnTo>
                  <a:pt x="337664" y="91438"/>
                </a:lnTo>
                <a:lnTo>
                  <a:pt x="354070" y="97009"/>
                </a:lnTo>
                <a:lnTo>
                  <a:pt x="296647" y="133216"/>
                </a:lnTo>
                <a:lnTo>
                  <a:pt x="278275" y="222971"/>
                </a:lnTo>
                <a:lnTo>
                  <a:pt x="261013" y="262080"/>
                </a:lnTo>
                <a:lnTo>
                  <a:pt x="181802" y="205630"/>
                </a:lnTo>
                <a:lnTo>
                  <a:pt x="165907" y="214681"/>
                </a:lnTo>
                <a:lnTo>
                  <a:pt x="207993" y="306675"/>
                </a:lnTo>
                <a:lnTo>
                  <a:pt x="185690" y="440500"/>
                </a:lnTo>
                <a:cubicBezTo>
                  <a:pt x="185733" y="442460"/>
                  <a:pt x="79133" y="461129"/>
                  <a:pt x="79176" y="463089"/>
                </a:cubicBezTo>
                <a:lnTo>
                  <a:pt x="61488" y="403377"/>
                </a:lnTo>
                <a:lnTo>
                  <a:pt x="0" y="419276"/>
                </a:lnTo>
                <a:lnTo>
                  <a:pt x="71968" y="565982"/>
                </a:lnTo>
                <a:lnTo>
                  <a:pt x="140227" y="609744"/>
                </a:lnTo>
                <a:lnTo>
                  <a:pt x="243154" y="729579"/>
                </a:lnTo>
                <a:lnTo>
                  <a:pt x="318522" y="676324"/>
                </a:lnTo>
                <a:lnTo>
                  <a:pt x="376967" y="557541"/>
                </a:lnTo>
                <a:cubicBezTo>
                  <a:pt x="408161" y="532040"/>
                  <a:pt x="455807" y="519320"/>
                  <a:pt x="505685" y="523317"/>
                </a:cubicBezTo>
                <a:lnTo>
                  <a:pt x="525838" y="528603"/>
                </a:lnTo>
                <a:lnTo>
                  <a:pt x="597706" y="574202"/>
                </a:lnTo>
                <a:lnTo>
                  <a:pt x="652507" y="621337"/>
                </a:lnTo>
                <a:lnTo>
                  <a:pt x="641432" y="615766"/>
                </a:lnTo>
                <a:lnTo>
                  <a:pt x="687668" y="654043"/>
                </a:lnTo>
                <a:lnTo>
                  <a:pt x="767548" y="675561"/>
                </a:lnTo>
                <a:lnTo>
                  <a:pt x="760786" y="561837"/>
                </a:lnTo>
                <a:lnTo>
                  <a:pt x="863868" y="501158"/>
                </a:lnTo>
                <a:lnTo>
                  <a:pt x="932582" y="559147"/>
                </a:lnTo>
                <a:lnTo>
                  <a:pt x="998163" y="349147"/>
                </a:lnTo>
                <a:lnTo>
                  <a:pt x="911911" y="345273"/>
                </a:lnTo>
                <a:close/>
              </a:path>
            </a:pathLst>
          </a:custGeom>
        </p:spPr>
        <p:style>
          <a:lnRef idx="1">
            <a:schemeClr val="accent6"/>
          </a:lnRef>
          <a:fillRef idx="2">
            <a:schemeClr val="accent6"/>
          </a:fillRef>
          <a:effectRef idx="1">
            <a:schemeClr val="accent6"/>
          </a:effectRef>
          <a:fontRef idx="minor">
            <a:schemeClr val="dk1"/>
          </a:fontRef>
        </p:style>
        <p:txBody>
          <a:bodyPr lIns="45710" tIns="45710" rIns="45710" bIns="45710" anchor="ctr"/>
          <a:lstStyle/>
          <a:p>
            <a:pPr algn="ctr">
              <a:spcBef>
                <a:spcPts val="400"/>
              </a:spcBef>
              <a:defRPr/>
            </a:pPr>
            <a:endParaRPr lang="en-US" sz="1200" kern="0">
              <a:solidFill>
                <a:srgbClr val="003366"/>
              </a:solidFill>
              <a:latin typeface="+mj-lt"/>
              <a:cs typeface="Arial" panose="020B0604020202020204" pitchFamily="34" charset="0"/>
            </a:endParaRPr>
          </a:p>
        </p:txBody>
      </p:sp>
      <p:sp>
        <p:nvSpPr>
          <p:cNvPr id="12" name="Freeform 39"/>
          <p:cNvSpPr/>
          <p:nvPr>
            <p:custDataLst>
              <p:tags r:id="rId7"/>
            </p:custDataLst>
          </p:nvPr>
        </p:nvSpPr>
        <p:spPr bwMode="gray">
          <a:xfrm>
            <a:off x="5269676" y="1748190"/>
            <a:ext cx="1414636" cy="1081613"/>
          </a:xfrm>
          <a:custGeom>
            <a:avLst/>
            <a:gdLst>
              <a:gd name="connsiteX0" fmla="*/ 0 w 1382751"/>
              <a:gd name="connsiteY0" fmla="*/ 959005 h 1025912"/>
              <a:gd name="connsiteX1" fmla="*/ 122664 w 1382751"/>
              <a:gd name="connsiteY1" fmla="*/ 992458 h 1025912"/>
              <a:gd name="connsiteX2" fmla="*/ 133815 w 1382751"/>
              <a:gd name="connsiteY2" fmla="*/ 1014761 h 1025912"/>
              <a:gd name="connsiteX3" fmla="*/ 133815 w 1382751"/>
              <a:gd name="connsiteY3" fmla="*/ 1025912 h 1025912"/>
              <a:gd name="connsiteX4" fmla="*/ 289932 w 1382751"/>
              <a:gd name="connsiteY4" fmla="*/ 1025912 h 1025912"/>
              <a:gd name="connsiteX5" fmla="*/ 334537 w 1382751"/>
              <a:gd name="connsiteY5" fmla="*/ 947853 h 1025912"/>
              <a:gd name="connsiteX6" fmla="*/ 234176 w 1382751"/>
              <a:gd name="connsiteY6" fmla="*/ 858644 h 1025912"/>
              <a:gd name="connsiteX7" fmla="*/ 412595 w 1382751"/>
              <a:gd name="connsiteY7" fmla="*/ 802888 h 1025912"/>
              <a:gd name="connsiteX8" fmla="*/ 434898 w 1382751"/>
              <a:gd name="connsiteY8" fmla="*/ 702527 h 1025912"/>
              <a:gd name="connsiteX9" fmla="*/ 501805 w 1382751"/>
              <a:gd name="connsiteY9" fmla="*/ 713678 h 1025912"/>
              <a:gd name="connsiteX10" fmla="*/ 602166 w 1382751"/>
              <a:gd name="connsiteY10" fmla="*/ 814039 h 1025912"/>
              <a:gd name="connsiteX11" fmla="*/ 791737 w 1382751"/>
              <a:gd name="connsiteY11" fmla="*/ 869795 h 1025912"/>
              <a:gd name="connsiteX12" fmla="*/ 825190 w 1382751"/>
              <a:gd name="connsiteY12" fmla="*/ 769434 h 1025912"/>
              <a:gd name="connsiteX13" fmla="*/ 1092820 w 1382751"/>
              <a:gd name="connsiteY13" fmla="*/ 758283 h 1025912"/>
              <a:gd name="connsiteX14" fmla="*/ 1126273 w 1382751"/>
              <a:gd name="connsiteY14" fmla="*/ 724829 h 1025912"/>
              <a:gd name="connsiteX15" fmla="*/ 1003610 w 1382751"/>
              <a:gd name="connsiteY15" fmla="*/ 602166 h 1025912"/>
              <a:gd name="connsiteX16" fmla="*/ 1003610 w 1382751"/>
              <a:gd name="connsiteY16" fmla="*/ 524107 h 1025912"/>
              <a:gd name="connsiteX17" fmla="*/ 1070517 w 1382751"/>
              <a:gd name="connsiteY17" fmla="*/ 512956 h 1025912"/>
              <a:gd name="connsiteX18" fmla="*/ 1081668 w 1382751"/>
              <a:gd name="connsiteY18" fmla="*/ 579863 h 1025912"/>
              <a:gd name="connsiteX19" fmla="*/ 1204332 w 1382751"/>
              <a:gd name="connsiteY19" fmla="*/ 546409 h 1025912"/>
              <a:gd name="connsiteX20" fmla="*/ 1226634 w 1382751"/>
              <a:gd name="connsiteY20" fmla="*/ 401444 h 1025912"/>
              <a:gd name="connsiteX21" fmla="*/ 1182029 w 1382751"/>
              <a:gd name="connsiteY21" fmla="*/ 312234 h 1025912"/>
              <a:gd name="connsiteX22" fmla="*/ 1193181 w 1382751"/>
              <a:gd name="connsiteY22" fmla="*/ 289931 h 1025912"/>
              <a:gd name="connsiteX23" fmla="*/ 1282390 w 1382751"/>
              <a:gd name="connsiteY23" fmla="*/ 356839 h 1025912"/>
              <a:gd name="connsiteX24" fmla="*/ 1304693 w 1382751"/>
              <a:gd name="connsiteY24" fmla="*/ 323385 h 1025912"/>
              <a:gd name="connsiteX25" fmla="*/ 1326995 w 1382751"/>
              <a:gd name="connsiteY25" fmla="*/ 211873 h 1025912"/>
              <a:gd name="connsiteX26" fmla="*/ 1382751 w 1382751"/>
              <a:gd name="connsiteY26" fmla="*/ 178419 h 1025912"/>
              <a:gd name="connsiteX27" fmla="*/ 1215483 w 1382751"/>
              <a:gd name="connsiteY27" fmla="*/ 100361 h 1025912"/>
              <a:gd name="connsiteX28" fmla="*/ 1215483 w 1382751"/>
              <a:gd name="connsiteY28" fmla="*/ 100361 h 1025912"/>
              <a:gd name="connsiteX29" fmla="*/ 1059366 w 1382751"/>
              <a:gd name="connsiteY29" fmla="*/ 0 h 1025912"/>
              <a:gd name="connsiteX30" fmla="*/ 880947 w 1382751"/>
              <a:gd name="connsiteY30" fmla="*/ 334536 h 1025912"/>
              <a:gd name="connsiteX31" fmla="*/ 713678 w 1382751"/>
              <a:gd name="connsiteY31" fmla="*/ 423746 h 1025912"/>
              <a:gd name="connsiteX32" fmla="*/ 278781 w 1382751"/>
              <a:gd name="connsiteY32" fmla="*/ 591014 h 1025912"/>
              <a:gd name="connsiteX33" fmla="*/ 144966 w 1382751"/>
              <a:gd name="connsiteY33" fmla="*/ 735980 h 1025912"/>
              <a:gd name="connsiteX34" fmla="*/ 55756 w 1382751"/>
              <a:gd name="connsiteY34" fmla="*/ 825190 h 1025912"/>
              <a:gd name="connsiteX35" fmla="*/ 0 w 1382751"/>
              <a:gd name="connsiteY35" fmla="*/ 959005 h 1025912"/>
              <a:gd name="connsiteX0-1" fmla="*/ 0 w 1382751"/>
              <a:gd name="connsiteY0-2" fmla="*/ 959005 h 1025912"/>
              <a:gd name="connsiteX1-3" fmla="*/ 122664 w 1382751"/>
              <a:gd name="connsiteY1-4" fmla="*/ 992458 h 1025912"/>
              <a:gd name="connsiteX2-5" fmla="*/ 133815 w 1382751"/>
              <a:gd name="connsiteY2-6" fmla="*/ 1014761 h 1025912"/>
              <a:gd name="connsiteX3-7" fmla="*/ 133815 w 1382751"/>
              <a:gd name="connsiteY3-8" fmla="*/ 1025912 h 1025912"/>
              <a:gd name="connsiteX4-9" fmla="*/ 289932 w 1382751"/>
              <a:gd name="connsiteY4-10" fmla="*/ 1025912 h 1025912"/>
              <a:gd name="connsiteX5-11" fmla="*/ 334537 w 1382751"/>
              <a:gd name="connsiteY5-12" fmla="*/ 947853 h 1025912"/>
              <a:gd name="connsiteX6-13" fmla="*/ 234176 w 1382751"/>
              <a:gd name="connsiteY6-14" fmla="*/ 858644 h 1025912"/>
              <a:gd name="connsiteX7-15" fmla="*/ 412595 w 1382751"/>
              <a:gd name="connsiteY7-16" fmla="*/ 802888 h 1025912"/>
              <a:gd name="connsiteX8-17" fmla="*/ 434898 w 1382751"/>
              <a:gd name="connsiteY8-18" fmla="*/ 702527 h 1025912"/>
              <a:gd name="connsiteX9-19" fmla="*/ 501805 w 1382751"/>
              <a:gd name="connsiteY9-20" fmla="*/ 713678 h 1025912"/>
              <a:gd name="connsiteX10-21" fmla="*/ 602166 w 1382751"/>
              <a:gd name="connsiteY10-22" fmla="*/ 814039 h 1025912"/>
              <a:gd name="connsiteX11-23" fmla="*/ 703340 w 1382751"/>
              <a:gd name="connsiteY11-24" fmla="*/ 851431 h 1025912"/>
              <a:gd name="connsiteX12-25" fmla="*/ 825190 w 1382751"/>
              <a:gd name="connsiteY12-26" fmla="*/ 769434 h 1025912"/>
              <a:gd name="connsiteX13-27" fmla="*/ 1092820 w 1382751"/>
              <a:gd name="connsiteY13-28" fmla="*/ 758283 h 1025912"/>
              <a:gd name="connsiteX14-29" fmla="*/ 1126273 w 1382751"/>
              <a:gd name="connsiteY14-30" fmla="*/ 724829 h 1025912"/>
              <a:gd name="connsiteX15-31" fmla="*/ 1003610 w 1382751"/>
              <a:gd name="connsiteY15-32" fmla="*/ 602166 h 1025912"/>
              <a:gd name="connsiteX16-33" fmla="*/ 1003610 w 1382751"/>
              <a:gd name="connsiteY16-34" fmla="*/ 524107 h 1025912"/>
              <a:gd name="connsiteX17-35" fmla="*/ 1070517 w 1382751"/>
              <a:gd name="connsiteY17-36" fmla="*/ 512956 h 1025912"/>
              <a:gd name="connsiteX18-37" fmla="*/ 1081668 w 1382751"/>
              <a:gd name="connsiteY18-38" fmla="*/ 579863 h 1025912"/>
              <a:gd name="connsiteX19-39" fmla="*/ 1204332 w 1382751"/>
              <a:gd name="connsiteY19-40" fmla="*/ 546409 h 1025912"/>
              <a:gd name="connsiteX20-41" fmla="*/ 1226634 w 1382751"/>
              <a:gd name="connsiteY20-42" fmla="*/ 401444 h 1025912"/>
              <a:gd name="connsiteX21-43" fmla="*/ 1182029 w 1382751"/>
              <a:gd name="connsiteY21-44" fmla="*/ 312234 h 1025912"/>
              <a:gd name="connsiteX22-45" fmla="*/ 1193181 w 1382751"/>
              <a:gd name="connsiteY22-46" fmla="*/ 289931 h 1025912"/>
              <a:gd name="connsiteX23-47" fmla="*/ 1282390 w 1382751"/>
              <a:gd name="connsiteY23-48" fmla="*/ 356839 h 1025912"/>
              <a:gd name="connsiteX24-49" fmla="*/ 1304693 w 1382751"/>
              <a:gd name="connsiteY24-50" fmla="*/ 323385 h 1025912"/>
              <a:gd name="connsiteX25-51" fmla="*/ 1326995 w 1382751"/>
              <a:gd name="connsiteY25-52" fmla="*/ 211873 h 1025912"/>
              <a:gd name="connsiteX26-53" fmla="*/ 1382751 w 1382751"/>
              <a:gd name="connsiteY26-54" fmla="*/ 178419 h 1025912"/>
              <a:gd name="connsiteX27-55" fmla="*/ 1215483 w 1382751"/>
              <a:gd name="connsiteY27-56" fmla="*/ 100361 h 1025912"/>
              <a:gd name="connsiteX28-57" fmla="*/ 1215483 w 1382751"/>
              <a:gd name="connsiteY28-58" fmla="*/ 100361 h 1025912"/>
              <a:gd name="connsiteX29-59" fmla="*/ 1059366 w 1382751"/>
              <a:gd name="connsiteY29-60" fmla="*/ 0 h 1025912"/>
              <a:gd name="connsiteX30-61" fmla="*/ 880947 w 1382751"/>
              <a:gd name="connsiteY30-62" fmla="*/ 334536 h 1025912"/>
              <a:gd name="connsiteX31-63" fmla="*/ 713678 w 1382751"/>
              <a:gd name="connsiteY31-64" fmla="*/ 423746 h 1025912"/>
              <a:gd name="connsiteX32-65" fmla="*/ 278781 w 1382751"/>
              <a:gd name="connsiteY32-66" fmla="*/ 591014 h 1025912"/>
              <a:gd name="connsiteX33-67" fmla="*/ 144966 w 1382751"/>
              <a:gd name="connsiteY33-68" fmla="*/ 735980 h 1025912"/>
              <a:gd name="connsiteX34-69" fmla="*/ 55756 w 1382751"/>
              <a:gd name="connsiteY34-70" fmla="*/ 825190 h 1025912"/>
              <a:gd name="connsiteX35-71" fmla="*/ 0 w 1382751"/>
              <a:gd name="connsiteY35-72" fmla="*/ 959005 h 1025912"/>
              <a:gd name="connsiteX0-73" fmla="*/ 0 w 1382751"/>
              <a:gd name="connsiteY0-74" fmla="*/ 959005 h 1025912"/>
              <a:gd name="connsiteX1-75" fmla="*/ 122664 w 1382751"/>
              <a:gd name="connsiteY1-76" fmla="*/ 992458 h 1025912"/>
              <a:gd name="connsiteX2-77" fmla="*/ 133815 w 1382751"/>
              <a:gd name="connsiteY2-78" fmla="*/ 1014761 h 1025912"/>
              <a:gd name="connsiteX3-79" fmla="*/ 133815 w 1382751"/>
              <a:gd name="connsiteY3-80" fmla="*/ 1025912 h 1025912"/>
              <a:gd name="connsiteX4-81" fmla="*/ 289932 w 1382751"/>
              <a:gd name="connsiteY4-82" fmla="*/ 1025912 h 1025912"/>
              <a:gd name="connsiteX5-83" fmla="*/ 334537 w 1382751"/>
              <a:gd name="connsiteY5-84" fmla="*/ 947853 h 1025912"/>
              <a:gd name="connsiteX6-85" fmla="*/ 234176 w 1382751"/>
              <a:gd name="connsiteY6-86" fmla="*/ 858644 h 1025912"/>
              <a:gd name="connsiteX7-87" fmla="*/ 412595 w 1382751"/>
              <a:gd name="connsiteY7-88" fmla="*/ 802888 h 1025912"/>
              <a:gd name="connsiteX8-89" fmla="*/ 434898 w 1382751"/>
              <a:gd name="connsiteY8-90" fmla="*/ 702527 h 1025912"/>
              <a:gd name="connsiteX9-91" fmla="*/ 501805 w 1382751"/>
              <a:gd name="connsiteY9-92" fmla="*/ 713678 h 1025912"/>
              <a:gd name="connsiteX10-93" fmla="*/ 602166 w 1382751"/>
              <a:gd name="connsiteY10-94" fmla="*/ 814039 h 1025912"/>
              <a:gd name="connsiteX11-95" fmla="*/ 703340 w 1382751"/>
              <a:gd name="connsiteY11-96" fmla="*/ 851431 h 1025912"/>
              <a:gd name="connsiteX12-97" fmla="*/ 698489 w 1382751"/>
              <a:gd name="connsiteY12-98" fmla="*/ 738828 h 1025912"/>
              <a:gd name="connsiteX13-99" fmla="*/ 1092820 w 1382751"/>
              <a:gd name="connsiteY13-100" fmla="*/ 758283 h 1025912"/>
              <a:gd name="connsiteX14-101" fmla="*/ 1126273 w 1382751"/>
              <a:gd name="connsiteY14-102" fmla="*/ 724829 h 1025912"/>
              <a:gd name="connsiteX15-103" fmla="*/ 1003610 w 1382751"/>
              <a:gd name="connsiteY15-104" fmla="*/ 602166 h 1025912"/>
              <a:gd name="connsiteX16-105" fmla="*/ 1003610 w 1382751"/>
              <a:gd name="connsiteY16-106" fmla="*/ 524107 h 1025912"/>
              <a:gd name="connsiteX17-107" fmla="*/ 1070517 w 1382751"/>
              <a:gd name="connsiteY17-108" fmla="*/ 512956 h 1025912"/>
              <a:gd name="connsiteX18-109" fmla="*/ 1081668 w 1382751"/>
              <a:gd name="connsiteY18-110" fmla="*/ 579863 h 1025912"/>
              <a:gd name="connsiteX19-111" fmla="*/ 1204332 w 1382751"/>
              <a:gd name="connsiteY19-112" fmla="*/ 546409 h 1025912"/>
              <a:gd name="connsiteX20-113" fmla="*/ 1226634 w 1382751"/>
              <a:gd name="connsiteY20-114" fmla="*/ 401444 h 1025912"/>
              <a:gd name="connsiteX21-115" fmla="*/ 1182029 w 1382751"/>
              <a:gd name="connsiteY21-116" fmla="*/ 312234 h 1025912"/>
              <a:gd name="connsiteX22-117" fmla="*/ 1193181 w 1382751"/>
              <a:gd name="connsiteY22-118" fmla="*/ 289931 h 1025912"/>
              <a:gd name="connsiteX23-119" fmla="*/ 1282390 w 1382751"/>
              <a:gd name="connsiteY23-120" fmla="*/ 356839 h 1025912"/>
              <a:gd name="connsiteX24-121" fmla="*/ 1304693 w 1382751"/>
              <a:gd name="connsiteY24-122" fmla="*/ 323385 h 1025912"/>
              <a:gd name="connsiteX25-123" fmla="*/ 1326995 w 1382751"/>
              <a:gd name="connsiteY25-124" fmla="*/ 211873 h 1025912"/>
              <a:gd name="connsiteX26-125" fmla="*/ 1382751 w 1382751"/>
              <a:gd name="connsiteY26-126" fmla="*/ 178419 h 1025912"/>
              <a:gd name="connsiteX27-127" fmla="*/ 1215483 w 1382751"/>
              <a:gd name="connsiteY27-128" fmla="*/ 100361 h 1025912"/>
              <a:gd name="connsiteX28-129" fmla="*/ 1215483 w 1382751"/>
              <a:gd name="connsiteY28-130" fmla="*/ 100361 h 1025912"/>
              <a:gd name="connsiteX29-131" fmla="*/ 1059366 w 1382751"/>
              <a:gd name="connsiteY29-132" fmla="*/ 0 h 1025912"/>
              <a:gd name="connsiteX30-133" fmla="*/ 880947 w 1382751"/>
              <a:gd name="connsiteY30-134" fmla="*/ 334536 h 1025912"/>
              <a:gd name="connsiteX31-135" fmla="*/ 713678 w 1382751"/>
              <a:gd name="connsiteY31-136" fmla="*/ 423746 h 1025912"/>
              <a:gd name="connsiteX32-137" fmla="*/ 278781 w 1382751"/>
              <a:gd name="connsiteY32-138" fmla="*/ 591014 h 1025912"/>
              <a:gd name="connsiteX33-139" fmla="*/ 144966 w 1382751"/>
              <a:gd name="connsiteY33-140" fmla="*/ 735980 h 1025912"/>
              <a:gd name="connsiteX34-141" fmla="*/ 55756 w 1382751"/>
              <a:gd name="connsiteY34-142" fmla="*/ 825190 h 1025912"/>
              <a:gd name="connsiteX35-143" fmla="*/ 0 w 1382751"/>
              <a:gd name="connsiteY35-144" fmla="*/ 959005 h 1025912"/>
              <a:gd name="connsiteX0-145" fmla="*/ 0 w 1382751"/>
              <a:gd name="connsiteY0-146" fmla="*/ 959005 h 1025912"/>
              <a:gd name="connsiteX1-147" fmla="*/ 122664 w 1382751"/>
              <a:gd name="connsiteY1-148" fmla="*/ 992458 h 1025912"/>
              <a:gd name="connsiteX2-149" fmla="*/ 133815 w 1382751"/>
              <a:gd name="connsiteY2-150" fmla="*/ 1014761 h 1025912"/>
              <a:gd name="connsiteX3-151" fmla="*/ 133815 w 1382751"/>
              <a:gd name="connsiteY3-152" fmla="*/ 1025912 h 1025912"/>
              <a:gd name="connsiteX4-153" fmla="*/ 289932 w 1382751"/>
              <a:gd name="connsiteY4-154" fmla="*/ 1025912 h 1025912"/>
              <a:gd name="connsiteX5-155" fmla="*/ 334537 w 1382751"/>
              <a:gd name="connsiteY5-156" fmla="*/ 947853 h 1025912"/>
              <a:gd name="connsiteX6-157" fmla="*/ 234176 w 1382751"/>
              <a:gd name="connsiteY6-158" fmla="*/ 858644 h 1025912"/>
              <a:gd name="connsiteX7-159" fmla="*/ 412595 w 1382751"/>
              <a:gd name="connsiteY7-160" fmla="*/ 802888 h 1025912"/>
              <a:gd name="connsiteX8-161" fmla="*/ 434898 w 1382751"/>
              <a:gd name="connsiteY8-162" fmla="*/ 702527 h 1025912"/>
              <a:gd name="connsiteX9-163" fmla="*/ 501805 w 1382751"/>
              <a:gd name="connsiteY9-164" fmla="*/ 713678 h 1025912"/>
              <a:gd name="connsiteX10-165" fmla="*/ 602166 w 1382751"/>
              <a:gd name="connsiteY10-166" fmla="*/ 814039 h 1025912"/>
              <a:gd name="connsiteX11-167" fmla="*/ 703340 w 1382751"/>
              <a:gd name="connsiteY11-168" fmla="*/ 851431 h 1025912"/>
              <a:gd name="connsiteX12-169" fmla="*/ 698489 w 1382751"/>
              <a:gd name="connsiteY12-170" fmla="*/ 738828 h 1025912"/>
              <a:gd name="connsiteX13-171" fmla="*/ 896953 w 1382751"/>
              <a:gd name="connsiteY13-172" fmla="*/ 812938 h 1025912"/>
              <a:gd name="connsiteX14-173" fmla="*/ 1092820 w 1382751"/>
              <a:gd name="connsiteY14-174" fmla="*/ 758283 h 1025912"/>
              <a:gd name="connsiteX15-175" fmla="*/ 1126273 w 1382751"/>
              <a:gd name="connsiteY15-176" fmla="*/ 724829 h 1025912"/>
              <a:gd name="connsiteX16-177" fmla="*/ 1003610 w 1382751"/>
              <a:gd name="connsiteY16-178" fmla="*/ 602166 h 1025912"/>
              <a:gd name="connsiteX17-179" fmla="*/ 1003610 w 1382751"/>
              <a:gd name="connsiteY17-180" fmla="*/ 524107 h 1025912"/>
              <a:gd name="connsiteX18-181" fmla="*/ 1070517 w 1382751"/>
              <a:gd name="connsiteY18-182" fmla="*/ 512956 h 1025912"/>
              <a:gd name="connsiteX19-183" fmla="*/ 1081668 w 1382751"/>
              <a:gd name="connsiteY19-184" fmla="*/ 579863 h 1025912"/>
              <a:gd name="connsiteX20-185" fmla="*/ 1204332 w 1382751"/>
              <a:gd name="connsiteY20-186" fmla="*/ 546409 h 1025912"/>
              <a:gd name="connsiteX21-187" fmla="*/ 1226634 w 1382751"/>
              <a:gd name="connsiteY21-188" fmla="*/ 401444 h 1025912"/>
              <a:gd name="connsiteX22-189" fmla="*/ 1182029 w 1382751"/>
              <a:gd name="connsiteY22-190" fmla="*/ 312234 h 1025912"/>
              <a:gd name="connsiteX23-191" fmla="*/ 1193181 w 1382751"/>
              <a:gd name="connsiteY23-192" fmla="*/ 289931 h 1025912"/>
              <a:gd name="connsiteX24-193" fmla="*/ 1282390 w 1382751"/>
              <a:gd name="connsiteY24-194" fmla="*/ 356839 h 1025912"/>
              <a:gd name="connsiteX25-195" fmla="*/ 1304693 w 1382751"/>
              <a:gd name="connsiteY25-196" fmla="*/ 323385 h 1025912"/>
              <a:gd name="connsiteX26-197" fmla="*/ 1326995 w 1382751"/>
              <a:gd name="connsiteY26-198" fmla="*/ 211873 h 1025912"/>
              <a:gd name="connsiteX27-199" fmla="*/ 1382751 w 1382751"/>
              <a:gd name="connsiteY27-200" fmla="*/ 178419 h 1025912"/>
              <a:gd name="connsiteX28-201" fmla="*/ 1215483 w 1382751"/>
              <a:gd name="connsiteY28-202" fmla="*/ 100361 h 1025912"/>
              <a:gd name="connsiteX29-203" fmla="*/ 1215483 w 1382751"/>
              <a:gd name="connsiteY29-204" fmla="*/ 100361 h 1025912"/>
              <a:gd name="connsiteX30-205" fmla="*/ 1059366 w 1382751"/>
              <a:gd name="connsiteY30-206" fmla="*/ 0 h 1025912"/>
              <a:gd name="connsiteX31-207" fmla="*/ 880947 w 1382751"/>
              <a:gd name="connsiteY31-208" fmla="*/ 334536 h 1025912"/>
              <a:gd name="connsiteX32-209" fmla="*/ 713678 w 1382751"/>
              <a:gd name="connsiteY32-210" fmla="*/ 423746 h 1025912"/>
              <a:gd name="connsiteX33-211" fmla="*/ 278781 w 1382751"/>
              <a:gd name="connsiteY33-212" fmla="*/ 591014 h 1025912"/>
              <a:gd name="connsiteX34-213" fmla="*/ 144966 w 1382751"/>
              <a:gd name="connsiteY34-214" fmla="*/ 735980 h 1025912"/>
              <a:gd name="connsiteX35-215" fmla="*/ 55756 w 1382751"/>
              <a:gd name="connsiteY35-216" fmla="*/ 825190 h 1025912"/>
              <a:gd name="connsiteX36" fmla="*/ 0 w 1382751"/>
              <a:gd name="connsiteY36" fmla="*/ 959005 h 1025912"/>
              <a:gd name="connsiteX0-217" fmla="*/ 0 w 1382751"/>
              <a:gd name="connsiteY0-218" fmla="*/ 959005 h 1025912"/>
              <a:gd name="connsiteX1-219" fmla="*/ 122664 w 1382751"/>
              <a:gd name="connsiteY1-220" fmla="*/ 992458 h 1025912"/>
              <a:gd name="connsiteX2-221" fmla="*/ 133815 w 1382751"/>
              <a:gd name="connsiteY2-222" fmla="*/ 1014761 h 1025912"/>
              <a:gd name="connsiteX3-223" fmla="*/ 133815 w 1382751"/>
              <a:gd name="connsiteY3-224" fmla="*/ 1025912 h 1025912"/>
              <a:gd name="connsiteX4-225" fmla="*/ 289932 w 1382751"/>
              <a:gd name="connsiteY4-226" fmla="*/ 1025912 h 1025912"/>
              <a:gd name="connsiteX5-227" fmla="*/ 334537 w 1382751"/>
              <a:gd name="connsiteY5-228" fmla="*/ 947853 h 1025912"/>
              <a:gd name="connsiteX6-229" fmla="*/ 234176 w 1382751"/>
              <a:gd name="connsiteY6-230" fmla="*/ 858644 h 1025912"/>
              <a:gd name="connsiteX7-231" fmla="*/ 412595 w 1382751"/>
              <a:gd name="connsiteY7-232" fmla="*/ 802888 h 1025912"/>
              <a:gd name="connsiteX8-233" fmla="*/ 434898 w 1382751"/>
              <a:gd name="connsiteY8-234" fmla="*/ 702527 h 1025912"/>
              <a:gd name="connsiteX9-235" fmla="*/ 501805 w 1382751"/>
              <a:gd name="connsiteY9-236" fmla="*/ 713678 h 1025912"/>
              <a:gd name="connsiteX10-237" fmla="*/ 602166 w 1382751"/>
              <a:gd name="connsiteY10-238" fmla="*/ 814039 h 1025912"/>
              <a:gd name="connsiteX11-239" fmla="*/ 703340 w 1382751"/>
              <a:gd name="connsiteY11-240" fmla="*/ 851431 h 1025912"/>
              <a:gd name="connsiteX12-241" fmla="*/ 698489 w 1382751"/>
              <a:gd name="connsiteY12-242" fmla="*/ 738828 h 1025912"/>
              <a:gd name="connsiteX13-243" fmla="*/ 896953 w 1382751"/>
              <a:gd name="connsiteY13-244" fmla="*/ 812938 h 1025912"/>
              <a:gd name="connsiteX14-245" fmla="*/ 1004423 w 1382751"/>
              <a:gd name="connsiteY14-246" fmla="*/ 742980 h 1025912"/>
              <a:gd name="connsiteX15-247" fmla="*/ 1126273 w 1382751"/>
              <a:gd name="connsiteY15-248" fmla="*/ 724829 h 1025912"/>
              <a:gd name="connsiteX16-249" fmla="*/ 1003610 w 1382751"/>
              <a:gd name="connsiteY16-250" fmla="*/ 602166 h 1025912"/>
              <a:gd name="connsiteX17-251" fmla="*/ 1003610 w 1382751"/>
              <a:gd name="connsiteY17-252" fmla="*/ 524107 h 1025912"/>
              <a:gd name="connsiteX18-253" fmla="*/ 1070517 w 1382751"/>
              <a:gd name="connsiteY18-254" fmla="*/ 512956 h 1025912"/>
              <a:gd name="connsiteX19-255" fmla="*/ 1081668 w 1382751"/>
              <a:gd name="connsiteY19-256" fmla="*/ 579863 h 1025912"/>
              <a:gd name="connsiteX20-257" fmla="*/ 1204332 w 1382751"/>
              <a:gd name="connsiteY20-258" fmla="*/ 546409 h 1025912"/>
              <a:gd name="connsiteX21-259" fmla="*/ 1226634 w 1382751"/>
              <a:gd name="connsiteY21-260" fmla="*/ 401444 h 1025912"/>
              <a:gd name="connsiteX22-261" fmla="*/ 1182029 w 1382751"/>
              <a:gd name="connsiteY22-262" fmla="*/ 312234 h 1025912"/>
              <a:gd name="connsiteX23-263" fmla="*/ 1193181 w 1382751"/>
              <a:gd name="connsiteY23-264" fmla="*/ 289931 h 1025912"/>
              <a:gd name="connsiteX24-265" fmla="*/ 1282390 w 1382751"/>
              <a:gd name="connsiteY24-266" fmla="*/ 356839 h 1025912"/>
              <a:gd name="connsiteX25-267" fmla="*/ 1304693 w 1382751"/>
              <a:gd name="connsiteY25-268" fmla="*/ 323385 h 1025912"/>
              <a:gd name="connsiteX26-269" fmla="*/ 1326995 w 1382751"/>
              <a:gd name="connsiteY26-270" fmla="*/ 211873 h 1025912"/>
              <a:gd name="connsiteX27-271" fmla="*/ 1382751 w 1382751"/>
              <a:gd name="connsiteY27-272" fmla="*/ 178419 h 1025912"/>
              <a:gd name="connsiteX28-273" fmla="*/ 1215483 w 1382751"/>
              <a:gd name="connsiteY28-274" fmla="*/ 100361 h 1025912"/>
              <a:gd name="connsiteX29-275" fmla="*/ 1215483 w 1382751"/>
              <a:gd name="connsiteY29-276" fmla="*/ 100361 h 1025912"/>
              <a:gd name="connsiteX30-277" fmla="*/ 1059366 w 1382751"/>
              <a:gd name="connsiteY30-278" fmla="*/ 0 h 1025912"/>
              <a:gd name="connsiteX31-279" fmla="*/ 880947 w 1382751"/>
              <a:gd name="connsiteY31-280" fmla="*/ 334536 h 1025912"/>
              <a:gd name="connsiteX32-281" fmla="*/ 713678 w 1382751"/>
              <a:gd name="connsiteY32-282" fmla="*/ 423746 h 1025912"/>
              <a:gd name="connsiteX33-283" fmla="*/ 278781 w 1382751"/>
              <a:gd name="connsiteY33-284" fmla="*/ 591014 h 1025912"/>
              <a:gd name="connsiteX34-285" fmla="*/ 144966 w 1382751"/>
              <a:gd name="connsiteY34-286" fmla="*/ 735980 h 1025912"/>
              <a:gd name="connsiteX35-287" fmla="*/ 55756 w 1382751"/>
              <a:gd name="connsiteY35-288" fmla="*/ 825190 h 1025912"/>
              <a:gd name="connsiteX36-289" fmla="*/ 0 w 1382751"/>
              <a:gd name="connsiteY36-290" fmla="*/ 959005 h 1025912"/>
              <a:gd name="connsiteX0-291" fmla="*/ 0 w 1382751"/>
              <a:gd name="connsiteY0-292" fmla="*/ 959005 h 1025912"/>
              <a:gd name="connsiteX1-293" fmla="*/ 122664 w 1382751"/>
              <a:gd name="connsiteY1-294" fmla="*/ 992458 h 1025912"/>
              <a:gd name="connsiteX2-295" fmla="*/ 133815 w 1382751"/>
              <a:gd name="connsiteY2-296" fmla="*/ 1014761 h 1025912"/>
              <a:gd name="connsiteX3-297" fmla="*/ 133815 w 1382751"/>
              <a:gd name="connsiteY3-298" fmla="*/ 1025912 h 1025912"/>
              <a:gd name="connsiteX4-299" fmla="*/ 289932 w 1382751"/>
              <a:gd name="connsiteY4-300" fmla="*/ 1025912 h 1025912"/>
              <a:gd name="connsiteX5-301" fmla="*/ 334537 w 1382751"/>
              <a:gd name="connsiteY5-302" fmla="*/ 947853 h 1025912"/>
              <a:gd name="connsiteX6-303" fmla="*/ 234176 w 1382751"/>
              <a:gd name="connsiteY6-304" fmla="*/ 858644 h 1025912"/>
              <a:gd name="connsiteX7-305" fmla="*/ 412595 w 1382751"/>
              <a:gd name="connsiteY7-306" fmla="*/ 802888 h 1025912"/>
              <a:gd name="connsiteX8-307" fmla="*/ 434898 w 1382751"/>
              <a:gd name="connsiteY8-308" fmla="*/ 702527 h 1025912"/>
              <a:gd name="connsiteX9-309" fmla="*/ 501805 w 1382751"/>
              <a:gd name="connsiteY9-310" fmla="*/ 713678 h 1025912"/>
              <a:gd name="connsiteX10-311" fmla="*/ 602166 w 1382751"/>
              <a:gd name="connsiteY10-312" fmla="*/ 814039 h 1025912"/>
              <a:gd name="connsiteX11-313" fmla="*/ 703340 w 1382751"/>
              <a:gd name="connsiteY11-314" fmla="*/ 851431 h 1025912"/>
              <a:gd name="connsiteX12-315" fmla="*/ 698489 w 1382751"/>
              <a:gd name="connsiteY12-316" fmla="*/ 738828 h 1025912"/>
              <a:gd name="connsiteX13-317" fmla="*/ 896953 w 1382751"/>
              <a:gd name="connsiteY13-318" fmla="*/ 812938 h 1025912"/>
              <a:gd name="connsiteX14-319" fmla="*/ 1004423 w 1382751"/>
              <a:gd name="connsiteY14-320" fmla="*/ 742980 h 1025912"/>
              <a:gd name="connsiteX15-321" fmla="*/ 925907 w 1382751"/>
              <a:gd name="connsiteY15-322" fmla="*/ 675860 h 1025912"/>
              <a:gd name="connsiteX16-323" fmla="*/ 1003610 w 1382751"/>
              <a:gd name="connsiteY16-324" fmla="*/ 602166 h 1025912"/>
              <a:gd name="connsiteX17-325" fmla="*/ 1003610 w 1382751"/>
              <a:gd name="connsiteY17-326" fmla="*/ 524107 h 1025912"/>
              <a:gd name="connsiteX18-327" fmla="*/ 1070517 w 1382751"/>
              <a:gd name="connsiteY18-328" fmla="*/ 512956 h 1025912"/>
              <a:gd name="connsiteX19-329" fmla="*/ 1081668 w 1382751"/>
              <a:gd name="connsiteY19-330" fmla="*/ 579863 h 1025912"/>
              <a:gd name="connsiteX20-331" fmla="*/ 1204332 w 1382751"/>
              <a:gd name="connsiteY20-332" fmla="*/ 546409 h 1025912"/>
              <a:gd name="connsiteX21-333" fmla="*/ 1226634 w 1382751"/>
              <a:gd name="connsiteY21-334" fmla="*/ 401444 h 1025912"/>
              <a:gd name="connsiteX22-335" fmla="*/ 1182029 w 1382751"/>
              <a:gd name="connsiteY22-336" fmla="*/ 312234 h 1025912"/>
              <a:gd name="connsiteX23-337" fmla="*/ 1193181 w 1382751"/>
              <a:gd name="connsiteY23-338" fmla="*/ 289931 h 1025912"/>
              <a:gd name="connsiteX24-339" fmla="*/ 1282390 w 1382751"/>
              <a:gd name="connsiteY24-340" fmla="*/ 356839 h 1025912"/>
              <a:gd name="connsiteX25-341" fmla="*/ 1304693 w 1382751"/>
              <a:gd name="connsiteY25-342" fmla="*/ 323385 h 1025912"/>
              <a:gd name="connsiteX26-343" fmla="*/ 1326995 w 1382751"/>
              <a:gd name="connsiteY26-344" fmla="*/ 211873 h 1025912"/>
              <a:gd name="connsiteX27-345" fmla="*/ 1382751 w 1382751"/>
              <a:gd name="connsiteY27-346" fmla="*/ 178419 h 1025912"/>
              <a:gd name="connsiteX28-347" fmla="*/ 1215483 w 1382751"/>
              <a:gd name="connsiteY28-348" fmla="*/ 100361 h 1025912"/>
              <a:gd name="connsiteX29-349" fmla="*/ 1215483 w 1382751"/>
              <a:gd name="connsiteY29-350" fmla="*/ 100361 h 1025912"/>
              <a:gd name="connsiteX30-351" fmla="*/ 1059366 w 1382751"/>
              <a:gd name="connsiteY30-352" fmla="*/ 0 h 1025912"/>
              <a:gd name="connsiteX31-353" fmla="*/ 880947 w 1382751"/>
              <a:gd name="connsiteY31-354" fmla="*/ 334536 h 1025912"/>
              <a:gd name="connsiteX32-355" fmla="*/ 713678 w 1382751"/>
              <a:gd name="connsiteY32-356" fmla="*/ 423746 h 1025912"/>
              <a:gd name="connsiteX33-357" fmla="*/ 278781 w 1382751"/>
              <a:gd name="connsiteY33-358" fmla="*/ 591014 h 1025912"/>
              <a:gd name="connsiteX34-359" fmla="*/ 144966 w 1382751"/>
              <a:gd name="connsiteY34-360" fmla="*/ 735980 h 1025912"/>
              <a:gd name="connsiteX35-361" fmla="*/ 55756 w 1382751"/>
              <a:gd name="connsiteY35-362" fmla="*/ 825190 h 1025912"/>
              <a:gd name="connsiteX36-363" fmla="*/ 0 w 1382751"/>
              <a:gd name="connsiteY36-364" fmla="*/ 959005 h 1025912"/>
              <a:gd name="connsiteX0-365" fmla="*/ 0 w 1382751"/>
              <a:gd name="connsiteY0-366" fmla="*/ 959005 h 1025912"/>
              <a:gd name="connsiteX1-367" fmla="*/ 122664 w 1382751"/>
              <a:gd name="connsiteY1-368" fmla="*/ 992458 h 1025912"/>
              <a:gd name="connsiteX2-369" fmla="*/ 133815 w 1382751"/>
              <a:gd name="connsiteY2-370" fmla="*/ 1014761 h 1025912"/>
              <a:gd name="connsiteX3-371" fmla="*/ 133815 w 1382751"/>
              <a:gd name="connsiteY3-372" fmla="*/ 1025912 h 1025912"/>
              <a:gd name="connsiteX4-373" fmla="*/ 289932 w 1382751"/>
              <a:gd name="connsiteY4-374" fmla="*/ 1025912 h 1025912"/>
              <a:gd name="connsiteX5-375" fmla="*/ 334537 w 1382751"/>
              <a:gd name="connsiteY5-376" fmla="*/ 947853 h 1025912"/>
              <a:gd name="connsiteX6-377" fmla="*/ 234176 w 1382751"/>
              <a:gd name="connsiteY6-378" fmla="*/ 858644 h 1025912"/>
              <a:gd name="connsiteX7-379" fmla="*/ 412595 w 1382751"/>
              <a:gd name="connsiteY7-380" fmla="*/ 802888 h 1025912"/>
              <a:gd name="connsiteX8-381" fmla="*/ 434898 w 1382751"/>
              <a:gd name="connsiteY8-382" fmla="*/ 702527 h 1025912"/>
              <a:gd name="connsiteX9-383" fmla="*/ 501805 w 1382751"/>
              <a:gd name="connsiteY9-384" fmla="*/ 713678 h 1025912"/>
              <a:gd name="connsiteX10-385" fmla="*/ 602166 w 1382751"/>
              <a:gd name="connsiteY10-386" fmla="*/ 814039 h 1025912"/>
              <a:gd name="connsiteX11-387" fmla="*/ 703340 w 1382751"/>
              <a:gd name="connsiteY11-388" fmla="*/ 851431 h 1025912"/>
              <a:gd name="connsiteX12-389" fmla="*/ 698489 w 1382751"/>
              <a:gd name="connsiteY12-390" fmla="*/ 738828 h 1025912"/>
              <a:gd name="connsiteX13-391" fmla="*/ 896953 w 1382751"/>
              <a:gd name="connsiteY13-392" fmla="*/ 812938 h 1025912"/>
              <a:gd name="connsiteX14-393" fmla="*/ 1004423 w 1382751"/>
              <a:gd name="connsiteY14-394" fmla="*/ 742980 h 1025912"/>
              <a:gd name="connsiteX15-395" fmla="*/ 925907 w 1382751"/>
              <a:gd name="connsiteY15-396" fmla="*/ 675860 h 1025912"/>
              <a:gd name="connsiteX16-397" fmla="*/ 1077274 w 1382751"/>
              <a:gd name="connsiteY16-398" fmla="*/ 675620 h 1025912"/>
              <a:gd name="connsiteX17-399" fmla="*/ 1003610 w 1382751"/>
              <a:gd name="connsiteY17-400" fmla="*/ 524107 h 1025912"/>
              <a:gd name="connsiteX18-401" fmla="*/ 1070517 w 1382751"/>
              <a:gd name="connsiteY18-402" fmla="*/ 512956 h 1025912"/>
              <a:gd name="connsiteX19-403" fmla="*/ 1081668 w 1382751"/>
              <a:gd name="connsiteY19-404" fmla="*/ 579863 h 1025912"/>
              <a:gd name="connsiteX20-405" fmla="*/ 1204332 w 1382751"/>
              <a:gd name="connsiteY20-406" fmla="*/ 546409 h 1025912"/>
              <a:gd name="connsiteX21-407" fmla="*/ 1226634 w 1382751"/>
              <a:gd name="connsiteY21-408" fmla="*/ 401444 h 1025912"/>
              <a:gd name="connsiteX22-409" fmla="*/ 1182029 w 1382751"/>
              <a:gd name="connsiteY22-410" fmla="*/ 312234 h 1025912"/>
              <a:gd name="connsiteX23-411" fmla="*/ 1193181 w 1382751"/>
              <a:gd name="connsiteY23-412" fmla="*/ 289931 h 1025912"/>
              <a:gd name="connsiteX24-413" fmla="*/ 1282390 w 1382751"/>
              <a:gd name="connsiteY24-414" fmla="*/ 356839 h 1025912"/>
              <a:gd name="connsiteX25-415" fmla="*/ 1304693 w 1382751"/>
              <a:gd name="connsiteY25-416" fmla="*/ 323385 h 1025912"/>
              <a:gd name="connsiteX26-417" fmla="*/ 1326995 w 1382751"/>
              <a:gd name="connsiteY26-418" fmla="*/ 211873 h 1025912"/>
              <a:gd name="connsiteX27-419" fmla="*/ 1382751 w 1382751"/>
              <a:gd name="connsiteY27-420" fmla="*/ 178419 h 1025912"/>
              <a:gd name="connsiteX28-421" fmla="*/ 1215483 w 1382751"/>
              <a:gd name="connsiteY28-422" fmla="*/ 100361 h 1025912"/>
              <a:gd name="connsiteX29-423" fmla="*/ 1215483 w 1382751"/>
              <a:gd name="connsiteY29-424" fmla="*/ 100361 h 1025912"/>
              <a:gd name="connsiteX30-425" fmla="*/ 1059366 w 1382751"/>
              <a:gd name="connsiteY30-426" fmla="*/ 0 h 1025912"/>
              <a:gd name="connsiteX31-427" fmla="*/ 880947 w 1382751"/>
              <a:gd name="connsiteY31-428" fmla="*/ 334536 h 1025912"/>
              <a:gd name="connsiteX32-429" fmla="*/ 713678 w 1382751"/>
              <a:gd name="connsiteY32-430" fmla="*/ 423746 h 1025912"/>
              <a:gd name="connsiteX33-431" fmla="*/ 278781 w 1382751"/>
              <a:gd name="connsiteY33-432" fmla="*/ 591014 h 1025912"/>
              <a:gd name="connsiteX34-433" fmla="*/ 144966 w 1382751"/>
              <a:gd name="connsiteY34-434" fmla="*/ 735980 h 1025912"/>
              <a:gd name="connsiteX35-435" fmla="*/ 55756 w 1382751"/>
              <a:gd name="connsiteY35-436" fmla="*/ 825190 h 1025912"/>
              <a:gd name="connsiteX36-437" fmla="*/ 0 w 1382751"/>
              <a:gd name="connsiteY36-438" fmla="*/ 959005 h 1025912"/>
              <a:gd name="connsiteX0-439" fmla="*/ 0 w 1382751"/>
              <a:gd name="connsiteY0-440" fmla="*/ 959005 h 1025912"/>
              <a:gd name="connsiteX1-441" fmla="*/ 122664 w 1382751"/>
              <a:gd name="connsiteY1-442" fmla="*/ 992458 h 1025912"/>
              <a:gd name="connsiteX2-443" fmla="*/ 133815 w 1382751"/>
              <a:gd name="connsiteY2-444" fmla="*/ 1014761 h 1025912"/>
              <a:gd name="connsiteX3-445" fmla="*/ 133815 w 1382751"/>
              <a:gd name="connsiteY3-446" fmla="*/ 1025912 h 1025912"/>
              <a:gd name="connsiteX4-447" fmla="*/ 289932 w 1382751"/>
              <a:gd name="connsiteY4-448" fmla="*/ 1025912 h 1025912"/>
              <a:gd name="connsiteX5-449" fmla="*/ 334537 w 1382751"/>
              <a:gd name="connsiteY5-450" fmla="*/ 947853 h 1025912"/>
              <a:gd name="connsiteX6-451" fmla="*/ 234176 w 1382751"/>
              <a:gd name="connsiteY6-452" fmla="*/ 858644 h 1025912"/>
              <a:gd name="connsiteX7-453" fmla="*/ 412595 w 1382751"/>
              <a:gd name="connsiteY7-454" fmla="*/ 802888 h 1025912"/>
              <a:gd name="connsiteX8-455" fmla="*/ 443739 w 1382751"/>
              <a:gd name="connsiteY8-456" fmla="*/ 711710 h 1025912"/>
              <a:gd name="connsiteX9-457" fmla="*/ 501805 w 1382751"/>
              <a:gd name="connsiteY9-458" fmla="*/ 713678 h 1025912"/>
              <a:gd name="connsiteX10-459" fmla="*/ 602166 w 1382751"/>
              <a:gd name="connsiteY10-460" fmla="*/ 814039 h 1025912"/>
              <a:gd name="connsiteX11-461" fmla="*/ 703340 w 1382751"/>
              <a:gd name="connsiteY11-462" fmla="*/ 851431 h 1025912"/>
              <a:gd name="connsiteX12-463" fmla="*/ 698489 w 1382751"/>
              <a:gd name="connsiteY12-464" fmla="*/ 738828 h 1025912"/>
              <a:gd name="connsiteX13-465" fmla="*/ 896953 w 1382751"/>
              <a:gd name="connsiteY13-466" fmla="*/ 812938 h 1025912"/>
              <a:gd name="connsiteX14-467" fmla="*/ 1004423 w 1382751"/>
              <a:gd name="connsiteY14-468" fmla="*/ 742980 h 1025912"/>
              <a:gd name="connsiteX15-469" fmla="*/ 925907 w 1382751"/>
              <a:gd name="connsiteY15-470" fmla="*/ 675860 h 1025912"/>
              <a:gd name="connsiteX16-471" fmla="*/ 1077274 w 1382751"/>
              <a:gd name="connsiteY16-472" fmla="*/ 675620 h 1025912"/>
              <a:gd name="connsiteX17-473" fmla="*/ 1003610 w 1382751"/>
              <a:gd name="connsiteY17-474" fmla="*/ 524107 h 1025912"/>
              <a:gd name="connsiteX18-475" fmla="*/ 1070517 w 1382751"/>
              <a:gd name="connsiteY18-476" fmla="*/ 512956 h 1025912"/>
              <a:gd name="connsiteX19-477" fmla="*/ 1081668 w 1382751"/>
              <a:gd name="connsiteY19-478" fmla="*/ 579863 h 1025912"/>
              <a:gd name="connsiteX20-479" fmla="*/ 1204332 w 1382751"/>
              <a:gd name="connsiteY20-480" fmla="*/ 546409 h 1025912"/>
              <a:gd name="connsiteX21-481" fmla="*/ 1226634 w 1382751"/>
              <a:gd name="connsiteY21-482" fmla="*/ 401444 h 1025912"/>
              <a:gd name="connsiteX22-483" fmla="*/ 1182029 w 1382751"/>
              <a:gd name="connsiteY22-484" fmla="*/ 312234 h 1025912"/>
              <a:gd name="connsiteX23-485" fmla="*/ 1193181 w 1382751"/>
              <a:gd name="connsiteY23-486" fmla="*/ 289931 h 1025912"/>
              <a:gd name="connsiteX24-487" fmla="*/ 1282390 w 1382751"/>
              <a:gd name="connsiteY24-488" fmla="*/ 356839 h 1025912"/>
              <a:gd name="connsiteX25-489" fmla="*/ 1304693 w 1382751"/>
              <a:gd name="connsiteY25-490" fmla="*/ 323385 h 1025912"/>
              <a:gd name="connsiteX26-491" fmla="*/ 1326995 w 1382751"/>
              <a:gd name="connsiteY26-492" fmla="*/ 211873 h 1025912"/>
              <a:gd name="connsiteX27-493" fmla="*/ 1382751 w 1382751"/>
              <a:gd name="connsiteY27-494" fmla="*/ 178419 h 1025912"/>
              <a:gd name="connsiteX28-495" fmla="*/ 1215483 w 1382751"/>
              <a:gd name="connsiteY28-496" fmla="*/ 100361 h 1025912"/>
              <a:gd name="connsiteX29-497" fmla="*/ 1215483 w 1382751"/>
              <a:gd name="connsiteY29-498" fmla="*/ 100361 h 1025912"/>
              <a:gd name="connsiteX30-499" fmla="*/ 1059366 w 1382751"/>
              <a:gd name="connsiteY30-500" fmla="*/ 0 h 1025912"/>
              <a:gd name="connsiteX31-501" fmla="*/ 880947 w 1382751"/>
              <a:gd name="connsiteY31-502" fmla="*/ 334536 h 1025912"/>
              <a:gd name="connsiteX32-503" fmla="*/ 713678 w 1382751"/>
              <a:gd name="connsiteY32-504" fmla="*/ 423746 h 1025912"/>
              <a:gd name="connsiteX33-505" fmla="*/ 278781 w 1382751"/>
              <a:gd name="connsiteY33-506" fmla="*/ 591014 h 1025912"/>
              <a:gd name="connsiteX34-507" fmla="*/ 144966 w 1382751"/>
              <a:gd name="connsiteY34-508" fmla="*/ 735980 h 1025912"/>
              <a:gd name="connsiteX35-509" fmla="*/ 55756 w 1382751"/>
              <a:gd name="connsiteY35-510" fmla="*/ 825190 h 1025912"/>
              <a:gd name="connsiteX36-511" fmla="*/ 0 w 1382751"/>
              <a:gd name="connsiteY36-512" fmla="*/ 959005 h 1025912"/>
              <a:gd name="connsiteX0-513" fmla="*/ 0 w 1382751"/>
              <a:gd name="connsiteY0-514" fmla="*/ 959005 h 1025912"/>
              <a:gd name="connsiteX1-515" fmla="*/ 122664 w 1382751"/>
              <a:gd name="connsiteY1-516" fmla="*/ 992458 h 1025912"/>
              <a:gd name="connsiteX2-517" fmla="*/ 133815 w 1382751"/>
              <a:gd name="connsiteY2-518" fmla="*/ 1014761 h 1025912"/>
              <a:gd name="connsiteX3-519" fmla="*/ 133815 w 1382751"/>
              <a:gd name="connsiteY3-520" fmla="*/ 1025912 h 1025912"/>
              <a:gd name="connsiteX4-521" fmla="*/ 289932 w 1382751"/>
              <a:gd name="connsiteY4-522" fmla="*/ 1025912 h 1025912"/>
              <a:gd name="connsiteX5-523" fmla="*/ 334537 w 1382751"/>
              <a:gd name="connsiteY5-524" fmla="*/ 947853 h 1025912"/>
              <a:gd name="connsiteX6-525" fmla="*/ 234176 w 1382751"/>
              <a:gd name="connsiteY6-526" fmla="*/ 858644 h 1025912"/>
              <a:gd name="connsiteX7-527" fmla="*/ 412595 w 1382751"/>
              <a:gd name="connsiteY7-528" fmla="*/ 802888 h 1025912"/>
              <a:gd name="connsiteX8-529" fmla="*/ 443739 w 1382751"/>
              <a:gd name="connsiteY8-530" fmla="*/ 711710 h 1025912"/>
              <a:gd name="connsiteX9-531" fmla="*/ 510645 w 1382751"/>
              <a:gd name="connsiteY9-532" fmla="*/ 722860 h 1025912"/>
              <a:gd name="connsiteX10-533" fmla="*/ 602166 w 1382751"/>
              <a:gd name="connsiteY10-534" fmla="*/ 814039 h 1025912"/>
              <a:gd name="connsiteX11-535" fmla="*/ 703340 w 1382751"/>
              <a:gd name="connsiteY11-536" fmla="*/ 851431 h 1025912"/>
              <a:gd name="connsiteX12-537" fmla="*/ 698489 w 1382751"/>
              <a:gd name="connsiteY12-538" fmla="*/ 738828 h 1025912"/>
              <a:gd name="connsiteX13-539" fmla="*/ 896953 w 1382751"/>
              <a:gd name="connsiteY13-540" fmla="*/ 812938 h 1025912"/>
              <a:gd name="connsiteX14-541" fmla="*/ 1004423 w 1382751"/>
              <a:gd name="connsiteY14-542" fmla="*/ 742980 h 1025912"/>
              <a:gd name="connsiteX15-543" fmla="*/ 925907 w 1382751"/>
              <a:gd name="connsiteY15-544" fmla="*/ 675860 h 1025912"/>
              <a:gd name="connsiteX16-545" fmla="*/ 1077274 w 1382751"/>
              <a:gd name="connsiteY16-546" fmla="*/ 675620 h 1025912"/>
              <a:gd name="connsiteX17-547" fmla="*/ 1003610 w 1382751"/>
              <a:gd name="connsiteY17-548" fmla="*/ 524107 h 1025912"/>
              <a:gd name="connsiteX18-549" fmla="*/ 1070517 w 1382751"/>
              <a:gd name="connsiteY18-550" fmla="*/ 512956 h 1025912"/>
              <a:gd name="connsiteX19-551" fmla="*/ 1081668 w 1382751"/>
              <a:gd name="connsiteY19-552" fmla="*/ 579863 h 1025912"/>
              <a:gd name="connsiteX20-553" fmla="*/ 1204332 w 1382751"/>
              <a:gd name="connsiteY20-554" fmla="*/ 546409 h 1025912"/>
              <a:gd name="connsiteX21-555" fmla="*/ 1226634 w 1382751"/>
              <a:gd name="connsiteY21-556" fmla="*/ 401444 h 1025912"/>
              <a:gd name="connsiteX22-557" fmla="*/ 1182029 w 1382751"/>
              <a:gd name="connsiteY22-558" fmla="*/ 312234 h 1025912"/>
              <a:gd name="connsiteX23-559" fmla="*/ 1193181 w 1382751"/>
              <a:gd name="connsiteY23-560" fmla="*/ 289931 h 1025912"/>
              <a:gd name="connsiteX24-561" fmla="*/ 1282390 w 1382751"/>
              <a:gd name="connsiteY24-562" fmla="*/ 356839 h 1025912"/>
              <a:gd name="connsiteX25-563" fmla="*/ 1304693 w 1382751"/>
              <a:gd name="connsiteY25-564" fmla="*/ 323385 h 1025912"/>
              <a:gd name="connsiteX26-565" fmla="*/ 1326995 w 1382751"/>
              <a:gd name="connsiteY26-566" fmla="*/ 211873 h 1025912"/>
              <a:gd name="connsiteX27-567" fmla="*/ 1382751 w 1382751"/>
              <a:gd name="connsiteY27-568" fmla="*/ 178419 h 1025912"/>
              <a:gd name="connsiteX28-569" fmla="*/ 1215483 w 1382751"/>
              <a:gd name="connsiteY28-570" fmla="*/ 100361 h 1025912"/>
              <a:gd name="connsiteX29-571" fmla="*/ 1215483 w 1382751"/>
              <a:gd name="connsiteY29-572" fmla="*/ 100361 h 1025912"/>
              <a:gd name="connsiteX30-573" fmla="*/ 1059366 w 1382751"/>
              <a:gd name="connsiteY30-574" fmla="*/ 0 h 1025912"/>
              <a:gd name="connsiteX31-575" fmla="*/ 880947 w 1382751"/>
              <a:gd name="connsiteY31-576" fmla="*/ 334536 h 1025912"/>
              <a:gd name="connsiteX32-577" fmla="*/ 713678 w 1382751"/>
              <a:gd name="connsiteY32-578" fmla="*/ 423746 h 1025912"/>
              <a:gd name="connsiteX33-579" fmla="*/ 278781 w 1382751"/>
              <a:gd name="connsiteY33-580" fmla="*/ 591014 h 1025912"/>
              <a:gd name="connsiteX34-581" fmla="*/ 144966 w 1382751"/>
              <a:gd name="connsiteY34-582" fmla="*/ 735980 h 1025912"/>
              <a:gd name="connsiteX35-583" fmla="*/ 55756 w 1382751"/>
              <a:gd name="connsiteY35-584" fmla="*/ 825190 h 1025912"/>
              <a:gd name="connsiteX36-585" fmla="*/ 0 w 1382751"/>
              <a:gd name="connsiteY36-586" fmla="*/ 959005 h 1025912"/>
              <a:gd name="connsiteX0-587" fmla="*/ 0 w 1382751"/>
              <a:gd name="connsiteY0-588" fmla="*/ 959005 h 1025912"/>
              <a:gd name="connsiteX1-589" fmla="*/ 119718 w 1382751"/>
              <a:gd name="connsiteY1-590" fmla="*/ 998579 h 1025912"/>
              <a:gd name="connsiteX2-591" fmla="*/ 133815 w 1382751"/>
              <a:gd name="connsiteY2-592" fmla="*/ 1014761 h 1025912"/>
              <a:gd name="connsiteX3-593" fmla="*/ 133815 w 1382751"/>
              <a:gd name="connsiteY3-594" fmla="*/ 1025912 h 1025912"/>
              <a:gd name="connsiteX4-595" fmla="*/ 289932 w 1382751"/>
              <a:gd name="connsiteY4-596" fmla="*/ 1025912 h 1025912"/>
              <a:gd name="connsiteX5-597" fmla="*/ 334537 w 1382751"/>
              <a:gd name="connsiteY5-598" fmla="*/ 947853 h 1025912"/>
              <a:gd name="connsiteX6-599" fmla="*/ 234176 w 1382751"/>
              <a:gd name="connsiteY6-600" fmla="*/ 858644 h 1025912"/>
              <a:gd name="connsiteX7-601" fmla="*/ 412595 w 1382751"/>
              <a:gd name="connsiteY7-602" fmla="*/ 802888 h 1025912"/>
              <a:gd name="connsiteX8-603" fmla="*/ 443739 w 1382751"/>
              <a:gd name="connsiteY8-604" fmla="*/ 711710 h 1025912"/>
              <a:gd name="connsiteX9-605" fmla="*/ 510645 w 1382751"/>
              <a:gd name="connsiteY9-606" fmla="*/ 722860 h 1025912"/>
              <a:gd name="connsiteX10-607" fmla="*/ 602166 w 1382751"/>
              <a:gd name="connsiteY10-608" fmla="*/ 814039 h 1025912"/>
              <a:gd name="connsiteX11-609" fmla="*/ 703340 w 1382751"/>
              <a:gd name="connsiteY11-610" fmla="*/ 851431 h 1025912"/>
              <a:gd name="connsiteX12-611" fmla="*/ 698489 w 1382751"/>
              <a:gd name="connsiteY12-612" fmla="*/ 738828 h 1025912"/>
              <a:gd name="connsiteX13-613" fmla="*/ 896953 w 1382751"/>
              <a:gd name="connsiteY13-614" fmla="*/ 812938 h 1025912"/>
              <a:gd name="connsiteX14-615" fmla="*/ 1004423 w 1382751"/>
              <a:gd name="connsiteY14-616" fmla="*/ 742980 h 1025912"/>
              <a:gd name="connsiteX15-617" fmla="*/ 925907 w 1382751"/>
              <a:gd name="connsiteY15-618" fmla="*/ 675860 h 1025912"/>
              <a:gd name="connsiteX16-619" fmla="*/ 1077274 w 1382751"/>
              <a:gd name="connsiteY16-620" fmla="*/ 675620 h 1025912"/>
              <a:gd name="connsiteX17-621" fmla="*/ 1003610 w 1382751"/>
              <a:gd name="connsiteY17-622" fmla="*/ 524107 h 1025912"/>
              <a:gd name="connsiteX18-623" fmla="*/ 1070517 w 1382751"/>
              <a:gd name="connsiteY18-624" fmla="*/ 512956 h 1025912"/>
              <a:gd name="connsiteX19-625" fmla="*/ 1081668 w 1382751"/>
              <a:gd name="connsiteY19-626" fmla="*/ 579863 h 1025912"/>
              <a:gd name="connsiteX20-627" fmla="*/ 1204332 w 1382751"/>
              <a:gd name="connsiteY20-628" fmla="*/ 546409 h 1025912"/>
              <a:gd name="connsiteX21-629" fmla="*/ 1226634 w 1382751"/>
              <a:gd name="connsiteY21-630" fmla="*/ 401444 h 1025912"/>
              <a:gd name="connsiteX22-631" fmla="*/ 1182029 w 1382751"/>
              <a:gd name="connsiteY22-632" fmla="*/ 312234 h 1025912"/>
              <a:gd name="connsiteX23-633" fmla="*/ 1193181 w 1382751"/>
              <a:gd name="connsiteY23-634" fmla="*/ 289931 h 1025912"/>
              <a:gd name="connsiteX24-635" fmla="*/ 1282390 w 1382751"/>
              <a:gd name="connsiteY24-636" fmla="*/ 356839 h 1025912"/>
              <a:gd name="connsiteX25-637" fmla="*/ 1304693 w 1382751"/>
              <a:gd name="connsiteY25-638" fmla="*/ 323385 h 1025912"/>
              <a:gd name="connsiteX26-639" fmla="*/ 1326995 w 1382751"/>
              <a:gd name="connsiteY26-640" fmla="*/ 211873 h 1025912"/>
              <a:gd name="connsiteX27-641" fmla="*/ 1382751 w 1382751"/>
              <a:gd name="connsiteY27-642" fmla="*/ 178419 h 1025912"/>
              <a:gd name="connsiteX28-643" fmla="*/ 1215483 w 1382751"/>
              <a:gd name="connsiteY28-644" fmla="*/ 100361 h 1025912"/>
              <a:gd name="connsiteX29-645" fmla="*/ 1215483 w 1382751"/>
              <a:gd name="connsiteY29-646" fmla="*/ 100361 h 1025912"/>
              <a:gd name="connsiteX30-647" fmla="*/ 1059366 w 1382751"/>
              <a:gd name="connsiteY30-648" fmla="*/ 0 h 1025912"/>
              <a:gd name="connsiteX31-649" fmla="*/ 880947 w 1382751"/>
              <a:gd name="connsiteY31-650" fmla="*/ 334536 h 1025912"/>
              <a:gd name="connsiteX32-651" fmla="*/ 713678 w 1382751"/>
              <a:gd name="connsiteY32-652" fmla="*/ 423746 h 1025912"/>
              <a:gd name="connsiteX33-653" fmla="*/ 278781 w 1382751"/>
              <a:gd name="connsiteY33-654" fmla="*/ 591014 h 1025912"/>
              <a:gd name="connsiteX34-655" fmla="*/ 144966 w 1382751"/>
              <a:gd name="connsiteY34-656" fmla="*/ 735980 h 1025912"/>
              <a:gd name="connsiteX35-657" fmla="*/ 55756 w 1382751"/>
              <a:gd name="connsiteY35-658" fmla="*/ 825190 h 1025912"/>
              <a:gd name="connsiteX36-659" fmla="*/ 0 w 1382751"/>
              <a:gd name="connsiteY36-660" fmla="*/ 959005 h 1025912"/>
              <a:gd name="connsiteX0-661" fmla="*/ 0 w 1382751"/>
              <a:gd name="connsiteY0-662" fmla="*/ 946763 h 1013670"/>
              <a:gd name="connsiteX1-663" fmla="*/ 119718 w 1382751"/>
              <a:gd name="connsiteY1-664" fmla="*/ 986337 h 1013670"/>
              <a:gd name="connsiteX2-665" fmla="*/ 133815 w 1382751"/>
              <a:gd name="connsiteY2-666" fmla="*/ 1002519 h 1013670"/>
              <a:gd name="connsiteX3-667" fmla="*/ 133815 w 1382751"/>
              <a:gd name="connsiteY3-668" fmla="*/ 1013670 h 1013670"/>
              <a:gd name="connsiteX4-669" fmla="*/ 289932 w 1382751"/>
              <a:gd name="connsiteY4-670" fmla="*/ 1013670 h 1013670"/>
              <a:gd name="connsiteX5-671" fmla="*/ 334537 w 1382751"/>
              <a:gd name="connsiteY5-672" fmla="*/ 935611 h 1013670"/>
              <a:gd name="connsiteX6-673" fmla="*/ 234176 w 1382751"/>
              <a:gd name="connsiteY6-674" fmla="*/ 846402 h 1013670"/>
              <a:gd name="connsiteX7-675" fmla="*/ 412595 w 1382751"/>
              <a:gd name="connsiteY7-676" fmla="*/ 790646 h 1013670"/>
              <a:gd name="connsiteX8-677" fmla="*/ 443739 w 1382751"/>
              <a:gd name="connsiteY8-678" fmla="*/ 699468 h 1013670"/>
              <a:gd name="connsiteX9-679" fmla="*/ 510645 w 1382751"/>
              <a:gd name="connsiteY9-680" fmla="*/ 710618 h 1013670"/>
              <a:gd name="connsiteX10-681" fmla="*/ 602166 w 1382751"/>
              <a:gd name="connsiteY10-682" fmla="*/ 801797 h 1013670"/>
              <a:gd name="connsiteX11-683" fmla="*/ 703340 w 1382751"/>
              <a:gd name="connsiteY11-684" fmla="*/ 839189 h 1013670"/>
              <a:gd name="connsiteX12-685" fmla="*/ 698489 w 1382751"/>
              <a:gd name="connsiteY12-686" fmla="*/ 726586 h 1013670"/>
              <a:gd name="connsiteX13-687" fmla="*/ 896953 w 1382751"/>
              <a:gd name="connsiteY13-688" fmla="*/ 800696 h 1013670"/>
              <a:gd name="connsiteX14-689" fmla="*/ 1004423 w 1382751"/>
              <a:gd name="connsiteY14-690" fmla="*/ 730738 h 1013670"/>
              <a:gd name="connsiteX15-691" fmla="*/ 925907 w 1382751"/>
              <a:gd name="connsiteY15-692" fmla="*/ 663618 h 1013670"/>
              <a:gd name="connsiteX16-693" fmla="*/ 1077274 w 1382751"/>
              <a:gd name="connsiteY16-694" fmla="*/ 663378 h 1013670"/>
              <a:gd name="connsiteX17-695" fmla="*/ 1003610 w 1382751"/>
              <a:gd name="connsiteY17-696" fmla="*/ 511865 h 1013670"/>
              <a:gd name="connsiteX18-697" fmla="*/ 1070517 w 1382751"/>
              <a:gd name="connsiteY18-698" fmla="*/ 500714 h 1013670"/>
              <a:gd name="connsiteX19-699" fmla="*/ 1081668 w 1382751"/>
              <a:gd name="connsiteY19-700" fmla="*/ 567621 h 1013670"/>
              <a:gd name="connsiteX20-701" fmla="*/ 1204332 w 1382751"/>
              <a:gd name="connsiteY20-702" fmla="*/ 534167 h 1013670"/>
              <a:gd name="connsiteX21-703" fmla="*/ 1226634 w 1382751"/>
              <a:gd name="connsiteY21-704" fmla="*/ 389202 h 1013670"/>
              <a:gd name="connsiteX22-705" fmla="*/ 1182029 w 1382751"/>
              <a:gd name="connsiteY22-706" fmla="*/ 299992 h 1013670"/>
              <a:gd name="connsiteX23-707" fmla="*/ 1193181 w 1382751"/>
              <a:gd name="connsiteY23-708" fmla="*/ 277689 h 1013670"/>
              <a:gd name="connsiteX24-709" fmla="*/ 1282390 w 1382751"/>
              <a:gd name="connsiteY24-710" fmla="*/ 344597 h 1013670"/>
              <a:gd name="connsiteX25-711" fmla="*/ 1304693 w 1382751"/>
              <a:gd name="connsiteY25-712" fmla="*/ 311143 h 1013670"/>
              <a:gd name="connsiteX26-713" fmla="*/ 1326995 w 1382751"/>
              <a:gd name="connsiteY26-714" fmla="*/ 199631 h 1013670"/>
              <a:gd name="connsiteX27-715" fmla="*/ 1382751 w 1382751"/>
              <a:gd name="connsiteY27-716" fmla="*/ 166177 h 1013670"/>
              <a:gd name="connsiteX28-717" fmla="*/ 1215483 w 1382751"/>
              <a:gd name="connsiteY28-718" fmla="*/ 88119 h 1013670"/>
              <a:gd name="connsiteX29-719" fmla="*/ 1215483 w 1382751"/>
              <a:gd name="connsiteY29-720" fmla="*/ 88119 h 1013670"/>
              <a:gd name="connsiteX30-721" fmla="*/ 1053472 w 1382751"/>
              <a:gd name="connsiteY30-722" fmla="*/ 0 h 1013670"/>
              <a:gd name="connsiteX31-723" fmla="*/ 880947 w 1382751"/>
              <a:gd name="connsiteY31-724" fmla="*/ 322294 h 1013670"/>
              <a:gd name="connsiteX32-725" fmla="*/ 713678 w 1382751"/>
              <a:gd name="connsiteY32-726" fmla="*/ 411504 h 1013670"/>
              <a:gd name="connsiteX33-727" fmla="*/ 278781 w 1382751"/>
              <a:gd name="connsiteY33-728" fmla="*/ 578772 h 1013670"/>
              <a:gd name="connsiteX34-729" fmla="*/ 144966 w 1382751"/>
              <a:gd name="connsiteY34-730" fmla="*/ 723738 h 1013670"/>
              <a:gd name="connsiteX35-731" fmla="*/ 55756 w 1382751"/>
              <a:gd name="connsiteY35-732" fmla="*/ 812948 h 1013670"/>
              <a:gd name="connsiteX36-733" fmla="*/ 0 w 1382751"/>
              <a:gd name="connsiteY36-734" fmla="*/ 946763 h 101367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289" y="connsiteY36-290"/>
              </a:cxn>
            </a:cxnLst>
            <a:rect l="l" t="t" r="r" b="b"/>
            <a:pathLst>
              <a:path w="1382751" h="1013670">
                <a:moveTo>
                  <a:pt x="0" y="946763"/>
                </a:moveTo>
                <a:lnTo>
                  <a:pt x="119718" y="986337"/>
                </a:lnTo>
                <a:lnTo>
                  <a:pt x="133815" y="1002519"/>
                </a:lnTo>
                <a:lnTo>
                  <a:pt x="133815" y="1013670"/>
                </a:lnTo>
                <a:lnTo>
                  <a:pt x="289932" y="1013670"/>
                </a:lnTo>
                <a:lnTo>
                  <a:pt x="334537" y="935611"/>
                </a:lnTo>
                <a:lnTo>
                  <a:pt x="234176" y="846402"/>
                </a:lnTo>
                <a:lnTo>
                  <a:pt x="412595" y="790646"/>
                </a:lnTo>
                <a:lnTo>
                  <a:pt x="443739" y="699468"/>
                </a:lnTo>
                <a:lnTo>
                  <a:pt x="510645" y="710618"/>
                </a:lnTo>
                <a:lnTo>
                  <a:pt x="602166" y="801797"/>
                </a:lnTo>
                <a:lnTo>
                  <a:pt x="703340" y="839189"/>
                </a:lnTo>
                <a:lnTo>
                  <a:pt x="698489" y="726586"/>
                </a:lnTo>
                <a:lnTo>
                  <a:pt x="896953" y="800696"/>
                </a:lnTo>
                <a:lnTo>
                  <a:pt x="1004423" y="730738"/>
                </a:lnTo>
                <a:lnTo>
                  <a:pt x="925907" y="663618"/>
                </a:lnTo>
                <a:lnTo>
                  <a:pt x="1077274" y="663378"/>
                </a:lnTo>
                <a:lnTo>
                  <a:pt x="1003610" y="511865"/>
                </a:lnTo>
                <a:lnTo>
                  <a:pt x="1070517" y="500714"/>
                </a:lnTo>
                <a:lnTo>
                  <a:pt x="1081668" y="567621"/>
                </a:lnTo>
                <a:lnTo>
                  <a:pt x="1204332" y="534167"/>
                </a:lnTo>
                <a:lnTo>
                  <a:pt x="1226634" y="389202"/>
                </a:lnTo>
                <a:lnTo>
                  <a:pt x="1182029" y="299992"/>
                </a:lnTo>
                <a:lnTo>
                  <a:pt x="1193181" y="277689"/>
                </a:lnTo>
                <a:lnTo>
                  <a:pt x="1282390" y="344597"/>
                </a:lnTo>
                <a:lnTo>
                  <a:pt x="1304693" y="311143"/>
                </a:lnTo>
                <a:lnTo>
                  <a:pt x="1326995" y="199631"/>
                </a:lnTo>
                <a:lnTo>
                  <a:pt x="1382751" y="166177"/>
                </a:lnTo>
                <a:lnTo>
                  <a:pt x="1215483" y="88119"/>
                </a:lnTo>
                <a:lnTo>
                  <a:pt x="1215483" y="88119"/>
                </a:lnTo>
                <a:lnTo>
                  <a:pt x="1053472" y="0"/>
                </a:lnTo>
                <a:lnTo>
                  <a:pt x="880947" y="322294"/>
                </a:lnTo>
                <a:lnTo>
                  <a:pt x="713678" y="411504"/>
                </a:lnTo>
                <a:lnTo>
                  <a:pt x="278781" y="578772"/>
                </a:lnTo>
                <a:lnTo>
                  <a:pt x="144966" y="723738"/>
                </a:lnTo>
                <a:lnTo>
                  <a:pt x="55756" y="812948"/>
                </a:lnTo>
                <a:lnTo>
                  <a:pt x="0" y="946763"/>
                </a:lnTo>
                <a:close/>
              </a:path>
            </a:pathLst>
          </a:custGeom>
        </p:spPr>
        <p:style>
          <a:lnRef idx="1">
            <a:schemeClr val="accent6"/>
          </a:lnRef>
          <a:fillRef idx="2">
            <a:schemeClr val="accent6"/>
          </a:fillRef>
          <a:effectRef idx="1">
            <a:schemeClr val="accent6"/>
          </a:effectRef>
          <a:fontRef idx="minor">
            <a:schemeClr val="dk1"/>
          </a:fontRef>
        </p:style>
        <p:txBody>
          <a:bodyPr lIns="45710" tIns="45710" rIns="45710" bIns="45710" anchor="ctr"/>
          <a:lstStyle/>
          <a:p>
            <a:pPr algn="ctr">
              <a:spcBef>
                <a:spcPts val="400"/>
              </a:spcBef>
              <a:defRPr/>
            </a:pPr>
            <a:endParaRPr lang="en-US" sz="1200" kern="0">
              <a:solidFill>
                <a:srgbClr val="003366"/>
              </a:solidFill>
              <a:latin typeface="+mj-lt"/>
              <a:cs typeface="Arial" panose="020B0604020202020204" pitchFamily="34" charset="0"/>
            </a:endParaRPr>
          </a:p>
        </p:txBody>
      </p:sp>
      <p:sp>
        <p:nvSpPr>
          <p:cNvPr id="13" name="Freeform 37"/>
          <p:cNvSpPr/>
          <p:nvPr>
            <p:custDataLst>
              <p:tags r:id="rId8"/>
            </p:custDataLst>
          </p:nvPr>
        </p:nvSpPr>
        <p:spPr bwMode="gray">
          <a:xfrm>
            <a:off x="5095393" y="2491431"/>
            <a:ext cx="920265" cy="660101"/>
          </a:xfrm>
          <a:custGeom>
            <a:avLst/>
            <a:gdLst>
              <a:gd name="connsiteX0" fmla="*/ 0 w 936703"/>
              <a:gd name="connsiteY0" fmla="*/ 591014 h 646770"/>
              <a:gd name="connsiteX1" fmla="*/ 0 w 936703"/>
              <a:gd name="connsiteY1" fmla="*/ 446049 h 646770"/>
              <a:gd name="connsiteX2" fmla="*/ 133815 w 936703"/>
              <a:gd name="connsiteY2" fmla="*/ 267629 h 646770"/>
              <a:gd name="connsiteX3" fmla="*/ 267630 w 936703"/>
              <a:gd name="connsiteY3" fmla="*/ 301083 h 646770"/>
              <a:gd name="connsiteX4" fmla="*/ 267630 w 936703"/>
              <a:gd name="connsiteY4" fmla="*/ 356839 h 646770"/>
              <a:gd name="connsiteX5" fmla="*/ 457200 w 936703"/>
              <a:gd name="connsiteY5" fmla="*/ 345688 h 646770"/>
              <a:gd name="connsiteX6" fmla="*/ 512956 w 936703"/>
              <a:gd name="connsiteY6" fmla="*/ 234175 h 646770"/>
              <a:gd name="connsiteX7" fmla="*/ 423747 w 936703"/>
              <a:gd name="connsiteY7" fmla="*/ 167268 h 646770"/>
              <a:gd name="connsiteX8" fmla="*/ 591015 w 936703"/>
              <a:gd name="connsiteY8" fmla="*/ 100361 h 646770"/>
              <a:gd name="connsiteX9" fmla="*/ 591015 w 936703"/>
              <a:gd name="connsiteY9" fmla="*/ 0 h 646770"/>
              <a:gd name="connsiteX10" fmla="*/ 635620 w 936703"/>
              <a:gd name="connsiteY10" fmla="*/ 22302 h 646770"/>
              <a:gd name="connsiteX11" fmla="*/ 747132 w 936703"/>
              <a:gd name="connsiteY11" fmla="*/ 133814 h 646770"/>
              <a:gd name="connsiteX12" fmla="*/ 747132 w 936703"/>
              <a:gd name="connsiteY12" fmla="*/ 133814 h 646770"/>
              <a:gd name="connsiteX13" fmla="*/ 925552 w 936703"/>
              <a:gd name="connsiteY13" fmla="*/ 178419 h 646770"/>
              <a:gd name="connsiteX14" fmla="*/ 936703 w 936703"/>
              <a:gd name="connsiteY14" fmla="*/ 323385 h 646770"/>
              <a:gd name="connsiteX15" fmla="*/ 847493 w 936703"/>
              <a:gd name="connsiteY15" fmla="*/ 367990 h 646770"/>
              <a:gd name="connsiteX16" fmla="*/ 892098 w 936703"/>
              <a:gd name="connsiteY16" fmla="*/ 434897 h 646770"/>
              <a:gd name="connsiteX17" fmla="*/ 825191 w 936703"/>
              <a:gd name="connsiteY17" fmla="*/ 501805 h 646770"/>
              <a:gd name="connsiteX18" fmla="*/ 735981 w 936703"/>
              <a:gd name="connsiteY18" fmla="*/ 501805 h 646770"/>
              <a:gd name="connsiteX19" fmla="*/ 691376 w 936703"/>
              <a:gd name="connsiteY19" fmla="*/ 546410 h 646770"/>
              <a:gd name="connsiteX20" fmla="*/ 568713 w 936703"/>
              <a:gd name="connsiteY20" fmla="*/ 602166 h 646770"/>
              <a:gd name="connsiteX21" fmla="*/ 423747 w 936703"/>
              <a:gd name="connsiteY21" fmla="*/ 624468 h 646770"/>
              <a:gd name="connsiteX22" fmla="*/ 267630 w 936703"/>
              <a:gd name="connsiteY22" fmla="*/ 568712 h 646770"/>
              <a:gd name="connsiteX23" fmla="*/ 267630 w 936703"/>
              <a:gd name="connsiteY23" fmla="*/ 568712 h 646770"/>
              <a:gd name="connsiteX24" fmla="*/ 245327 w 936703"/>
              <a:gd name="connsiteY24" fmla="*/ 646770 h 646770"/>
              <a:gd name="connsiteX25" fmla="*/ 100361 w 936703"/>
              <a:gd name="connsiteY25" fmla="*/ 635619 h 646770"/>
              <a:gd name="connsiteX26" fmla="*/ 44605 w 936703"/>
              <a:gd name="connsiteY26" fmla="*/ 646770 h 646770"/>
              <a:gd name="connsiteX27" fmla="*/ 0 w 936703"/>
              <a:gd name="connsiteY27" fmla="*/ 591014 h 646770"/>
              <a:gd name="connsiteX0-1" fmla="*/ 24595 w 961298"/>
              <a:gd name="connsiteY0-2" fmla="*/ 591014 h 711712"/>
              <a:gd name="connsiteX1-3" fmla="*/ 24595 w 961298"/>
              <a:gd name="connsiteY1-4" fmla="*/ 446049 h 711712"/>
              <a:gd name="connsiteX2-5" fmla="*/ 158410 w 961298"/>
              <a:gd name="connsiteY2-6" fmla="*/ 267629 h 711712"/>
              <a:gd name="connsiteX3-7" fmla="*/ 292225 w 961298"/>
              <a:gd name="connsiteY3-8" fmla="*/ 301083 h 711712"/>
              <a:gd name="connsiteX4-9" fmla="*/ 292225 w 961298"/>
              <a:gd name="connsiteY4-10" fmla="*/ 356839 h 711712"/>
              <a:gd name="connsiteX5-11" fmla="*/ 481795 w 961298"/>
              <a:gd name="connsiteY5-12" fmla="*/ 345688 h 711712"/>
              <a:gd name="connsiteX6-13" fmla="*/ 537551 w 961298"/>
              <a:gd name="connsiteY6-14" fmla="*/ 234175 h 711712"/>
              <a:gd name="connsiteX7-15" fmla="*/ 448342 w 961298"/>
              <a:gd name="connsiteY7-16" fmla="*/ 167268 h 711712"/>
              <a:gd name="connsiteX8-17" fmla="*/ 615610 w 961298"/>
              <a:gd name="connsiteY8-18" fmla="*/ 100361 h 711712"/>
              <a:gd name="connsiteX9-19" fmla="*/ 615610 w 961298"/>
              <a:gd name="connsiteY9-20" fmla="*/ 0 h 711712"/>
              <a:gd name="connsiteX10-21" fmla="*/ 660215 w 961298"/>
              <a:gd name="connsiteY10-22" fmla="*/ 22302 h 711712"/>
              <a:gd name="connsiteX11-23" fmla="*/ 771727 w 961298"/>
              <a:gd name="connsiteY11-24" fmla="*/ 133814 h 711712"/>
              <a:gd name="connsiteX12-25" fmla="*/ 771727 w 961298"/>
              <a:gd name="connsiteY12-26" fmla="*/ 133814 h 711712"/>
              <a:gd name="connsiteX13-27" fmla="*/ 950147 w 961298"/>
              <a:gd name="connsiteY13-28" fmla="*/ 178419 h 711712"/>
              <a:gd name="connsiteX14-29" fmla="*/ 961298 w 961298"/>
              <a:gd name="connsiteY14-30" fmla="*/ 323385 h 711712"/>
              <a:gd name="connsiteX15-31" fmla="*/ 872088 w 961298"/>
              <a:gd name="connsiteY15-32" fmla="*/ 367990 h 711712"/>
              <a:gd name="connsiteX16-33" fmla="*/ 916693 w 961298"/>
              <a:gd name="connsiteY16-34" fmla="*/ 434897 h 711712"/>
              <a:gd name="connsiteX17-35" fmla="*/ 849786 w 961298"/>
              <a:gd name="connsiteY17-36" fmla="*/ 501805 h 711712"/>
              <a:gd name="connsiteX18-37" fmla="*/ 760576 w 961298"/>
              <a:gd name="connsiteY18-38" fmla="*/ 501805 h 711712"/>
              <a:gd name="connsiteX19-39" fmla="*/ 715971 w 961298"/>
              <a:gd name="connsiteY19-40" fmla="*/ 546410 h 711712"/>
              <a:gd name="connsiteX20-41" fmla="*/ 593308 w 961298"/>
              <a:gd name="connsiteY20-42" fmla="*/ 602166 h 711712"/>
              <a:gd name="connsiteX21-43" fmla="*/ 448342 w 961298"/>
              <a:gd name="connsiteY21-44" fmla="*/ 624468 h 711712"/>
              <a:gd name="connsiteX22-45" fmla="*/ 292225 w 961298"/>
              <a:gd name="connsiteY22-46" fmla="*/ 568712 h 711712"/>
              <a:gd name="connsiteX23-47" fmla="*/ 292225 w 961298"/>
              <a:gd name="connsiteY23-48" fmla="*/ 568712 h 711712"/>
              <a:gd name="connsiteX24-49" fmla="*/ 269922 w 961298"/>
              <a:gd name="connsiteY24-50" fmla="*/ 646770 h 711712"/>
              <a:gd name="connsiteX25-51" fmla="*/ 124956 w 961298"/>
              <a:gd name="connsiteY25-52" fmla="*/ 635619 h 711712"/>
              <a:gd name="connsiteX26-53" fmla="*/ 69200 w 961298"/>
              <a:gd name="connsiteY26-54" fmla="*/ 646770 h 711712"/>
              <a:gd name="connsiteX27-55" fmla="*/ 0 w 961298"/>
              <a:gd name="connsiteY27-56" fmla="*/ 711712 h 711712"/>
              <a:gd name="connsiteX28" fmla="*/ 24595 w 961298"/>
              <a:gd name="connsiteY28" fmla="*/ 591014 h 711712"/>
              <a:gd name="connsiteX0-57" fmla="*/ 24595 w 961298"/>
              <a:gd name="connsiteY0-58" fmla="*/ 591014 h 711712"/>
              <a:gd name="connsiteX1-59" fmla="*/ 24595 w 961298"/>
              <a:gd name="connsiteY1-60" fmla="*/ 446049 h 711712"/>
              <a:gd name="connsiteX2-61" fmla="*/ 158410 w 961298"/>
              <a:gd name="connsiteY2-62" fmla="*/ 267629 h 711712"/>
              <a:gd name="connsiteX3-63" fmla="*/ 292225 w 961298"/>
              <a:gd name="connsiteY3-64" fmla="*/ 301083 h 711712"/>
              <a:gd name="connsiteX4-65" fmla="*/ 292225 w 961298"/>
              <a:gd name="connsiteY4-66" fmla="*/ 356839 h 711712"/>
              <a:gd name="connsiteX5-67" fmla="*/ 481795 w 961298"/>
              <a:gd name="connsiteY5-68" fmla="*/ 345688 h 711712"/>
              <a:gd name="connsiteX6-69" fmla="*/ 537551 w 961298"/>
              <a:gd name="connsiteY6-70" fmla="*/ 234175 h 711712"/>
              <a:gd name="connsiteX7-71" fmla="*/ 448342 w 961298"/>
              <a:gd name="connsiteY7-72" fmla="*/ 167268 h 711712"/>
              <a:gd name="connsiteX8-73" fmla="*/ 615610 w 961298"/>
              <a:gd name="connsiteY8-74" fmla="*/ 100361 h 711712"/>
              <a:gd name="connsiteX9-75" fmla="*/ 615610 w 961298"/>
              <a:gd name="connsiteY9-76" fmla="*/ 0 h 711712"/>
              <a:gd name="connsiteX10-77" fmla="*/ 660215 w 961298"/>
              <a:gd name="connsiteY10-78" fmla="*/ 22302 h 711712"/>
              <a:gd name="connsiteX11-79" fmla="*/ 771727 w 961298"/>
              <a:gd name="connsiteY11-80" fmla="*/ 133814 h 711712"/>
              <a:gd name="connsiteX12-81" fmla="*/ 771727 w 961298"/>
              <a:gd name="connsiteY12-82" fmla="*/ 133814 h 711712"/>
              <a:gd name="connsiteX13-83" fmla="*/ 950147 w 961298"/>
              <a:gd name="connsiteY13-84" fmla="*/ 178419 h 711712"/>
              <a:gd name="connsiteX14-85" fmla="*/ 961298 w 961298"/>
              <a:gd name="connsiteY14-86" fmla="*/ 323385 h 711712"/>
              <a:gd name="connsiteX15-87" fmla="*/ 872088 w 961298"/>
              <a:gd name="connsiteY15-88" fmla="*/ 367990 h 711712"/>
              <a:gd name="connsiteX16-89" fmla="*/ 916693 w 961298"/>
              <a:gd name="connsiteY16-90" fmla="*/ 434897 h 711712"/>
              <a:gd name="connsiteX17-91" fmla="*/ 849786 w 961298"/>
              <a:gd name="connsiteY17-92" fmla="*/ 501805 h 711712"/>
              <a:gd name="connsiteX18-93" fmla="*/ 760576 w 961298"/>
              <a:gd name="connsiteY18-94" fmla="*/ 501805 h 711712"/>
              <a:gd name="connsiteX19-95" fmla="*/ 715971 w 961298"/>
              <a:gd name="connsiteY19-96" fmla="*/ 546410 h 711712"/>
              <a:gd name="connsiteX20-97" fmla="*/ 581249 w 961298"/>
              <a:gd name="connsiteY20-98" fmla="*/ 619860 h 711712"/>
              <a:gd name="connsiteX21-99" fmla="*/ 448342 w 961298"/>
              <a:gd name="connsiteY21-100" fmla="*/ 624468 h 711712"/>
              <a:gd name="connsiteX22-101" fmla="*/ 292225 w 961298"/>
              <a:gd name="connsiteY22-102" fmla="*/ 568712 h 711712"/>
              <a:gd name="connsiteX23-103" fmla="*/ 292225 w 961298"/>
              <a:gd name="connsiteY23-104" fmla="*/ 568712 h 711712"/>
              <a:gd name="connsiteX24-105" fmla="*/ 269922 w 961298"/>
              <a:gd name="connsiteY24-106" fmla="*/ 646770 h 711712"/>
              <a:gd name="connsiteX25-107" fmla="*/ 124956 w 961298"/>
              <a:gd name="connsiteY25-108" fmla="*/ 635619 h 711712"/>
              <a:gd name="connsiteX26-109" fmla="*/ 69200 w 961298"/>
              <a:gd name="connsiteY26-110" fmla="*/ 646770 h 711712"/>
              <a:gd name="connsiteX27-111" fmla="*/ 0 w 961298"/>
              <a:gd name="connsiteY27-112" fmla="*/ 711712 h 711712"/>
              <a:gd name="connsiteX28-113" fmla="*/ 24595 w 961298"/>
              <a:gd name="connsiteY28-114" fmla="*/ 591014 h 711712"/>
              <a:gd name="connsiteX0-115" fmla="*/ 24595 w 961298"/>
              <a:gd name="connsiteY0-116" fmla="*/ 591014 h 711712"/>
              <a:gd name="connsiteX1-117" fmla="*/ 24595 w 961298"/>
              <a:gd name="connsiteY1-118" fmla="*/ 446049 h 711712"/>
              <a:gd name="connsiteX2-119" fmla="*/ 158410 w 961298"/>
              <a:gd name="connsiteY2-120" fmla="*/ 267629 h 711712"/>
              <a:gd name="connsiteX3-121" fmla="*/ 292225 w 961298"/>
              <a:gd name="connsiteY3-122" fmla="*/ 301083 h 711712"/>
              <a:gd name="connsiteX4-123" fmla="*/ 292225 w 961298"/>
              <a:gd name="connsiteY4-124" fmla="*/ 356839 h 711712"/>
              <a:gd name="connsiteX5-125" fmla="*/ 481795 w 961298"/>
              <a:gd name="connsiteY5-126" fmla="*/ 345688 h 711712"/>
              <a:gd name="connsiteX6-127" fmla="*/ 537551 w 961298"/>
              <a:gd name="connsiteY6-128" fmla="*/ 234175 h 711712"/>
              <a:gd name="connsiteX7-129" fmla="*/ 448342 w 961298"/>
              <a:gd name="connsiteY7-130" fmla="*/ 167268 h 711712"/>
              <a:gd name="connsiteX8-131" fmla="*/ 615610 w 961298"/>
              <a:gd name="connsiteY8-132" fmla="*/ 100361 h 711712"/>
              <a:gd name="connsiteX9-133" fmla="*/ 615610 w 961298"/>
              <a:gd name="connsiteY9-134" fmla="*/ 0 h 711712"/>
              <a:gd name="connsiteX10-135" fmla="*/ 660215 w 961298"/>
              <a:gd name="connsiteY10-136" fmla="*/ 22302 h 711712"/>
              <a:gd name="connsiteX11-137" fmla="*/ 771727 w 961298"/>
              <a:gd name="connsiteY11-138" fmla="*/ 133814 h 711712"/>
              <a:gd name="connsiteX12-139" fmla="*/ 771727 w 961298"/>
              <a:gd name="connsiteY12-140" fmla="*/ 133814 h 711712"/>
              <a:gd name="connsiteX13-141" fmla="*/ 950147 w 961298"/>
              <a:gd name="connsiteY13-142" fmla="*/ 178419 h 711712"/>
              <a:gd name="connsiteX14-143" fmla="*/ 961298 w 961298"/>
              <a:gd name="connsiteY14-144" fmla="*/ 323385 h 711712"/>
              <a:gd name="connsiteX15-145" fmla="*/ 872088 w 961298"/>
              <a:gd name="connsiteY15-146" fmla="*/ 367990 h 711712"/>
              <a:gd name="connsiteX16-147" fmla="*/ 916693 w 961298"/>
              <a:gd name="connsiteY16-148" fmla="*/ 434897 h 711712"/>
              <a:gd name="connsiteX17-149" fmla="*/ 849786 w 961298"/>
              <a:gd name="connsiteY17-150" fmla="*/ 501805 h 711712"/>
              <a:gd name="connsiteX18-151" fmla="*/ 760576 w 961298"/>
              <a:gd name="connsiteY18-152" fmla="*/ 501805 h 711712"/>
              <a:gd name="connsiteX19-153" fmla="*/ 715971 w 961298"/>
              <a:gd name="connsiteY19-154" fmla="*/ 546410 h 711712"/>
              <a:gd name="connsiteX20-155" fmla="*/ 581249 w 961298"/>
              <a:gd name="connsiteY20-156" fmla="*/ 619860 h 711712"/>
              <a:gd name="connsiteX21-157" fmla="*/ 436283 w 961298"/>
              <a:gd name="connsiteY21-158" fmla="*/ 631546 h 711712"/>
              <a:gd name="connsiteX22-159" fmla="*/ 292225 w 961298"/>
              <a:gd name="connsiteY22-160" fmla="*/ 568712 h 711712"/>
              <a:gd name="connsiteX23-161" fmla="*/ 292225 w 961298"/>
              <a:gd name="connsiteY23-162" fmla="*/ 568712 h 711712"/>
              <a:gd name="connsiteX24-163" fmla="*/ 269922 w 961298"/>
              <a:gd name="connsiteY24-164" fmla="*/ 646770 h 711712"/>
              <a:gd name="connsiteX25-165" fmla="*/ 124956 w 961298"/>
              <a:gd name="connsiteY25-166" fmla="*/ 635619 h 711712"/>
              <a:gd name="connsiteX26-167" fmla="*/ 69200 w 961298"/>
              <a:gd name="connsiteY26-168" fmla="*/ 646770 h 711712"/>
              <a:gd name="connsiteX27-169" fmla="*/ 0 w 961298"/>
              <a:gd name="connsiteY27-170" fmla="*/ 711712 h 711712"/>
              <a:gd name="connsiteX28-171" fmla="*/ 24595 w 961298"/>
              <a:gd name="connsiteY28-172" fmla="*/ 591014 h 711712"/>
              <a:gd name="connsiteX0-173" fmla="*/ 24595 w 961298"/>
              <a:gd name="connsiteY0-174" fmla="*/ 591014 h 711712"/>
              <a:gd name="connsiteX1-175" fmla="*/ 24595 w 961298"/>
              <a:gd name="connsiteY1-176" fmla="*/ 446049 h 711712"/>
              <a:gd name="connsiteX2-177" fmla="*/ 158410 w 961298"/>
              <a:gd name="connsiteY2-178" fmla="*/ 267629 h 711712"/>
              <a:gd name="connsiteX3-179" fmla="*/ 292225 w 961298"/>
              <a:gd name="connsiteY3-180" fmla="*/ 301083 h 711712"/>
              <a:gd name="connsiteX4-181" fmla="*/ 292225 w 961298"/>
              <a:gd name="connsiteY4-182" fmla="*/ 356839 h 711712"/>
              <a:gd name="connsiteX5-183" fmla="*/ 481795 w 961298"/>
              <a:gd name="connsiteY5-184" fmla="*/ 345688 h 711712"/>
              <a:gd name="connsiteX6-185" fmla="*/ 537551 w 961298"/>
              <a:gd name="connsiteY6-186" fmla="*/ 234175 h 711712"/>
              <a:gd name="connsiteX7-187" fmla="*/ 448342 w 961298"/>
              <a:gd name="connsiteY7-188" fmla="*/ 167268 h 711712"/>
              <a:gd name="connsiteX8-189" fmla="*/ 615610 w 961298"/>
              <a:gd name="connsiteY8-190" fmla="*/ 100361 h 711712"/>
              <a:gd name="connsiteX9-191" fmla="*/ 615610 w 961298"/>
              <a:gd name="connsiteY9-192" fmla="*/ 0 h 711712"/>
              <a:gd name="connsiteX10-193" fmla="*/ 660215 w 961298"/>
              <a:gd name="connsiteY10-194" fmla="*/ 22302 h 711712"/>
              <a:gd name="connsiteX11-195" fmla="*/ 771727 w 961298"/>
              <a:gd name="connsiteY11-196" fmla="*/ 133814 h 711712"/>
              <a:gd name="connsiteX12-197" fmla="*/ 771727 w 961298"/>
              <a:gd name="connsiteY12-198" fmla="*/ 133814 h 711712"/>
              <a:gd name="connsiteX13-199" fmla="*/ 950147 w 961298"/>
              <a:gd name="connsiteY13-200" fmla="*/ 178419 h 711712"/>
              <a:gd name="connsiteX14-201" fmla="*/ 961298 w 961298"/>
              <a:gd name="connsiteY14-202" fmla="*/ 323385 h 711712"/>
              <a:gd name="connsiteX15-203" fmla="*/ 872088 w 961298"/>
              <a:gd name="connsiteY15-204" fmla="*/ 367990 h 711712"/>
              <a:gd name="connsiteX16-205" fmla="*/ 916693 w 961298"/>
              <a:gd name="connsiteY16-206" fmla="*/ 434897 h 711712"/>
              <a:gd name="connsiteX17-207" fmla="*/ 849786 w 961298"/>
              <a:gd name="connsiteY17-208" fmla="*/ 501805 h 711712"/>
              <a:gd name="connsiteX18-209" fmla="*/ 760576 w 961298"/>
              <a:gd name="connsiteY18-210" fmla="*/ 501805 h 711712"/>
              <a:gd name="connsiteX19-211" fmla="*/ 728030 w 961298"/>
              <a:gd name="connsiteY19-212" fmla="*/ 496871 h 711712"/>
              <a:gd name="connsiteX20-213" fmla="*/ 581249 w 961298"/>
              <a:gd name="connsiteY20-214" fmla="*/ 619860 h 711712"/>
              <a:gd name="connsiteX21-215" fmla="*/ 436283 w 961298"/>
              <a:gd name="connsiteY21-216" fmla="*/ 631546 h 711712"/>
              <a:gd name="connsiteX22-217" fmla="*/ 292225 w 961298"/>
              <a:gd name="connsiteY22-218" fmla="*/ 568712 h 711712"/>
              <a:gd name="connsiteX23-219" fmla="*/ 292225 w 961298"/>
              <a:gd name="connsiteY23-220" fmla="*/ 568712 h 711712"/>
              <a:gd name="connsiteX24-221" fmla="*/ 269922 w 961298"/>
              <a:gd name="connsiteY24-222" fmla="*/ 646770 h 711712"/>
              <a:gd name="connsiteX25-223" fmla="*/ 124956 w 961298"/>
              <a:gd name="connsiteY25-224" fmla="*/ 635619 h 711712"/>
              <a:gd name="connsiteX26-225" fmla="*/ 69200 w 961298"/>
              <a:gd name="connsiteY26-226" fmla="*/ 646770 h 711712"/>
              <a:gd name="connsiteX27-227" fmla="*/ 0 w 961298"/>
              <a:gd name="connsiteY27-228" fmla="*/ 711712 h 711712"/>
              <a:gd name="connsiteX28-229" fmla="*/ 24595 w 961298"/>
              <a:gd name="connsiteY28-230" fmla="*/ 591014 h 711712"/>
              <a:gd name="connsiteX0-231" fmla="*/ 24595 w 961298"/>
              <a:gd name="connsiteY0-232" fmla="*/ 591014 h 711712"/>
              <a:gd name="connsiteX1-233" fmla="*/ 24595 w 961298"/>
              <a:gd name="connsiteY1-234" fmla="*/ 446049 h 711712"/>
              <a:gd name="connsiteX2-235" fmla="*/ 158410 w 961298"/>
              <a:gd name="connsiteY2-236" fmla="*/ 267629 h 711712"/>
              <a:gd name="connsiteX3-237" fmla="*/ 292225 w 961298"/>
              <a:gd name="connsiteY3-238" fmla="*/ 301083 h 711712"/>
              <a:gd name="connsiteX4-239" fmla="*/ 292225 w 961298"/>
              <a:gd name="connsiteY4-240" fmla="*/ 356839 h 711712"/>
              <a:gd name="connsiteX5-241" fmla="*/ 481795 w 961298"/>
              <a:gd name="connsiteY5-242" fmla="*/ 345688 h 711712"/>
              <a:gd name="connsiteX6-243" fmla="*/ 537551 w 961298"/>
              <a:gd name="connsiteY6-244" fmla="*/ 234175 h 711712"/>
              <a:gd name="connsiteX7-245" fmla="*/ 448342 w 961298"/>
              <a:gd name="connsiteY7-246" fmla="*/ 167268 h 711712"/>
              <a:gd name="connsiteX8-247" fmla="*/ 615610 w 961298"/>
              <a:gd name="connsiteY8-248" fmla="*/ 100361 h 711712"/>
              <a:gd name="connsiteX9-249" fmla="*/ 615610 w 961298"/>
              <a:gd name="connsiteY9-250" fmla="*/ 0 h 711712"/>
              <a:gd name="connsiteX10-251" fmla="*/ 660215 w 961298"/>
              <a:gd name="connsiteY10-252" fmla="*/ 22302 h 711712"/>
              <a:gd name="connsiteX11-253" fmla="*/ 771727 w 961298"/>
              <a:gd name="connsiteY11-254" fmla="*/ 133814 h 711712"/>
              <a:gd name="connsiteX12-255" fmla="*/ 771727 w 961298"/>
              <a:gd name="connsiteY12-256" fmla="*/ 133814 h 711712"/>
              <a:gd name="connsiteX13-257" fmla="*/ 950147 w 961298"/>
              <a:gd name="connsiteY13-258" fmla="*/ 178419 h 711712"/>
              <a:gd name="connsiteX14-259" fmla="*/ 961298 w 961298"/>
              <a:gd name="connsiteY14-260" fmla="*/ 323385 h 711712"/>
              <a:gd name="connsiteX15-261" fmla="*/ 872088 w 961298"/>
              <a:gd name="connsiteY15-262" fmla="*/ 367990 h 711712"/>
              <a:gd name="connsiteX16-263" fmla="*/ 916693 w 961298"/>
              <a:gd name="connsiteY16-264" fmla="*/ 434897 h 711712"/>
              <a:gd name="connsiteX17-265" fmla="*/ 849786 w 961298"/>
              <a:gd name="connsiteY17-266" fmla="*/ 501805 h 711712"/>
              <a:gd name="connsiteX18-267" fmla="*/ 760576 w 961298"/>
              <a:gd name="connsiteY18-268" fmla="*/ 501805 h 711712"/>
              <a:gd name="connsiteX19-269" fmla="*/ 649646 w 961298"/>
              <a:gd name="connsiteY19-270" fmla="*/ 578259 h 711712"/>
              <a:gd name="connsiteX20-271" fmla="*/ 581249 w 961298"/>
              <a:gd name="connsiteY20-272" fmla="*/ 619860 h 711712"/>
              <a:gd name="connsiteX21-273" fmla="*/ 436283 w 961298"/>
              <a:gd name="connsiteY21-274" fmla="*/ 631546 h 711712"/>
              <a:gd name="connsiteX22-275" fmla="*/ 292225 w 961298"/>
              <a:gd name="connsiteY22-276" fmla="*/ 568712 h 711712"/>
              <a:gd name="connsiteX23-277" fmla="*/ 292225 w 961298"/>
              <a:gd name="connsiteY23-278" fmla="*/ 568712 h 711712"/>
              <a:gd name="connsiteX24-279" fmla="*/ 269922 w 961298"/>
              <a:gd name="connsiteY24-280" fmla="*/ 646770 h 711712"/>
              <a:gd name="connsiteX25-281" fmla="*/ 124956 w 961298"/>
              <a:gd name="connsiteY25-282" fmla="*/ 635619 h 711712"/>
              <a:gd name="connsiteX26-283" fmla="*/ 69200 w 961298"/>
              <a:gd name="connsiteY26-284" fmla="*/ 646770 h 711712"/>
              <a:gd name="connsiteX27-285" fmla="*/ 0 w 961298"/>
              <a:gd name="connsiteY27-286" fmla="*/ 711712 h 711712"/>
              <a:gd name="connsiteX28-287" fmla="*/ 24595 w 961298"/>
              <a:gd name="connsiteY28-288" fmla="*/ 591014 h 711712"/>
              <a:gd name="connsiteX0-289" fmla="*/ 24595 w 961298"/>
              <a:gd name="connsiteY0-290" fmla="*/ 591014 h 711712"/>
              <a:gd name="connsiteX1-291" fmla="*/ 24595 w 961298"/>
              <a:gd name="connsiteY1-292" fmla="*/ 446049 h 711712"/>
              <a:gd name="connsiteX2-293" fmla="*/ 158410 w 961298"/>
              <a:gd name="connsiteY2-294" fmla="*/ 267629 h 711712"/>
              <a:gd name="connsiteX3-295" fmla="*/ 292225 w 961298"/>
              <a:gd name="connsiteY3-296" fmla="*/ 301083 h 711712"/>
              <a:gd name="connsiteX4-297" fmla="*/ 292225 w 961298"/>
              <a:gd name="connsiteY4-298" fmla="*/ 356839 h 711712"/>
              <a:gd name="connsiteX5-299" fmla="*/ 481795 w 961298"/>
              <a:gd name="connsiteY5-300" fmla="*/ 345688 h 711712"/>
              <a:gd name="connsiteX6-301" fmla="*/ 537551 w 961298"/>
              <a:gd name="connsiteY6-302" fmla="*/ 234175 h 711712"/>
              <a:gd name="connsiteX7-303" fmla="*/ 448342 w 961298"/>
              <a:gd name="connsiteY7-304" fmla="*/ 167268 h 711712"/>
              <a:gd name="connsiteX8-305" fmla="*/ 615610 w 961298"/>
              <a:gd name="connsiteY8-306" fmla="*/ 100361 h 711712"/>
              <a:gd name="connsiteX9-307" fmla="*/ 615610 w 961298"/>
              <a:gd name="connsiteY9-308" fmla="*/ 0 h 711712"/>
              <a:gd name="connsiteX10-309" fmla="*/ 660215 w 961298"/>
              <a:gd name="connsiteY10-310" fmla="*/ 22302 h 711712"/>
              <a:gd name="connsiteX11-311" fmla="*/ 771727 w 961298"/>
              <a:gd name="connsiteY11-312" fmla="*/ 133814 h 711712"/>
              <a:gd name="connsiteX12-313" fmla="*/ 771727 w 961298"/>
              <a:gd name="connsiteY12-314" fmla="*/ 133814 h 711712"/>
              <a:gd name="connsiteX13-315" fmla="*/ 950147 w 961298"/>
              <a:gd name="connsiteY13-316" fmla="*/ 178419 h 711712"/>
              <a:gd name="connsiteX14-317" fmla="*/ 961298 w 961298"/>
              <a:gd name="connsiteY14-318" fmla="*/ 323385 h 711712"/>
              <a:gd name="connsiteX15-319" fmla="*/ 872088 w 961298"/>
              <a:gd name="connsiteY15-320" fmla="*/ 367990 h 711712"/>
              <a:gd name="connsiteX16-321" fmla="*/ 916693 w 961298"/>
              <a:gd name="connsiteY16-322" fmla="*/ 434897 h 711712"/>
              <a:gd name="connsiteX17-323" fmla="*/ 849786 w 961298"/>
              <a:gd name="connsiteY17-324" fmla="*/ 501805 h 711712"/>
              <a:gd name="connsiteX18-325" fmla="*/ 715355 w 961298"/>
              <a:gd name="connsiteY18-326" fmla="*/ 494728 h 711712"/>
              <a:gd name="connsiteX19-327" fmla="*/ 649646 w 961298"/>
              <a:gd name="connsiteY19-328" fmla="*/ 578259 h 711712"/>
              <a:gd name="connsiteX20-329" fmla="*/ 581249 w 961298"/>
              <a:gd name="connsiteY20-330" fmla="*/ 619860 h 711712"/>
              <a:gd name="connsiteX21-331" fmla="*/ 436283 w 961298"/>
              <a:gd name="connsiteY21-332" fmla="*/ 631546 h 711712"/>
              <a:gd name="connsiteX22-333" fmla="*/ 292225 w 961298"/>
              <a:gd name="connsiteY22-334" fmla="*/ 568712 h 711712"/>
              <a:gd name="connsiteX23-335" fmla="*/ 292225 w 961298"/>
              <a:gd name="connsiteY23-336" fmla="*/ 568712 h 711712"/>
              <a:gd name="connsiteX24-337" fmla="*/ 269922 w 961298"/>
              <a:gd name="connsiteY24-338" fmla="*/ 646770 h 711712"/>
              <a:gd name="connsiteX25-339" fmla="*/ 124956 w 961298"/>
              <a:gd name="connsiteY25-340" fmla="*/ 635619 h 711712"/>
              <a:gd name="connsiteX26-341" fmla="*/ 69200 w 961298"/>
              <a:gd name="connsiteY26-342" fmla="*/ 646770 h 711712"/>
              <a:gd name="connsiteX27-343" fmla="*/ 0 w 961298"/>
              <a:gd name="connsiteY27-344" fmla="*/ 711712 h 711712"/>
              <a:gd name="connsiteX28-345" fmla="*/ 24595 w 961298"/>
              <a:gd name="connsiteY28-346" fmla="*/ 591014 h 711712"/>
              <a:gd name="connsiteX0-347" fmla="*/ 24595 w 961298"/>
              <a:gd name="connsiteY0-348" fmla="*/ 591014 h 711712"/>
              <a:gd name="connsiteX1-349" fmla="*/ 24595 w 961298"/>
              <a:gd name="connsiteY1-350" fmla="*/ 446049 h 711712"/>
              <a:gd name="connsiteX2-351" fmla="*/ 158410 w 961298"/>
              <a:gd name="connsiteY2-352" fmla="*/ 267629 h 711712"/>
              <a:gd name="connsiteX3-353" fmla="*/ 292225 w 961298"/>
              <a:gd name="connsiteY3-354" fmla="*/ 301083 h 711712"/>
              <a:gd name="connsiteX4-355" fmla="*/ 292225 w 961298"/>
              <a:gd name="connsiteY4-356" fmla="*/ 356839 h 711712"/>
              <a:gd name="connsiteX5-357" fmla="*/ 481795 w 961298"/>
              <a:gd name="connsiteY5-358" fmla="*/ 345688 h 711712"/>
              <a:gd name="connsiteX6-359" fmla="*/ 537551 w 961298"/>
              <a:gd name="connsiteY6-360" fmla="*/ 234175 h 711712"/>
              <a:gd name="connsiteX7-361" fmla="*/ 448342 w 961298"/>
              <a:gd name="connsiteY7-362" fmla="*/ 167268 h 711712"/>
              <a:gd name="connsiteX8-363" fmla="*/ 615610 w 961298"/>
              <a:gd name="connsiteY8-364" fmla="*/ 100361 h 711712"/>
              <a:gd name="connsiteX9-365" fmla="*/ 615610 w 961298"/>
              <a:gd name="connsiteY9-366" fmla="*/ 0 h 711712"/>
              <a:gd name="connsiteX10-367" fmla="*/ 660215 w 961298"/>
              <a:gd name="connsiteY10-368" fmla="*/ 22302 h 711712"/>
              <a:gd name="connsiteX11-369" fmla="*/ 771727 w 961298"/>
              <a:gd name="connsiteY11-370" fmla="*/ 133814 h 711712"/>
              <a:gd name="connsiteX12-371" fmla="*/ 771727 w 961298"/>
              <a:gd name="connsiteY12-372" fmla="*/ 133814 h 711712"/>
              <a:gd name="connsiteX13-373" fmla="*/ 950147 w 961298"/>
              <a:gd name="connsiteY13-374" fmla="*/ 178419 h 711712"/>
              <a:gd name="connsiteX14-375" fmla="*/ 961298 w 961298"/>
              <a:gd name="connsiteY14-376" fmla="*/ 323385 h 711712"/>
              <a:gd name="connsiteX15-377" fmla="*/ 872088 w 961298"/>
              <a:gd name="connsiteY15-378" fmla="*/ 367990 h 711712"/>
              <a:gd name="connsiteX16-379" fmla="*/ 916693 w 961298"/>
              <a:gd name="connsiteY16-380" fmla="*/ 434897 h 711712"/>
              <a:gd name="connsiteX17-381" fmla="*/ 849786 w 961298"/>
              <a:gd name="connsiteY17-382" fmla="*/ 455804 h 711712"/>
              <a:gd name="connsiteX18-383" fmla="*/ 715355 w 961298"/>
              <a:gd name="connsiteY18-384" fmla="*/ 494728 h 711712"/>
              <a:gd name="connsiteX19-385" fmla="*/ 649646 w 961298"/>
              <a:gd name="connsiteY19-386" fmla="*/ 578259 h 711712"/>
              <a:gd name="connsiteX20-387" fmla="*/ 581249 w 961298"/>
              <a:gd name="connsiteY20-388" fmla="*/ 619860 h 711712"/>
              <a:gd name="connsiteX21-389" fmla="*/ 436283 w 961298"/>
              <a:gd name="connsiteY21-390" fmla="*/ 631546 h 711712"/>
              <a:gd name="connsiteX22-391" fmla="*/ 292225 w 961298"/>
              <a:gd name="connsiteY22-392" fmla="*/ 568712 h 711712"/>
              <a:gd name="connsiteX23-393" fmla="*/ 292225 w 961298"/>
              <a:gd name="connsiteY23-394" fmla="*/ 568712 h 711712"/>
              <a:gd name="connsiteX24-395" fmla="*/ 269922 w 961298"/>
              <a:gd name="connsiteY24-396" fmla="*/ 646770 h 711712"/>
              <a:gd name="connsiteX25-397" fmla="*/ 124956 w 961298"/>
              <a:gd name="connsiteY25-398" fmla="*/ 635619 h 711712"/>
              <a:gd name="connsiteX26-399" fmla="*/ 69200 w 961298"/>
              <a:gd name="connsiteY26-400" fmla="*/ 646770 h 711712"/>
              <a:gd name="connsiteX27-401" fmla="*/ 0 w 961298"/>
              <a:gd name="connsiteY27-402" fmla="*/ 711712 h 711712"/>
              <a:gd name="connsiteX28-403" fmla="*/ 24595 w 961298"/>
              <a:gd name="connsiteY28-404" fmla="*/ 591014 h 711712"/>
              <a:gd name="connsiteX0-405" fmla="*/ 24595 w 961298"/>
              <a:gd name="connsiteY0-406" fmla="*/ 591014 h 711712"/>
              <a:gd name="connsiteX1-407" fmla="*/ 24595 w 961298"/>
              <a:gd name="connsiteY1-408" fmla="*/ 446049 h 711712"/>
              <a:gd name="connsiteX2-409" fmla="*/ 158410 w 961298"/>
              <a:gd name="connsiteY2-410" fmla="*/ 267629 h 711712"/>
              <a:gd name="connsiteX3-411" fmla="*/ 292225 w 961298"/>
              <a:gd name="connsiteY3-412" fmla="*/ 301083 h 711712"/>
              <a:gd name="connsiteX4-413" fmla="*/ 292225 w 961298"/>
              <a:gd name="connsiteY4-414" fmla="*/ 356839 h 711712"/>
              <a:gd name="connsiteX5-415" fmla="*/ 481795 w 961298"/>
              <a:gd name="connsiteY5-416" fmla="*/ 345688 h 711712"/>
              <a:gd name="connsiteX6-417" fmla="*/ 537551 w 961298"/>
              <a:gd name="connsiteY6-418" fmla="*/ 234175 h 711712"/>
              <a:gd name="connsiteX7-419" fmla="*/ 448342 w 961298"/>
              <a:gd name="connsiteY7-420" fmla="*/ 167268 h 711712"/>
              <a:gd name="connsiteX8-421" fmla="*/ 615610 w 961298"/>
              <a:gd name="connsiteY8-422" fmla="*/ 100361 h 711712"/>
              <a:gd name="connsiteX9-423" fmla="*/ 615610 w 961298"/>
              <a:gd name="connsiteY9-424" fmla="*/ 0 h 711712"/>
              <a:gd name="connsiteX10-425" fmla="*/ 660215 w 961298"/>
              <a:gd name="connsiteY10-426" fmla="*/ 22302 h 711712"/>
              <a:gd name="connsiteX11-427" fmla="*/ 771727 w 961298"/>
              <a:gd name="connsiteY11-428" fmla="*/ 133814 h 711712"/>
              <a:gd name="connsiteX12-429" fmla="*/ 771727 w 961298"/>
              <a:gd name="connsiteY12-430" fmla="*/ 133814 h 711712"/>
              <a:gd name="connsiteX13-431" fmla="*/ 950147 w 961298"/>
              <a:gd name="connsiteY13-432" fmla="*/ 178419 h 711712"/>
              <a:gd name="connsiteX14-433" fmla="*/ 961298 w 961298"/>
              <a:gd name="connsiteY14-434" fmla="*/ 323385 h 711712"/>
              <a:gd name="connsiteX15-435" fmla="*/ 872088 w 961298"/>
              <a:gd name="connsiteY15-436" fmla="*/ 367990 h 711712"/>
              <a:gd name="connsiteX16-437" fmla="*/ 826251 w 961298"/>
              <a:gd name="connsiteY16-438" fmla="*/ 364125 h 711712"/>
              <a:gd name="connsiteX17-439" fmla="*/ 849786 w 961298"/>
              <a:gd name="connsiteY17-440" fmla="*/ 455804 h 711712"/>
              <a:gd name="connsiteX18-441" fmla="*/ 715355 w 961298"/>
              <a:gd name="connsiteY18-442" fmla="*/ 494728 h 711712"/>
              <a:gd name="connsiteX19-443" fmla="*/ 649646 w 961298"/>
              <a:gd name="connsiteY19-444" fmla="*/ 578259 h 711712"/>
              <a:gd name="connsiteX20-445" fmla="*/ 581249 w 961298"/>
              <a:gd name="connsiteY20-446" fmla="*/ 619860 h 711712"/>
              <a:gd name="connsiteX21-447" fmla="*/ 436283 w 961298"/>
              <a:gd name="connsiteY21-448" fmla="*/ 631546 h 711712"/>
              <a:gd name="connsiteX22-449" fmla="*/ 292225 w 961298"/>
              <a:gd name="connsiteY22-450" fmla="*/ 568712 h 711712"/>
              <a:gd name="connsiteX23-451" fmla="*/ 292225 w 961298"/>
              <a:gd name="connsiteY23-452" fmla="*/ 568712 h 711712"/>
              <a:gd name="connsiteX24-453" fmla="*/ 269922 w 961298"/>
              <a:gd name="connsiteY24-454" fmla="*/ 646770 h 711712"/>
              <a:gd name="connsiteX25-455" fmla="*/ 124956 w 961298"/>
              <a:gd name="connsiteY25-456" fmla="*/ 635619 h 711712"/>
              <a:gd name="connsiteX26-457" fmla="*/ 69200 w 961298"/>
              <a:gd name="connsiteY26-458" fmla="*/ 646770 h 711712"/>
              <a:gd name="connsiteX27-459" fmla="*/ 0 w 961298"/>
              <a:gd name="connsiteY27-460" fmla="*/ 711712 h 711712"/>
              <a:gd name="connsiteX28-461" fmla="*/ 24595 w 961298"/>
              <a:gd name="connsiteY28-462" fmla="*/ 591014 h 711712"/>
              <a:gd name="connsiteX0-463" fmla="*/ 24595 w 961298"/>
              <a:gd name="connsiteY0-464" fmla="*/ 591014 h 711712"/>
              <a:gd name="connsiteX1-465" fmla="*/ 24595 w 961298"/>
              <a:gd name="connsiteY1-466" fmla="*/ 446049 h 711712"/>
              <a:gd name="connsiteX2-467" fmla="*/ 158410 w 961298"/>
              <a:gd name="connsiteY2-468" fmla="*/ 267629 h 711712"/>
              <a:gd name="connsiteX3-469" fmla="*/ 292225 w 961298"/>
              <a:gd name="connsiteY3-470" fmla="*/ 301083 h 711712"/>
              <a:gd name="connsiteX4-471" fmla="*/ 292225 w 961298"/>
              <a:gd name="connsiteY4-472" fmla="*/ 356839 h 711712"/>
              <a:gd name="connsiteX5-473" fmla="*/ 481795 w 961298"/>
              <a:gd name="connsiteY5-474" fmla="*/ 345688 h 711712"/>
              <a:gd name="connsiteX6-475" fmla="*/ 537551 w 961298"/>
              <a:gd name="connsiteY6-476" fmla="*/ 234175 h 711712"/>
              <a:gd name="connsiteX7-477" fmla="*/ 448342 w 961298"/>
              <a:gd name="connsiteY7-478" fmla="*/ 167268 h 711712"/>
              <a:gd name="connsiteX8-479" fmla="*/ 615610 w 961298"/>
              <a:gd name="connsiteY8-480" fmla="*/ 100361 h 711712"/>
              <a:gd name="connsiteX9-481" fmla="*/ 615610 w 961298"/>
              <a:gd name="connsiteY9-482" fmla="*/ 0 h 711712"/>
              <a:gd name="connsiteX10-483" fmla="*/ 660215 w 961298"/>
              <a:gd name="connsiteY10-484" fmla="*/ 22302 h 711712"/>
              <a:gd name="connsiteX11-485" fmla="*/ 771727 w 961298"/>
              <a:gd name="connsiteY11-486" fmla="*/ 133814 h 711712"/>
              <a:gd name="connsiteX12-487" fmla="*/ 771727 w 961298"/>
              <a:gd name="connsiteY12-488" fmla="*/ 133814 h 711712"/>
              <a:gd name="connsiteX13-489" fmla="*/ 950147 w 961298"/>
              <a:gd name="connsiteY13-490" fmla="*/ 178419 h 711712"/>
              <a:gd name="connsiteX14-491" fmla="*/ 961298 w 961298"/>
              <a:gd name="connsiteY14-492" fmla="*/ 323385 h 711712"/>
              <a:gd name="connsiteX15-493" fmla="*/ 826251 w 961298"/>
              <a:gd name="connsiteY15-494" fmla="*/ 364125 h 711712"/>
              <a:gd name="connsiteX16-495" fmla="*/ 849786 w 961298"/>
              <a:gd name="connsiteY16-496" fmla="*/ 455804 h 711712"/>
              <a:gd name="connsiteX17-497" fmla="*/ 715355 w 961298"/>
              <a:gd name="connsiteY17-498" fmla="*/ 494728 h 711712"/>
              <a:gd name="connsiteX18-499" fmla="*/ 649646 w 961298"/>
              <a:gd name="connsiteY18-500" fmla="*/ 578259 h 711712"/>
              <a:gd name="connsiteX19-501" fmla="*/ 581249 w 961298"/>
              <a:gd name="connsiteY19-502" fmla="*/ 619860 h 711712"/>
              <a:gd name="connsiteX20-503" fmla="*/ 436283 w 961298"/>
              <a:gd name="connsiteY20-504" fmla="*/ 631546 h 711712"/>
              <a:gd name="connsiteX21-505" fmla="*/ 292225 w 961298"/>
              <a:gd name="connsiteY21-506" fmla="*/ 568712 h 711712"/>
              <a:gd name="connsiteX22-507" fmla="*/ 292225 w 961298"/>
              <a:gd name="connsiteY22-508" fmla="*/ 568712 h 711712"/>
              <a:gd name="connsiteX23-509" fmla="*/ 269922 w 961298"/>
              <a:gd name="connsiteY23-510" fmla="*/ 646770 h 711712"/>
              <a:gd name="connsiteX24-511" fmla="*/ 124956 w 961298"/>
              <a:gd name="connsiteY24-512" fmla="*/ 635619 h 711712"/>
              <a:gd name="connsiteX25-513" fmla="*/ 69200 w 961298"/>
              <a:gd name="connsiteY25-514" fmla="*/ 646770 h 711712"/>
              <a:gd name="connsiteX26-515" fmla="*/ 0 w 961298"/>
              <a:gd name="connsiteY26-516" fmla="*/ 711712 h 711712"/>
              <a:gd name="connsiteX27-517" fmla="*/ 24595 w 961298"/>
              <a:gd name="connsiteY27-518" fmla="*/ 591014 h 711712"/>
              <a:gd name="connsiteX0-519" fmla="*/ 24595 w 950147"/>
              <a:gd name="connsiteY0-520" fmla="*/ 591014 h 711712"/>
              <a:gd name="connsiteX1-521" fmla="*/ 24595 w 950147"/>
              <a:gd name="connsiteY1-522" fmla="*/ 446049 h 711712"/>
              <a:gd name="connsiteX2-523" fmla="*/ 158410 w 950147"/>
              <a:gd name="connsiteY2-524" fmla="*/ 267629 h 711712"/>
              <a:gd name="connsiteX3-525" fmla="*/ 292225 w 950147"/>
              <a:gd name="connsiteY3-526" fmla="*/ 301083 h 711712"/>
              <a:gd name="connsiteX4-527" fmla="*/ 292225 w 950147"/>
              <a:gd name="connsiteY4-528" fmla="*/ 356839 h 711712"/>
              <a:gd name="connsiteX5-529" fmla="*/ 481795 w 950147"/>
              <a:gd name="connsiteY5-530" fmla="*/ 345688 h 711712"/>
              <a:gd name="connsiteX6-531" fmla="*/ 537551 w 950147"/>
              <a:gd name="connsiteY6-532" fmla="*/ 234175 h 711712"/>
              <a:gd name="connsiteX7-533" fmla="*/ 448342 w 950147"/>
              <a:gd name="connsiteY7-534" fmla="*/ 167268 h 711712"/>
              <a:gd name="connsiteX8-535" fmla="*/ 615610 w 950147"/>
              <a:gd name="connsiteY8-536" fmla="*/ 100361 h 711712"/>
              <a:gd name="connsiteX9-537" fmla="*/ 615610 w 950147"/>
              <a:gd name="connsiteY9-538" fmla="*/ 0 h 711712"/>
              <a:gd name="connsiteX10-539" fmla="*/ 660215 w 950147"/>
              <a:gd name="connsiteY10-540" fmla="*/ 22302 h 711712"/>
              <a:gd name="connsiteX11-541" fmla="*/ 771727 w 950147"/>
              <a:gd name="connsiteY11-542" fmla="*/ 133814 h 711712"/>
              <a:gd name="connsiteX12-543" fmla="*/ 771727 w 950147"/>
              <a:gd name="connsiteY12-544" fmla="*/ 133814 h 711712"/>
              <a:gd name="connsiteX13-545" fmla="*/ 950147 w 950147"/>
              <a:gd name="connsiteY13-546" fmla="*/ 178419 h 711712"/>
              <a:gd name="connsiteX14-547" fmla="*/ 910046 w 950147"/>
              <a:gd name="connsiteY14-548" fmla="*/ 277384 h 711712"/>
              <a:gd name="connsiteX15-549" fmla="*/ 826251 w 950147"/>
              <a:gd name="connsiteY15-550" fmla="*/ 364125 h 711712"/>
              <a:gd name="connsiteX16-551" fmla="*/ 849786 w 950147"/>
              <a:gd name="connsiteY16-552" fmla="*/ 455804 h 711712"/>
              <a:gd name="connsiteX17-553" fmla="*/ 715355 w 950147"/>
              <a:gd name="connsiteY17-554" fmla="*/ 494728 h 711712"/>
              <a:gd name="connsiteX18-555" fmla="*/ 649646 w 950147"/>
              <a:gd name="connsiteY18-556" fmla="*/ 578259 h 711712"/>
              <a:gd name="connsiteX19-557" fmla="*/ 581249 w 950147"/>
              <a:gd name="connsiteY19-558" fmla="*/ 619860 h 711712"/>
              <a:gd name="connsiteX20-559" fmla="*/ 436283 w 950147"/>
              <a:gd name="connsiteY20-560" fmla="*/ 631546 h 711712"/>
              <a:gd name="connsiteX21-561" fmla="*/ 292225 w 950147"/>
              <a:gd name="connsiteY21-562" fmla="*/ 568712 h 711712"/>
              <a:gd name="connsiteX22-563" fmla="*/ 292225 w 950147"/>
              <a:gd name="connsiteY22-564" fmla="*/ 568712 h 711712"/>
              <a:gd name="connsiteX23-565" fmla="*/ 269922 w 950147"/>
              <a:gd name="connsiteY23-566" fmla="*/ 646770 h 711712"/>
              <a:gd name="connsiteX24-567" fmla="*/ 124956 w 950147"/>
              <a:gd name="connsiteY24-568" fmla="*/ 635619 h 711712"/>
              <a:gd name="connsiteX25-569" fmla="*/ 69200 w 950147"/>
              <a:gd name="connsiteY25-570" fmla="*/ 646770 h 711712"/>
              <a:gd name="connsiteX26-571" fmla="*/ 0 w 950147"/>
              <a:gd name="connsiteY26-572" fmla="*/ 711712 h 711712"/>
              <a:gd name="connsiteX27-573" fmla="*/ 24595 w 950147"/>
              <a:gd name="connsiteY27-574" fmla="*/ 591014 h 711712"/>
              <a:gd name="connsiteX0-575" fmla="*/ 24595 w 910046"/>
              <a:gd name="connsiteY0-576" fmla="*/ 591014 h 711712"/>
              <a:gd name="connsiteX1-577" fmla="*/ 24595 w 910046"/>
              <a:gd name="connsiteY1-578" fmla="*/ 446049 h 711712"/>
              <a:gd name="connsiteX2-579" fmla="*/ 158410 w 910046"/>
              <a:gd name="connsiteY2-580" fmla="*/ 267629 h 711712"/>
              <a:gd name="connsiteX3-581" fmla="*/ 292225 w 910046"/>
              <a:gd name="connsiteY3-582" fmla="*/ 301083 h 711712"/>
              <a:gd name="connsiteX4-583" fmla="*/ 292225 w 910046"/>
              <a:gd name="connsiteY4-584" fmla="*/ 356839 h 711712"/>
              <a:gd name="connsiteX5-585" fmla="*/ 481795 w 910046"/>
              <a:gd name="connsiteY5-586" fmla="*/ 345688 h 711712"/>
              <a:gd name="connsiteX6-587" fmla="*/ 537551 w 910046"/>
              <a:gd name="connsiteY6-588" fmla="*/ 234175 h 711712"/>
              <a:gd name="connsiteX7-589" fmla="*/ 448342 w 910046"/>
              <a:gd name="connsiteY7-590" fmla="*/ 167268 h 711712"/>
              <a:gd name="connsiteX8-591" fmla="*/ 615610 w 910046"/>
              <a:gd name="connsiteY8-592" fmla="*/ 100361 h 711712"/>
              <a:gd name="connsiteX9-593" fmla="*/ 615610 w 910046"/>
              <a:gd name="connsiteY9-594" fmla="*/ 0 h 711712"/>
              <a:gd name="connsiteX10-595" fmla="*/ 660215 w 910046"/>
              <a:gd name="connsiteY10-596" fmla="*/ 22302 h 711712"/>
              <a:gd name="connsiteX11-597" fmla="*/ 771727 w 910046"/>
              <a:gd name="connsiteY11-598" fmla="*/ 133814 h 711712"/>
              <a:gd name="connsiteX12-599" fmla="*/ 771727 w 910046"/>
              <a:gd name="connsiteY12-600" fmla="*/ 133814 h 711712"/>
              <a:gd name="connsiteX13-601" fmla="*/ 895881 w 910046"/>
              <a:gd name="connsiteY13-602" fmla="*/ 164265 h 711712"/>
              <a:gd name="connsiteX14-603" fmla="*/ 910046 w 910046"/>
              <a:gd name="connsiteY14-604" fmla="*/ 277384 h 711712"/>
              <a:gd name="connsiteX15-605" fmla="*/ 826251 w 910046"/>
              <a:gd name="connsiteY15-606" fmla="*/ 364125 h 711712"/>
              <a:gd name="connsiteX16-607" fmla="*/ 849786 w 910046"/>
              <a:gd name="connsiteY16-608" fmla="*/ 455804 h 711712"/>
              <a:gd name="connsiteX17-609" fmla="*/ 715355 w 910046"/>
              <a:gd name="connsiteY17-610" fmla="*/ 494728 h 711712"/>
              <a:gd name="connsiteX18-611" fmla="*/ 649646 w 910046"/>
              <a:gd name="connsiteY18-612" fmla="*/ 578259 h 711712"/>
              <a:gd name="connsiteX19-613" fmla="*/ 581249 w 910046"/>
              <a:gd name="connsiteY19-614" fmla="*/ 619860 h 711712"/>
              <a:gd name="connsiteX20-615" fmla="*/ 436283 w 910046"/>
              <a:gd name="connsiteY20-616" fmla="*/ 631546 h 711712"/>
              <a:gd name="connsiteX21-617" fmla="*/ 292225 w 910046"/>
              <a:gd name="connsiteY21-618" fmla="*/ 568712 h 711712"/>
              <a:gd name="connsiteX22-619" fmla="*/ 292225 w 910046"/>
              <a:gd name="connsiteY22-620" fmla="*/ 568712 h 711712"/>
              <a:gd name="connsiteX23-621" fmla="*/ 269922 w 910046"/>
              <a:gd name="connsiteY23-622" fmla="*/ 646770 h 711712"/>
              <a:gd name="connsiteX24-623" fmla="*/ 124956 w 910046"/>
              <a:gd name="connsiteY24-624" fmla="*/ 635619 h 711712"/>
              <a:gd name="connsiteX25-625" fmla="*/ 69200 w 910046"/>
              <a:gd name="connsiteY25-626" fmla="*/ 646770 h 711712"/>
              <a:gd name="connsiteX26-627" fmla="*/ 0 w 910046"/>
              <a:gd name="connsiteY26-628" fmla="*/ 711712 h 711712"/>
              <a:gd name="connsiteX27-629" fmla="*/ 24595 w 910046"/>
              <a:gd name="connsiteY27-630" fmla="*/ 591014 h 711712"/>
              <a:gd name="connsiteX0-631" fmla="*/ 24595 w 910046"/>
              <a:gd name="connsiteY0-632" fmla="*/ 591014 h 711712"/>
              <a:gd name="connsiteX1-633" fmla="*/ 24595 w 910046"/>
              <a:gd name="connsiteY1-634" fmla="*/ 446049 h 711712"/>
              <a:gd name="connsiteX2-635" fmla="*/ 158410 w 910046"/>
              <a:gd name="connsiteY2-636" fmla="*/ 267629 h 711712"/>
              <a:gd name="connsiteX3-637" fmla="*/ 292225 w 910046"/>
              <a:gd name="connsiteY3-638" fmla="*/ 301083 h 711712"/>
              <a:gd name="connsiteX4-639" fmla="*/ 292225 w 910046"/>
              <a:gd name="connsiteY4-640" fmla="*/ 356839 h 711712"/>
              <a:gd name="connsiteX5-641" fmla="*/ 481795 w 910046"/>
              <a:gd name="connsiteY5-642" fmla="*/ 345688 h 711712"/>
              <a:gd name="connsiteX6-643" fmla="*/ 537551 w 910046"/>
              <a:gd name="connsiteY6-644" fmla="*/ 234175 h 711712"/>
              <a:gd name="connsiteX7-645" fmla="*/ 448342 w 910046"/>
              <a:gd name="connsiteY7-646" fmla="*/ 167268 h 711712"/>
              <a:gd name="connsiteX8-647" fmla="*/ 615610 w 910046"/>
              <a:gd name="connsiteY8-648" fmla="*/ 100361 h 711712"/>
              <a:gd name="connsiteX9-649" fmla="*/ 615610 w 910046"/>
              <a:gd name="connsiteY9-650" fmla="*/ 0 h 711712"/>
              <a:gd name="connsiteX10-651" fmla="*/ 660215 w 910046"/>
              <a:gd name="connsiteY10-652" fmla="*/ 22302 h 711712"/>
              <a:gd name="connsiteX11-653" fmla="*/ 771727 w 910046"/>
              <a:gd name="connsiteY11-654" fmla="*/ 133814 h 711712"/>
              <a:gd name="connsiteX12-655" fmla="*/ 795846 w 910046"/>
              <a:gd name="connsiteY12-656" fmla="*/ 123198 h 711712"/>
              <a:gd name="connsiteX13-657" fmla="*/ 895881 w 910046"/>
              <a:gd name="connsiteY13-658" fmla="*/ 164265 h 711712"/>
              <a:gd name="connsiteX14-659" fmla="*/ 910046 w 910046"/>
              <a:gd name="connsiteY14-660" fmla="*/ 277384 h 711712"/>
              <a:gd name="connsiteX15-661" fmla="*/ 826251 w 910046"/>
              <a:gd name="connsiteY15-662" fmla="*/ 364125 h 711712"/>
              <a:gd name="connsiteX16-663" fmla="*/ 849786 w 910046"/>
              <a:gd name="connsiteY16-664" fmla="*/ 455804 h 711712"/>
              <a:gd name="connsiteX17-665" fmla="*/ 715355 w 910046"/>
              <a:gd name="connsiteY17-666" fmla="*/ 494728 h 711712"/>
              <a:gd name="connsiteX18-667" fmla="*/ 649646 w 910046"/>
              <a:gd name="connsiteY18-668" fmla="*/ 578259 h 711712"/>
              <a:gd name="connsiteX19-669" fmla="*/ 581249 w 910046"/>
              <a:gd name="connsiteY19-670" fmla="*/ 619860 h 711712"/>
              <a:gd name="connsiteX20-671" fmla="*/ 436283 w 910046"/>
              <a:gd name="connsiteY20-672" fmla="*/ 631546 h 711712"/>
              <a:gd name="connsiteX21-673" fmla="*/ 292225 w 910046"/>
              <a:gd name="connsiteY21-674" fmla="*/ 568712 h 711712"/>
              <a:gd name="connsiteX22-675" fmla="*/ 292225 w 910046"/>
              <a:gd name="connsiteY22-676" fmla="*/ 568712 h 711712"/>
              <a:gd name="connsiteX23-677" fmla="*/ 269922 w 910046"/>
              <a:gd name="connsiteY23-678" fmla="*/ 646770 h 711712"/>
              <a:gd name="connsiteX24-679" fmla="*/ 124956 w 910046"/>
              <a:gd name="connsiteY24-680" fmla="*/ 635619 h 711712"/>
              <a:gd name="connsiteX25-681" fmla="*/ 69200 w 910046"/>
              <a:gd name="connsiteY25-682" fmla="*/ 646770 h 711712"/>
              <a:gd name="connsiteX26-683" fmla="*/ 0 w 910046"/>
              <a:gd name="connsiteY26-684" fmla="*/ 711712 h 711712"/>
              <a:gd name="connsiteX27-685" fmla="*/ 24595 w 910046"/>
              <a:gd name="connsiteY27-686" fmla="*/ 591014 h 711712"/>
              <a:gd name="connsiteX0-687" fmla="*/ 24595 w 910046"/>
              <a:gd name="connsiteY0-688" fmla="*/ 591014 h 711712"/>
              <a:gd name="connsiteX1-689" fmla="*/ 24595 w 910046"/>
              <a:gd name="connsiteY1-690" fmla="*/ 446049 h 711712"/>
              <a:gd name="connsiteX2-691" fmla="*/ 158410 w 910046"/>
              <a:gd name="connsiteY2-692" fmla="*/ 267629 h 711712"/>
              <a:gd name="connsiteX3-693" fmla="*/ 292225 w 910046"/>
              <a:gd name="connsiteY3-694" fmla="*/ 301083 h 711712"/>
              <a:gd name="connsiteX4-695" fmla="*/ 292225 w 910046"/>
              <a:gd name="connsiteY4-696" fmla="*/ 356839 h 711712"/>
              <a:gd name="connsiteX5-697" fmla="*/ 481795 w 910046"/>
              <a:gd name="connsiteY5-698" fmla="*/ 345688 h 711712"/>
              <a:gd name="connsiteX6-699" fmla="*/ 537551 w 910046"/>
              <a:gd name="connsiteY6-700" fmla="*/ 234175 h 711712"/>
              <a:gd name="connsiteX7-701" fmla="*/ 448342 w 910046"/>
              <a:gd name="connsiteY7-702" fmla="*/ 167268 h 711712"/>
              <a:gd name="connsiteX8-703" fmla="*/ 615610 w 910046"/>
              <a:gd name="connsiteY8-704" fmla="*/ 100361 h 711712"/>
              <a:gd name="connsiteX9-705" fmla="*/ 615610 w 910046"/>
              <a:gd name="connsiteY9-706" fmla="*/ 0 h 711712"/>
              <a:gd name="connsiteX10-707" fmla="*/ 660215 w 910046"/>
              <a:gd name="connsiteY10-708" fmla="*/ 22302 h 711712"/>
              <a:gd name="connsiteX11-709" fmla="*/ 795846 w 910046"/>
              <a:gd name="connsiteY11-710" fmla="*/ 123198 h 711712"/>
              <a:gd name="connsiteX12-711" fmla="*/ 895881 w 910046"/>
              <a:gd name="connsiteY12-712" fmla="*/ 164265 h 711712"/>
              <a:gd name="connsiteX13-713" fmla="*/ 910046 w 910046"/>
              <a:gd name="connsiteY13-714" fmla="*/ 277384 h 711712"/>
              <a:gd name="connsiteX14-715" fmla="*/ 826251 w 910046"/>
              <a:gd name="connsiteY14-716" fmla="*/ 364125 h 711712"/>
              <a:gd name="connsiteX15-717" fmla="*/ 849786 w 910046"/>
              <a:gd name="connsiteY15-718" fmla="*/ 455804 h 711712"/>
              <a:gd name="connsiteX16-719" fmla="*/ 715355 w 910046"/>
              <a:gd name="connsiteY16-720" fmla="*/ 494728 h 711712"/>
              <a:gd name="connsiteX17-721" fmla="*/ 649646 w 910046"/>
              <a:gd name="connsiteY17-722" fmla="*/ 578259 h 711712"/>
              <a:gd name="connsiteX18-723" fmla="*/ 581249 w 910046"/>
              <a:gd name="connsiteY18-724" fmla="*/ 619860 h 711712"/>
              <a:gd name="connsiteX19-725" fmla="*/ 436283 w 910046"/>
              <a:gd name="connsiteY19-726" fmla="*/ 631546 h 711712"/>
              <a:gd name="connsiteX20-727" fmla="*/ 292225 w 910046"/>
              <a:gd name="connsiteY20-728" fmla="*/ 568712 h 711712"/>
              <a:gd name="connsiteX21-729" fmla="*/ 292225 w 910046"/>
              <a:gd name="connsiteY21-730" fmla="*/ 568712 h 711712"/>
              <a:gd name="connsiteX22-731" fmla="*/ 269922 w 910046"/>
              <a:gd name="connsiteY22-732" fmla="*/ 646770 h 711712"/>
              <a:gd name="connsiteX23-733" fmla="*/ 124956 w 910046"/>
              <a:gd name="connsiteY23-734" fmla="*/ 635619 h 711712"/>
              <a:gd name="connsiteX24-735" fmla="*/ 69200 w 910046"/>
              <a:gd name="connsiteY24-736" fmla="*/ 646770 h 711712"/>
              <a:gd name="connsiteX25-737" fmla="*/ 0 w 910046"/>
              <a:gd name="connsiteY25-738" fmla="*/ 711712 h 711712"/>
              <a:gd name="connsiteX26-739" fmla="*/ 24595 w 910046"/>
              <a:gd name="connsiteY26-740" fmla="*/ 591014 h 711712"/>
              <a:gd name="connsiteX0-741" fmla="*/ 24595 w 910046"/>
              <a:gd name="connsiteY0-742" fmla="*/ 591014 h 711712"/>
              <a:gd name="connsiteX1-743" fmla="*/ 24595 w 910046"/>
              <a:gd name="connsiteY1-744" fmla="*/ 446049 h 711712"/>
              <a:gd name="connsiteX2-745" fmla="*/ 158410 w 910046"/>
              <a:gd name="connsiteY2-746" fmla="*/ 267629 h 711712"/>
              <a:gd name="connsiteX3-747" fmla="*/ 292225 w 910046"/>
              <a:gd name="connsiteY3-748" fmla="*/ 301083 h 711712"/>
              <a:gd name="connsiteX4-749" fmla="*/ 292225 w 910046"/>
              <a:gd name="connsiteY4-750" fmla="*/ 356839 h 711712"/>
              <a:gd name="connsiteX5-751" fmla="*/ 481795 w 910046"/>
              <a:gd name="connsiteY5-752" fmla="*/ 345688 h 711712"/>
              <a:gd name="connsiteX6-753" fmla="*/ 537551 w 910046"/>
              <a:gd name="connsiteY6-754" fmla="*/ 234175 h 711712"/>
              <a:gd name="connsiteX7-755" fmla="*/ 448342 w 910046"/>
              <a:gd name="connsiteY7-756" fmla="*/ 167268 h 711712"/>
              <a:gd name="connsiteX8-757" fmla="*/ 615610 w 910046"/>
              <a:gd name="connsiteY8-758" fmla="*/ 100361 h 711712"/>
              <a:gd name="connsiteX9-759" fmla="*/ 615610 w 910046"/>
              <a:gd name="connsiteY9-760" fmla="*/ 0 h 711712"/>
              <a:gd name="connsiteX10-761" fmla="*/ 681318 w 910046"/>
              <a:gd name="connsiteY10-762" fmla="*/ 1071 h 711712"/>
              <a:gd name="connsiteX11-763" fmla="*/ 795846 w 910046"/>
              <a:gd name="connsiteY11-764" fmla="*/ 123198 h 711712"/>
              <a:gd name="connsiteX12-765" fmla="*/ 895881 w 910046"/>
              <a:gd name="connsiteY12-766" fmla="*/ 164265 h 711712"/>
              <a:gd name="connsiteX13-767" fmla="*/ 910046 w 910046"/>
              <a:gd name="connsiteY13-768" fmla="*/ 277384 h 711712"/>
              <a:gd name="connsiteX14-769" fmla="*/ 826251 w 910046"/>
              <a:gd name="connsiteY14-770" fmla="*/ 364125 h 711712"/>
              <a:gd name="connsiteX15-771" fmla="*/ 849786 w 910046"/>
              <a:gd name="connsiteY15-772" fmla="*/ 455804 h 711712"/>
              <a:gd name="connsiteX16-773" fmla="*/ 715355 w 910046"/>
              <a:gd name="connsiteY16-774" fmla="*/ 494728 h 711712"/>
              <a:gd name="connsiteX17-775" fmla="*/ 649646 w 910046"/>
              <a:gd name="connsiteY17-776" fmla="*/ 578259 h 711712"/>
              <a:gd name="connsiteX18-777" fmla="*/ 581249 w 910046"/>
              <a:gd name="connsiteY18-778" fmla="*/ 619860 h 711712"/>
              <a:gd name="connsiteX19-779" fmla="*/ 436283 w 910046"/>
              <a:gd name="connsiteY19-780" fmla="*/ 631546 h 711712"/>
              <a:gd name="connsiteX20-781" fmla="*/ 292225 w 910046"/>
              <a:gd name="connsiteY20-782" fmla="*/ 568712 h 711712"/>
              <a:gd name="connsiteX21-783" fmla="*/ 292225 w 910046"/>
              <a:gd name="connsiteY21-784" fmla="*/ 568712 h 711712"/>
              <a:gd name="connsiteX22-785" fmla="*/ 269922 w 910046"/>
              <a:gd name="connsiteY22-786" fmla="*/ 646770 h 711712"/>
              <a:gd name="connsiteX23-787" fmla="*/ 124956 w 910046"/>
              <a:gd name="connsiteY23-788" fmla="*/ 635619 h 711712"/>
              <a:gd name="connsiteX24-789" fmla="*/ 69200 w 910046"/>
              <a:gd name="connsiteY24-790" fmla="*/ 646770 h 711712"/>
              <a:gd name="connsiteX25-791" fmla="*/ 0 w 910046"/>
              <a:gd name="connsiteY25-792" fmla="*/ 711712 h 711712"/>
              <a:gd name="connsiteX26-793" fmla="*/ 24595 w 910046"/>
              <a:gd name="connsiteY26-794" fmla="*/ 591014 h 711712"/>
              <a:gd name="connsiteX0-795" fmla="*/ 24595 w 910046"/>
              <a:gd name="connsiteY0-796" fmla="*/ 594553 h 715251"/>
              <a:gd name="connsiteX1-797" fmla="*/ 24595 w 910046"/>
              <a:gd name="connsiteY1-798" fmla="*/ 449588 h 715251"/>
              <a:gd name="connsiteX2-799" fmla="*/ 158410 w 910046"/>
              <a:gd name="connsiteY2-800" fmla="*/ 271168 h 715251"/>
              <a:gd name="connsiteX3-801" fmla="*/ 292225 w 910046"/>
              <a:gd name="connsiteY3-802" fmla="*/ 304622 h 715251"/>
              <a:gd name="connsiteX4-803" fmla="*/ 292225 w 910046"/>
              <a:gd name="connsiteY4-804" fmla="*/ 360378 h 715251"/>
              <a:gd name="connsiteX5-805" fmla="*/ 481795 w 910046"/>
              <a:gd name="connsiteY5-806" fmla="*/ 349227 h 715251"/>
              <a:gd name="connsiteX6-807" fmla="*/ 537551 w 910046"/>
              <a:gd name="connsiteY6-808" fmla="*/ 237714 h 715251"/>
              <a:gd name="connsiteX7-809" fmla="*/ 448342 w 910046"/>
              <a:gd name="connsiteY7-810" fmla="*/ 170807 h 715251"/>
              <a:gd name="connsiteX8-811" fmla="*/ 615610 w 910046"/>
              <a:gd name="connsiteY8-812" fmla="*/ 103900 h 715251"/>
              <a:gd name="connsiteX9-813" fmla="*/ 624654 w 910046"/>
              <a:gd name="connsiteY9-814" fmla="*/ 0 h 715251"/>
              <a:gd name="connsiteX10-815" fmla="*/ 681318 w 910046"/>
              <a:gd name="connsiteY10-816" fmla="*/ 4610 h 715251"/>
              <a:gd name="connsiteX11-817" fmla="*/ 795846 w 910046"/>
              <a:gd name="connsiteY11-818" fmla="*/ 126737 h 715251"/>
              <a:gd name="connsiteX12-819" fmla="*/ 895881 w 910046"/>
              <a:gd name="connsiteY12-820" fmla="*/ 167804 h 715251"/>
              <a:gd name="connsiteX13-821" fmla="*/ 910046 w 910046"/>
              <a:gd name="connsiteY13-822" fmla="*/ 280923 h 715251"/>
              <a:gd name="connsiteX14-823" fmla="*/ 826251 w 910046"/>
              <a:gd name="connsiteY14-824" fmla="*/ 367664 h 715251"/>
              <a:gd name="connsiteX15-825" fmla="*/ 849786 w 910046"/>
              <a:gd name="connsiteY15-826" fmla="*/ 459343 h 715251"/>
              <a:gd name="connsiteX16-827" fmla="*/ 715355 w 910046"/>
              <a:gd name="connsiteY16-828" fmla="*/ 498267 h 715251"/>
              <a:gd name="connsiteX17-829" fmla="*/ 649646 w 910046"/>
              <a:gd name="connsiteY17-830" fmla="*/ 581798 h 715251"/>
              <a:gd name="connsiteX18-831" fmla="*/ 581249 w 910046"/>
              <a:gd name="connsiteY18-832" fmla="*/ 623399 h 715251"/>
              <a:gd name="connsiteX19-833" fmla="*/ 436283 w 910046"/>
              <a:gd name="connsiteY19-834" fmla="*/ 635085 h 715251"/>
              <a:gd name="connsiteX20-835" fmla="*/ 292225 w 910046"/>
              <a:gd name="connsiteY20-836" fmla="*/ 572251 h 715251"/>
              <a:gd name="connsiteX21-837" fmla="*/ 292225 w 910046"/>
              <a:gd name="connsiteY21-838" fmla="*/ 572251 h 715251"/>
              <a:gd name="connsiteX22-839" fmla="*/ 269922 w 910046"/>
              <a:gd name="connsiteY22-840" fmla="*/ 650309 h 715251"/>
              <a:gd name="connsiteX23-841" fmla="*/ 124956 w 910046"/>
              <a:gd name="connsiteY23-842" fmla="*/ 639158 h 715251"/>
              <a:gd name="connsiteX24-843" fmla="*/ 69200 w 910046"/>
              <a:gd name="connsiteY24-844" fmla="*/ 650309 h 715251"/>
              <a:gd name="connsiteX25-845" fmla="*/ 0 w 910046"/>
              <a:gd name="connsiteY25-846" fmla="*/ 715251 h 715251"/>
              <a:gd name="connsiteX26-847" fmla="*/ 24595 w 910046"/>
              <a:gd name="connsiteY26-848" fmla="*/ 594553 h 715251"/>
              <a:gd name="connsiteX0-849" fmla="*/ 24595 w 910046"/>
              <a:gd name="connsiteY0-850" fmla="*/ 594553 h 715251"/>
              <a:gd name="connsiteX1-851" fmla="*/ 24595 w 910046"/>
              <a:gd name="connsiteY1-852" fmla="*/ 449588 h 715251"/>
              <a:gd name="connsiteX2-853" fmla="*/ 158410 w 910046"/>
              <a:gd name="connsiteY2-854" fmla="*/ 271168 h 715251"/>
              <a:gd name="connsiteX3-855" fmla="*/ 292225 w 910046"/>
              <a:gd name="connsiteY3-856" fmla="*/ 304622 h 715251"/>
              <a:gd name="connsiteX4-857" fmla="*/ 292225 w 910046"/>
              <a:gd name="connsiteY4-858" fmla="*/ 360378 h 715251"/>
              <a:gd name="connsiteX5-859" fmla="*/ 481795 w 910046"/>
              <a:gd name="connsiteY5-860" fmla="*/ 349227 h 715251"/>
              <a:gd name="connsiteX6-861" fmla="*/ 537551 w 910046"/>
              <a:gd name="connsiteY6-862" fmla="*/ 237714 h 715251"/>
              <a:gd name="connsiteX7-863" fmla="*/ 448342 w 910046"/>
              <a:gd name="connsiteY7-864" fmla="*/ 170807 h 715251"/>
              <a:gd name="connsiteX8-865" fmla="*/ 600537 w 910046"/>
              <a:gd name="connsiteY8-866" fmla="*/ 103900 h 715251"/>
              <a:gd name="connsiteX9-867" fmla="*/ 624654 w 910046"/>
              <a:gd name="connsiteY9-868" fmla="*/ 0 h 715251"/>
              <a:gd name="connsiteX10-869" fmla="*/ 681318 w 910046"/>
              <a:gd name="connsiteY10-870" fmla="*/ 4610 h 715251"/>
              <a:gd name="connsiteX11-871" fmla="*/ 795846 w 910046"/>
              <a:gd name="connsiteY11-872" fmla="*/ 126737 h 715251"/>
              <a:gd name="connsiteX12-873" fmla="*/ 895881 w 910046"/>
              <a:gd name="connsiteY12-874" fmla="*/ 167804 h 715251"/>
              <a:gd name="connsiteX13-875" fmla="*/ 910046 w 910046"/>
              <a:gd name="connsiteY13-876" fmla="*/ 280923 h 715251"/>
              <a:gd name="connsiteX14-877" fmla="*/ 826251 w 910046"/>
              <a:gd name="connsiteY14-878" fmla="*/ 367664 h 715251"/>
              <a:gd name="connsiteX15-879" fmla="*/ 849786 w 910046"/>
              <a:gd name="connsiteY15-880" fmla="*/ 459343 h 715251"/>
              <a:gd name="connsiteX16-881" fmla="*/ 715355 w 910046"/>
              <a:gd name="connsiteY16-882" fmla="*/ 498267 h 715251"/>
              <a:gd name="connsiteX17-883" fmla="*/ 649646 w 910046"/>
              <a:gd name="connsiteY17-884" fmla="*/ 581798 h 715251"/>
              <a:gd name="connsiteX18-885" fmla="*/ 581249 w 910046"/>
              <a:gd name="connsiteY18-886" fmla="*/ 623399 h 715251"/>
              <a:gd name="connsiteX19-887" fmla="*/ 436283 w 910046"/>
              <a:gd name="connsiteY19-888" fmla="*/ 635085 h 715251"/>
              <a:gd name="connsiteX20-889" fmla="*/ 292225 w 910046"/>
              <a:gd name="connsiteY20-890" fmla="*/ 572251 h 715251"/>
              <a:gd name="connsiteX21-891" fmla="*/ 292225 w 910046"/>
              <a:gd name="connsiteY21-892" fmla="*/ 572251 h 715251"/>
              <a:gd name="connsiteX22-893" fmla="*/ 269922 w 910046"/>
              <a:gd name="connsiteY22-894" fmla="*/ 650309 h 715251"/>
              <a:gd name="connsiteX23-895" fmla="*/ 124956 w 910046"/>
              <a:gd name="connsiteY23-896" fmla="*/ 639158 h 715251"/>
              <a:gd name="connsiteX24-897" fmla="*/ 69200 w 910046"/>
              <a:gd name="connsiteY24-898" fmla="*/ 650309 h 715251"/>
              <a:gd name="connsiteX25-899" fmla="*/ 0 w 910046"/>
              <a:gd name="connsiteY25-900" fmla="*/ 715251 h 715251"/>
              <a:gd name="connsiteX26-901" fmla="*/ 24595 w 910046"/>
              <a:gd name="connsiteY26-902" fmla="*/ 594553 h 715251"/>
              <a:gd name="connsiteX0-903" fmla="*/ 24595 w 910046"/>
              <a:gd name="connsiteY0-904" fmla="*/ 594553 h 715251"/>
              <a:gd name="connsiteX1-905" fmla="*/ 24595 w 910046"/>
              <a:gd name="connsiteY1-906" fmla="*/ 449588 h 715251"/>
              <a:gd name="connsiteX2-907" fmla="*/ 158410 w 910046"/>
              <a:gd name="connsiteY2-908" fmla="*/ 271168 h 715251"/>
              <a:gd name="connsiteX3-909" fmla="*/ 292225 w 910046"/>
              <a:gd name="connsiteY3-910" fmla="*/ 304622 h 715251"/>
              <a:gd name="connsiteX4-911" fmla="*/ 292225 w 910046"/>
              <a:gd name="connsiteY4-912" fmla="*/ 360378 h 715251"/>
              <a:gd name="connsiteX5-913" fmla="*/ 481795 w 910046"/>
              <a:gd name="connsiteY5-914" fmla="*/ 349227 h 715251"/>
              <a:gd name="connsiteX6-915" fmla="*/ 537551 w 910046"/>
              <a:gd name="connsiteY6-916" fmla="*/ 237714 h 715251"/>
              <a:gd name="connsiteX7-917" fmla="*/ 421210 w 910046"/>
              <a:gd name="connsiteY7-918" fmla="*/ 174346 h 715251"/>
              <a:gd name="connsiteX8-919" fmla="*/ 600537 w 910046"/>
              <a:gd name="connsiteY8-920" fmla="*/ 103900 h 715251"/>
              <a:gd name="connsiteX9-921" fmla="*/ 624654 w 910046"/>
              <a:gd name="connsiteY9-922" fmla="*/ 0 h 715251"/>
              <a:gd name="connsiteX10-923" fmla="*/ 681318 w 910046"/>
              <a:gd name="connsiteY10-924" fmla="*/ 4610 h 715251"/>
              <a:gd name="connsiteX11-925" fmla="*/ 795846 w 910046"/>
              <a:gd name="connsiteY11-926" fmla="*/ 126737 h 715251"/>
              <a:gd name="connsiteX12-927" fmla="*/ 895881 w 910046"/>
              <a:gd name="connsiteY12-928" fmla="*/ 167804 h 715251"/>
              <a:gd name="connsiteX13-929" fmla="*/ 910046 w 910046"/>
              <a:gd name="connsiteY13-930" fmla="*/ 280923 h 715251"/>
              <a:gd name="connsiteX14-931" fmla="*/ 826251 w 910046"/>
              <a:gd name="connsiteY14-932" fmla="*/ 367664 h 715251"/>
              <a:gd name="connsiteX15-933" fmla="*/ 849786 w 910046"/>
              <a:gd name="connsiteY15-934" fmla="*/ 459343 h 715251"/>
              <a:gd name="connsiteX16-935" fmla="*/ 715355 w 910046"/>
              <a:gd name="connsiteY16-936" fmla="*/ 498267 h 715251"/>
              <a:gd name="connsiteX17-937" fmla="*/ 649646 w 910046"/>
              <a:gd name="connsiteY17-938" fmla="*/ 581798 h 715251"/>
              <a:gd name="connsiteX18-939" fmla="*/ 581249 w 910046"/>
              <a:gd name="connsiteY18-940" fmla="*/ 623399 h 715251"/>
              <a:gd name="connsiteX19-941" fmla="*/ 436283 w 910046"/>
              <a:gd name="connsiteY19-942" fmla="*/ 635085 h 715251"/>
              <a:gd name="connsiteX20-943" fmla="*/ 292225 w 910046"/>
              <a:gd name="connsiteY20-944" fmla="*/ 572251 h 715251"/>
              <a:gd name="connsiteX21-945" fmla="*/ 292225 w 910046"/>
              <a:gd name="connsiteY21-946" fmla="*/ 572251 h 715251"/>
              <a:gd name="connsiteX22-947" fmla="*/ 269922 w 910046"/>
              <a:gd name="connsiteY22-948" fmla="*/ 650309 h 715251"/>
              <a:gd name="connsiteX23-949" fmla="*/ 124956 w 910046"/>
              <a:gd name="connsiteY23-950" fmla="*/ 639158 h 715251"/>
              <a:gd name="connsiteX24-951" fmla="*/ 69200 w 910046"/>
              <a:gd name="connsiteY24-952" fmla="*/ 650309 h 715251"/>
              <a:gd name="connsiteX25-953" fmla="*/ 0 w 910046"/>
              <a:gd name="connsiteY25-954" fmla="*/ 715251 h 715251"/>
              <a:gd name="connsiteX26-955" fmla="*/ 24595 w 910046"/>
              <a:gd name="connsiteY26-956" fmla="*/ 594553 h 715251"/>
              <a:gd name="connsiteX0-957" fmla="*/ 24595 w 910046"/>
              <a:gd name="connsiteY0-958" fmla="*/ 594553 h 715251"/>
              <a:gd name="connsiteX1-959" fmla="*/ 24595 w 910046"/>
              <a:gd name="connsiteY1-960" fmla="*/ 449588 h 715251"/>
              <a:gd name="connsiteX2-961" fmla="*/ 158410 w 910046"/>
              <a:gd name="connsiteY2-962" fmla="*/ 271168 h 715251"/>
              <a:gd name="connsiteX3-963" fmla="*/ 292225 w 910046"/>
              <a:gd name="connsiteY3-964" fmla="*/ 304622 h 715251"/>
              <a:gd name="connsiteX4-965" fmla="*/ 292225 w 910046"/>
              <a:gd name="connsiteY4-966" fmla="*/ 360378 h 715251"/>
              <a:gd name="connsiteX5-967" fmla="*/ 481795 w 910046"/>
              <a:gd name="connsiteY5-968" fmla="*/ 349227 h 715251"/>
              <a:gd name="connsiteX6-969" fmla="*/ 573729 w 910046"/>
              <a:gd name="connsiteY6-970" fmla="*/ 329716 h 715251"/>
              <a:gd name="connsiteX7-971" fmla="*/ 421210 w 910046"/>
              <a:gd name="connsiteY7-972" fmla="*/ 174346 h 715251"/>
              <a:gd name="connsiteX8-973" fmla="*/ 600537 w 910046"/>
              <a:gd name="connsiteY8-974" fmla="*/ 103900 h 715251"/>
              <a:gd name="connsiteX9-975" fmla="*/ 624654 w 910046"/>
              <a:gd name="connsiteY9-976" fmla="*/ 0 h 715251"/>
              <a:gd name="connsiteX10-977" fmla="*/ 681318 w 910046"/>
              <a:gd name="connsiteY10-978" fmla="*/ 4610 h 715251"/>
              <a:gd name="connsiteX11-979" fmla="*/ 795846 w 910046"/>
              <a:gd name="connsiteY11-980" fmla="*/ 126737 h 715251"/>
              <a:gd name="connsiteX12-981" fmla="*/ 895881 w 910046"/>
              <a:gd name="connsiteY12-982" fmla="*/ 167804 h 715251"/>
              <a:gd name="connsiteX13-983" fmla="*/ 910046 w 910046"/>
              <a:gd name="connsiteY13-984" fmla="*/ 280923 h 715251"/>
              <a:gd name="connsiteX14-985" fmla="*/ 826251 w 910046"/>
              <a:gd name="connsiteY14-986" fmla="*/ 367664 h 715251"/>
              <a:gd name="connsiteX15-987" fmla="*/ 849786 w 910046"/>
              <a:gd name="connsiteY15-988" fmla="*/ 459343 h 715251"/>
              <a:gd name="connsiteX16-989" fmla="*/ 715355 w 910046"/>
              <a:gd name="connsiteY16-990" fmla="*/ 498267 h 715251"/>
              <a:gd name="connsiteX17-991" fmla="*/ 649646 w 910046"/>
              <a:gd name="connsiteY17-992" fmla="*/ 581798 h 715251"/>
              <a:gd name="connsiteX18-993" fmla="*/ 581249 w 910046"/>
              <a:gd name="connsiteY18-994" fmla="*/ 623399 h 715251"/>
              <a:gd name="connsiteX19-995" fmla="*/ 436283 w 910046"/>
              <a:gd name="connsiteY19-996" fmla="*/ 635085 h 715251"/>
              <a:gd name="connsiteX20-997" fmla="*/ 292225 w 910046"/>
              <a:gd name="connsiteY20-998" fmla="*/ 572251 h 715251"/>
              <a:gd name="connsiteX21-999" fmla="*/ 292225 w 910046"/>
              <a:gd name="connsiteY21-1000" fmla="*/ 572251 h 715251"/>
              <a:gd name="connsiteX22-1001" fmla="*/ 269922 w 910046"/>
              <a:gd name="connsiteY22-1002" fmla="*/ 650309 h 715251"/>
              <a:gd name="connsiteX23-1003" fmla="*/ 124956 w 910046"/>
              <a:gd name="connsiteY23-1004" fmla="*/ 639158 h 715251"/>
              <a:gd name="connsiteX24-1005" fmla="*/ 69200 w 910046"/>
              <a:gd name="connsiteY24-1006" fmla="*/ 650309 h 715251"/>
              <a:gd name="connsiteX25-1007" fmla="*/ 0 w 910046"/>
              <a:gd name="connsiteY25-1008" fmla="*/ 715251 h 715251"/>
              <a:gd name="connsiteX26-1009" fmla="*/ 24595 w 910046"/>
              <a:gd name="connsiteY26-1010" fmla="*/ 594553 h 715251"/>
              <a:gd name="connsiteX0-1011" fmla="*/ 24595 w 910046"/>
              <a:gd name="connsiteY0-1012" fmla="*/ 594553 h 715251"/>
              <a:gd name="connsiteX1-1013" fmla="*/ 24595 w 910046"/>
              <a:gd name="connsiteY1-1014" fmla="*/ 449588 h 715251"/>
              <a:gd name="connsiteX2-1015" fmla="*/ 158410 w 910046"/>
              <a:gd name="connsiteY2-1016" fmla="*/ 271168 h 715251"/>
              <a:gd name="connsiteX3-1017" fmla="*/ 292225 w 910046"/>
              <a:gd name="connsiteY3-1018" fmla="*/ 304622 h 715251"/>
              <a:gd name="connsiteX4-1019" fmla="*/ 292225 w 910046"/>
              <a:gd name="connsiteY4-1020" fmla="*/ 360378 h 715251"/>
              <a:gd name="connsiteX5-1021" fmla="*/ 481795 w 910046"/>
              <a:gd name="connsiteY5-1022" fmla="*/ 349227 h 715251"/>
              <a:gd name="connsiteX6-1023" fmla="*/ 618950 w 910046"/>
              <a:gd name="connsiteY6-1024" fmla="*/ 312023 h 715251"/>
              <a:gd name="connsiteX7-1025" fmla="*/ 421210 w 910046"/>
              <a:gd name="connsiteY7-1026" fmla="*/ 174346 h 715251"/>
              <a:gd name="connsiteX8-1027" fmla="*/ 600537 w 910046"/>
              <a:gd name="connsiteY8-1028" fmla="*/ 103900 h 715251"/>
              <a:gd name="connsiteX9-1029" fmla="*/ 624654 w 910046"/>
              <a:gd name="connsiteY9-1030" fmla="*/ 0 h 715251"/>
              <a:gd name="connsiteX10-1031" fmla="*/ 681318 w 910046"/>
              <a:gd name="connsiteY10-1032" fmla="*/ 4610 h 715251"/>
              <a:gd name="connsiteX11-1033" fmla="*/ 795846 w 910046"/>
              <a:gd name="connsiteY11-1034" fmla="*/ 126737 h 715251"/>
              <a:gd name="connsiteX12-1035" fmla="*/ 895881 w 910046"/>
              <a:gd name="connsiteY12-1036" fmla="*/ 167804 h 715251"/>
              <a:gd name="connsiteX13-1037" fmla="*/ 910046 w 910046"/>
              <a:gd name="connsiteY13-1038" fmla="*/ 280923 h 715251"/>
              <a:gd name="connsiteX14-1039" fmla="*/ 826251 w 910046"/>
              <a:gd name="connsiteY14-1040" fmla="*/ 367664 h 715251"/>
              <a:gd name="connsiteX15-1041" fmla="*/ 849786 w 910046"/>
              <a:gd name="connsiteY15-1042" fmla="*/ 459343 h 715251"/>
              <a:gd name="connsiteX16-1043" fmla="*/ 715355 w 910046"/>
              <a:gd name="connsiteY16-1044" fmla="*/ 498267 h 715251"/>
              <a:gd name="connsiteX17-1045" fmla="*/ 649646 w 910046"/>
              <a:gd name="connsiteY17-1046" fmla="*/ 581798 h 715251"/>
              <a:gd name="connsiteX18-1047" fmla="*/ 581249 w 910046"/>
              <a:gd name="connsiteY18-1048" fmla="*/ 623399 h 715251"/>
              <a:gd name="connsiteX19-1049" fmla="*/ 436283 w 910046"/>
              <a:gd name="connsiteY19-1050" fmla="*/ 635085 h 715251"/>
              <a:gd name="connsiteX20-1051" fmla="*/ 292225 w 910046"/>
              <a:gd name="connsiteY20-1052" fmla="*/ 572251 h 715251"/>
              <a:gd name="connsiteX21-1053" fmla="*/ 292225 w 910046"/>
              <a:gd name="connsiteY21-1054" fmla="*/ 572251 h 715251"/>
              <a:gd name="connsiteX22-1055" fmla="*/ 269922 w 910046"/>
              <a:gd name="connsiteY22-1056" fmla="*/ 650309 h 715251"/>
              <a:gd name="connsiteX23-1057" fmla="*/ 124956 w 910046"/>
              <a:gd name="connsiteY23-1058" fmla="*/ 639158 h 715251"/>
              <a:gd name="connsiteX24-1059" fmla="*/ 69200 w 910046"/>
              <a:gd name="connsiteY24-1060" fmla="*/ 650309 h 715251"/>
              <a:gd name="connsiteX25-1061" fmla="*/ 0 w 910046"/>
              <a:gd name="connsiteY25-1062" fmla="*/ 715251 h 715251"/>
              <a:gd name="connsiteX26-1063" fmla="*/ 24595 w 910046"/>
              <a:gd name="connsiteY26-1064" fmla="*/ 594553 h 715251"/>
              <a:gd name="connsiteX0-1065" fmla="*/ 24595 w 910046"/>
              <a:gd name="connsiteY0-1066" fmla="*/ 594553 h 715251"/>
              <a:gd name="connsiteX1-1067" fmla="*/ 24595 w 910046"/>
              <a:gd name="connsiteY1-1068" fmla="*/ 449588 h 715251"/>
              <a:gd name="connsiteX2-1069" fmla="*/ 158410 w 910046"/>
              <a:gd name="connsiteY2-1070" fmla="*/ 271168 h 715251"/>
              <a:gd name="connsiteX3-1071" fmla="*/ 292225 w 910046"/>
              <a:gd name="connsiteY3-1072" fmla="*/ 304622 h 715251"/>
              <a:gd name="connsiteX4-1073" fmla="*/ 292225 w 910046"/>
              <a:gd name="connsiteY4-1074" fmla="*/ 360378 h 715251"/>
              <a:gd name="connsiteX5-1075" fmla="*/ 481795 w 910046"/>
              <a:gd name="connsiteY5-1076" fmla="*/ 349227 h 715251"/>
              <a:gd name="connsiteX6-1077" fmla="*/ 516449 w 910046"/>
              <a:gd name="connsiteY6-1078" fmla="*/ 269561 h 715251"/>
              <a:gd name="connsiteX7-1079" fmla="*/ 421210 w 910046"/>
              <a:gd name="connsiteY7-1080" fmla="*/ 174346 h 715251"/>
              <a:gd name="connsiteX8-1081" fmla="*/ 600537 w 910046"/>
              <a:gd name="connsiteY8-1082" fmla="*/ 103900 h 715251"/>
              <a:gd name="connsiteX9-1083" fmla="*/ 624654 w 910046"/>
              <a:gd name="connsiteY9-1084" fmla="*/ 0 h 715251"/>
              <a:gd name="connsiteX10-1085" fmla="*/ 681318 w 910046"/>
              <a:gd name="connsiteY10-1086" fmla="*/ 4610 h 715251"/>
              <a:gd name="connsiteX11-1087" fmla="*/ 795846 w 910046"/>
              <a:gd name="connsiteY11-1088" fmla="*/ 126737 h 715251"/>
              <a:gd name="connsiteX12-1089" fmla="*/ 895881 w 910046"/>
              <a:gd name="connsiteY12-1090" fmla="*/ 167804 h 715251"/>
              <a:gd name="connsiteX13-1091" fmla="*/ 910046 w 910046"/>
              <a:gd name="connsiteY13-1092" fmla="*/ 280923 h 715251"/>
              <a:gd name="connsiteX14-1093" fmla="*/ 826251 w 910046"/>
              <a:gd name="connsiteY14-1094" fmla="*/ 367664 h 715251"/>
              <a:gd name="connsiteX15-1095" fmla="*/ 849786 w 910046"/>
              <a:gd name="connsiteY15-1096" fmla="*/ 459343 h 715251"/>
              <a:gd name="connsiteX16-1097" fmla="*/ 715355 w 910046"/>
              <a:gd name="connsiteY16-1098" fmla="*/ 498267 h 715251"/>
              <a:gd name="connsiteX17-1099" fmla="*/ 649646 w 910046"/>
              <a:gd name="connsiteY17-1100" fmla="*/ 581798 h 715251"/>
              <a:gd name="connsiteX18-1101" fmla="*/ 581249 w 910046"/>
              <a:gd name="connsiteY18-1102" fmla="*/ 623399 h 715251"/>
              <a:gd name="connsiteX19-1103" fmla="*/ 436283 w 910046"/>
              <a:gd name="connsiteY19-1104" fmla="*/ 635085 h 715251"/>
              <a:gd name="connsiteX20-1105" fmla="*/ 292225 w 910046"/>
              <a:gd name="connsiteY20-1106" fmla="*/ 572251 h 715251"/>
              <a:gd name="connsiteX21-1107" fmla="*/ 292225 w 910046"/>
              <a:gd name="connsiteY21-1108" fmla="*/ 572251 h 715251"/>
              <a:gd name="connsiteX22-1109" fmla="*/ 269922 w 910046"/>
              <a:gd name="connsiteY22-1110" fmla="*/ 650309 h 715251"/>
              <a:gd name="connsiteX23-1111" fmla="*/ 124956 w 910046"/>
              <a:gd name="connsiteY23-1112" fmla="*/ 639158 h 715251"/>
              <a:gd name="connsiteX24-1113" fmla="*/ 69200 w 910046"/>
              <a:gd name="connsiteY24-1114" fmla="*/ 650309 h 715251"/>
              <a:gd name="connsiteX25-1115" fmla="*/ 0 w 910046"/>
              <a:gd name="connsiteY25-1116" fmla="*/ 715251 h 715251"/>
              <a:gd name="connsiteX26-1117" fmla="*/ 24595 w 910046"/>
              <a:gd name="connsiteY26-1118" fmla="*/ 594553 h 715251"/>
              <a:gd name="connsiteX0-1119" fmla="*/ 24595 w 910046"/>
              <a:gd name="connsiteY0-1120" fmla="*/ 594553 h 715251"/>
              <a:gd name="connsiteX1-1121" fmla="*/ 24595 w 910046"/>
              <a:gd name="connsiteY1-1122" fmla="*/ 449588 h 715251"/>
              <a:gd name="connsiteX2-1123" fmla="*/ 158410 w 910046"/>
              <a:gd name="connsiteY2-1124" fmla="*/ 271168 h 715251"/>
              <a:gd name="connsiteX3-1125" fmla="*/ 292225 w 910046"/>
              <a:gd name="connsiteY3-1126" fmla="*/ 304622 h 715251"/>
              <a:gd name="connsiteX4-1127" fmla="*/ 292225 w 910046"/>
              <a:gd name="connsiteY4-1128" fmla="*/ 360378 h 715251"/>
              <a:gd name="connsiteX5-1129" fmla="*/ 472751 w 910046"/>
              <a:gd name="connsiteY5-1130" fmla="*/ 370458 h 715251"/>
              <a:gd name="connsiteX6-1131" fmla="*/ 516449 w 910046"/>
              <a:gd name="connsiteY6-1132" fmla="*/ 269561 h 715251"/>
              <a:gd name="connsiteX7-1133" fmla="*/ 421210 w 910046"/>
              <a:gd name="connsiteY7-1134" fmla="*/ 174346 h 715251"/>
              <a:gd name="connsiteX8-1135" fmla="*/ 600537 w 910046"/>
              <a:gd name="connsiteY8-1136" fmla="*/ 103900 h 715251"/>
              <a:gd name="connsiteX9-1137" fmla="*/ 624654 w 910046"/>
              <a:gd name="connsiteY9-1138" fmla="*/ 0 h 715251"/>
              <a:gd name="connsiteX10-1139" fmla="*/ 681318 w 910046"/>
              <a:gd name="connsiteY10-1140" fmla="*/ 4610 h 715251"/>
              <a:gd name="connsiteX11-1141" fmla="*/ 795846 w 910046"/>
              <a:gd name="connsiteY11-1142" fmla="*/ 126737 h 715251"/>
              <a:gd name="connsiteX12-1143" fmla="*/ 895881 w 910046"/>
              <a:gd name="connsiteY12-1144" fmla="*/ 167804 h 715251"/>
              <a:gd name="connsiteX13-1145" fmla="*/ 910046 w 910046"/>
              <a:gd name="connsiteY13-1146" fmla="*/ 280923 h 715251"/>
              <a:gd name="connsiteX14-1147" fmla="*/ 826251 w 910046"/>
              <a:gd name="connsiteY14-1148" fmla="*/ 367664 h 715251"/>
              <a:gd name="connsiteX15-1149" fmla="*/ 849786 w 910046"/>
              <a:gd name="connsiteY15-1150" fmla="*/ 459343 h 715251"/>
              <a:gd name="connsiteX16-1151" fmla="*/ 715355 w 910046"/>
              <a:gd name="connsiteY16-1152" fmla="*/ 498267 h 715251"/>
              <a:gd name="connsiteX17-1153" fmla="*/ 649646 w 910046"/>
              <a:gd name="connsiteY17-1154" fmla="*/ 581798 h 715251"/>
              <a:gd name="connsiteX18-1155" fmla="*/ 581249 w 910046"/>
              <a:gd name="connsiteY18-1156" fmla="*/ 623399 h 715251"/>
              <a:gd name="connsiteX19-1157" fmla="*/ 436283 w 910046"/>
              <a:gd name="connsiteY19-1158" fmla="*/ 635085 h 715251"/>
              <a:gd name="connsiteX20-1159" fmla="*/ 292225 w 910046"/>
              <a:gd name="connsiteY20-1160" fmla="*/ 572251 h 715251"/>
              <a:gd name="connsiteX21-1161" fmla="*/ 292225 w 910046"/>
              <a:gd name="connsiteY21-1162" fmla="*/ 572251 h 715251"/>
              <a:gd name="connsiteX22-1163" fmla="*/ 269922 w 910046"/>
              <a:gd name="connsiteY22-1164" fmla="*/ 650309 h 715251"/>
              <a:gd name="connsiteX23-1165" fmla="*/ 124956 w 910046"/>
              <a:gd name="connsiteY23-1166" fmla="*/ 639158 h 715251"/>
              <a:gd name="connsiteX24-1167" fmla="*/ 69200 w 910046"/>
              <a:gd name="connsiteY24-1168" fmla="*/ 650309 h 715251"/>
              <a:gd name="connsiteX25-1169" fmla="*/ 0 w 910046"/>
              <a:gd name="connsiteY25-1170" fmla="*/ 715251 h 715251"/>
              <a:gd name="connsiteX26-1171" fmla="*/ 24595 w 910046"/>
              <a:gd name="connsiteY26-1172" fmla="*/ 594553 h 715251"/>
              <a:gd name="connsiteX0-1173" fmla="*/ 24595 w 910046"/>
              <a:gd name="connsiteY0-1174" fmla="*/ 594553 h 715251"/>
              <a:gd name="connsiteX1-1175" fmla="*/ 24595 w 910046"/>
              <a:gd name="connsiteY1-1176" fmla="*/ 449588 h 715251"/>
              <a:gd name="connsiteX2-1177" fmla="*/ 158410 w 910046"/>
              <a:gd name="connsiteY2-1178" fmla="*/ 271168 h 715251"/>
              <a:gd name="connsiteX3-1179" fmla="*/ 292225 w 910046"/>
              <a:gd name="connsiteY3-1180" fmla="*/ 304622 h 715251"/>
              <a:gd name="connsiteX4-1181" fmla="*/ 319359 w 910046"/>
              <a:gd name="connsiteY4-1182" fmla="*/ 367456 h 715251"/>
              <a:gd name="connsiteX5-1183" fmla="*/ 472751 w 910046"/>
              <a:gd name="connsiteY5-1184" fmla="*/ 370458 h 715251"/>
              <a:gd name="connsiteX6-1185" fmla="*/ 516449 w 910046"/>
              <a:gd name="connsiteY6-1186" fmla="*/ 269561 h 715251"/>
              <a:gd name="connsiteX7-1187" fmla="*/ 421210 w 910046"/>
              <a:gd name="connsiteY7-1188" fmla="*/ 174346 h 715251"/>
              <a:gd name="connsiteX8-1189" fmla="*/ 600537 w 910046"/>
              <a:gd name="connsiteY8-1190" fmla="*/ 103900 h 715251"/>
              <a:gd name="connsiteX9-1191" fmla="*/ 624654 w 910046"/>
              <a:gd name="connsiteY9-1192" fmla="*/ 0 h 715251"/>
              <a:gd name="connsiteX10-1193" fmla="*/ 681318 w 910046"/>
              <a:gd name="connsiteY10-1194" fmla="*/ 4610 h 715251"/>
              <a:gd name="connsiteX11-1195" fmla="*/ 795846 w 910046"/>
              <a:gd name="connsiteY11-1196" fmla="*/ 126737 h 715251"/>
              <a:gd name="connsiteX12-1197" fmla="*/ 895881 w 910046"/>
              <a:gd name="connsiteY12-1198" fmla="*/ 167804 h 715251"/>
              <a:gd name="connsiteX13-1199" fmla="*/ 910046 w 910046"/>
              <a:gd name="connsiteY13-1200" fmla="*/ 280923 h 715251"/>
              <a:gd name="connsiteX14-1201" fmla="*/ 826251 w 910046"/>
              <a:gd name="connsiteY14-1202" fmla="*/ 367664 h 715251"/>
              <a:gd name="connsiteX15-1203" fmla="*/ 849786 w 910046"/>
              <a:gd name="connsiteY15-1204" fmla="*/ 459343 h 715251"/>
              <a:gd name="connsiteX16-1205" fmla="*/ 715355 w 910046"/>
              <a:gd name="connsiteY16-1206" fmla="*/ 498267 h 715251"/>
              <a:gd name="connsiteX17-1207" fmla="*/ 649646 w 910046"/>
              <a:gd name="connsiteY17-1208" fmla="*/ 581798 h 715251"/>
              <a:gd name="connsiteX18-1209" fmla="*/ 581249 w 910046"/>
              <a:gd name="connsiteY18-1210" fmla="*/ 623399 h 715251"/>
              <a:gd name="connsiteX19-1211" fmla="*/ 436283 w 910046"/>
              <a:gd name="connsiteY19-1212" fmla="*/ 635085 h 715251"/>
              <a:gd name="connsiteX20-1213" fmla="*/ 292225 w 910046"/>
              <a:gd name="connsiteY20-1214" fmla="*/ 572251 h 715251"/>
              <a:gd name="connsiteX21-1215" fmla="*/ 292225 w 910046"/>
              <a:gd name="connsiteY21-1216" fmla="*/ 572251 h 715251"/>
              <a:gd name="connsiteX22-1217" fmla="*/ 269922 w 910046"/>
              <a:gd name="connsiteY22-1218" fmla="*/ 650309 h 715251"/>
              <a:gd name="connsiteX23-1219" fmla="*/ 124956 w 910046"/>
              <a:gd name="connsiteY23-1220" fmla="*/ 639158 h 715251"/>
              <a:gd name="connsiteX24-1221" fmla="*/ 69200 w 910046"/>
              <a:gd name="connsiteY24-1222" fmla="*/ 650309 h 715251"/>
              <a:gd name="connsiteX25-1223" fmla="*/ 0 w 910046"/>
              <a:gd name="connsiteY25-1224" fmla="*/ 715251 h 715251"/>
              <a:gd name="connsiteX26-1225" fmla="*/ 24595 w 910046"/>
              <a:gd name="connsiteY26-1226" fmla="*/ 594553 h 715251"/>
              <a:gd name="connsiteX0-1227" fmla="*/ 24595 w 910046"/>
              <a:gd name="connsiteY0-1228" fmla="*/ 594553 h 715251"/>
              <a:gd name="connsiteX1-1229" fmla="*/ 24595 w 910046"/>
              <a:gd name="connsiteY1-1230" fmla="*/ 449588 h 715251"/>
              <a:gd name="connsiteX2-1231" fmla="*/ 158410 w 910046"/>
              <a:gd name="connsiteY2-1232" fmla="*/ 271168 h 715251"/>
              <a:gd name="connsiteX3-1233" fmla="*/ 310315 w 910046"/>
              <a:gd name="connsiteY3-1234" fmla="*/ 340008 h 715251"/>
              <a:gd name="connsiteX4-1235" fmla="*/ 319359 w 910046"/>
              <a:gd name="connsiteY4-1236" fmla="*/ 367456 h 715251"/>
              <a:gd name="connsiteX5-1237" fmla="*/ 472751 w 910046"/>
              <a:gd name="connsiteY5-1238" fmla="*/ 370458 h 715251"/>
              <a:gd name="connsiteX6-1239" fmla="*/ 516449 w 910046"/>
              <a:gd name="connsiteY6-1240" fmla="*/ 269561 h 715251"/>
              <a:gd name="connsiteX7-1241" fmla="*/ 421210 w 910046"/>
              <a:gd name="connsiteY7-1242" fmla="*/ 174346 h 715251"/>
              <a:gd name="connsiteX8-1243" fmla="*/ 600537 w 910046"/>
              <a:gd name="connsiteY8-1244" fmla="*/ 103900 h 715251"/>
              <a:gd name="connsiteX9-1245" fmla="*/ 624654 w 910046"/>
              <a:gd name="connsiteY9-1246" fmla="*/ 0 h 715251"/>
              <a:gd name="connsiteX10-1247" fmla="*/ 681318 w 910046"/>
              <a:gd name="connsiteY10-1248" fmla="*/ 4610 h 715251"/>
              <a:gd name="connsiteX11-1249" fmla="*/ 795846 w 910046"/>
              <a:gd name="connsiteY11-1250" fmla="*/ 126737 h 715251"/>
              <a:gd name="connsiteX12-1251" fmla="*/ 895881 w 910046"/>
              <a:gd name="connsiteY12-1252" fmla="*/ 167804 h 715251"/>
              <a:gd name="connsiteX13-1253" fmla="*/ 910046 w 910046"/>
              <a:gd name="connsiteY13-1254" fmla="*/ 280923 h 715251"/>
              <a:gd name="connsiteX14-1255" fmla="*/ 826251 w 910046"/>
              <a:gd name="connsiteY14-1256" fmla="*/ 367664 h 715251"/>
              <a:gd name="connsiteX15-1257" fmla="*/ 849786 w 910046"/>
              <a:gd name="connsiteY15-1258" fmla="*/ 459343 h 715251"/>
              <a:gd name="connsiteX16-1259" fmla="*/ 715355 w 910046"/>
              <a:gd name="connsiteY16-1260" fmla="*/ 498267 h 715251"/>
              <a:gd name="connsiteX17-1261" fmla="*/ 649646 w 910046"/>
              <a:gd name="connsiteY17-1262" fmla="*/ 581798 h 715251"/>
              <a:gd name="connsiteX18-1263" fmla="*/ 581249 w 910046"/>
              <a:gd name="connsiteY18-1264" fmla="*/ 623399 h 715251"/>
              <a:gd name="connsiteX19-1265" fmla="*/ 436283 w 910046"/>
              <a:gd name="connsiteY19-1266" fmla="*/ 635085 h 715251"/>
              <a:gd name="connsiteX20-1267" fmla="*/ 292225 w 910046"/>
              <a:gd name="connsiteY20-1268" fmla="*/ 572251 h 715251"/>
              <a:gd name="connsiteX21-1269" fmla="*/ 292225 w 910046"/>
              <a:gd name="connsiteY21-1270" fmla="*/ 572251 h 715251"/>
              <a:gd name="connsiteX22-1271" fmla="*/ 269922 w 910046"/>
              <a:gd name="connsiteY22-1272" fmla="*/ 650309 h 715251"/>
              <a:gd name="connsiteX23-1273" fmla="*/ 124956 w 910046"/>
              <a:gd name="connsiteY23-1274" fmla="*/ 639158 h 715251"/>
              <a:gd name="connsiteX24-1275" fmla="*/ 69200 w 910046"/>
              <a:gd name="connsiteY24-1276" fmla="*/ 650309 h 715251"/>
              <a:gd name="connsiteX25-1277" fmla="*/ 0 w 910046"/>
              <a:gd name="connsiteY25-1278" fmla="*/ 715251 h 715251"/>
              <a:gd name="connsiteX26-1279" fmla="*/ 24595 w 910046"/>
              <a:gd name="connsiteY26-1280" fmla="*/ 594553 h 715251"/>
              <a:gd name="connsiteX0-1281" fmla="*/ 24595 w 910046"/>
              <a:gd name="connsiteY0-1282" fmla="*/ 594553 h 715251"/>
              <a:gd name="connsiteX1-1283" fmla="*/ 24595 w 910046"/>
              <a:gd name="connsiteY1-1284" fmla="*/ 449588 h 715251"/>
              <a:gd name="connsiteX2-1285" fmla="*/ 173484 w 910046"/>
              <a:gd name="connsiteY2-1286" fmla="*/ 281784 h 715251"/>
              <a:gd name="connsiteX3-1287" fmla="*/ 310315 w 910046"/>
              <a:gd name="connsiteY3-1288" fmla="*/ 340008 h 715251"/>
              <a:gd name="connsiteX4-1289" fmla="*/ 319359 w 910046"/>
              <a:gd name="connsiteY4-1290" fmla="*/ 367456 h 715251"/>
              <a:gd name="connsiteX5-1291" fmla="*/ 472751 w 910046"/>
              <a:gd name="connsiteY5-1292" fmla="*/ 370458 h 715251"/>
              <a:gd name="connsiteX6-1293" fmla="*/ 516449 w 910046"/>
              <a:gd name="connsiteY6-1294" fmla="*/ 269561 h 715251"/>
              <a:gd name="connsiteX7-1295" fmla="*/ 421210 w 910046"/>
              <a:gd name="connsiteY7-1296" fmla="*/ 174346 h 715251"/>
              <a:gd name="connsiteX8-1297" fmla="*/ 600537 w 910046"/>
              <a:gd name="connsiteY8-1298" fmla="*/ 103900 h 715251"/>
              <a:gd name="connsiteX9-1299" fmla="*/ 624654 w 910046"/>
              <a:gd name="connsiteY9-1300" fmla="*/ 0 h 715251"/>
              <a:gd name="connsiteX10-1301" fmla="*/ 681318 w 910046"/>
              <a:gd name="connsiteY10-1302" fmla="*/ 4610 h 715251"/>
              <a:gd name="connsiteX11-1303" fmla="*/ 795846 w 910046"/>
              <a:gd name="connsiteY11-1304" fmla="*/ 126737 h 715251"/>
              <a:gd name="connsiteX12-1305" fmla="*/ 895881 w 910046"/>
              <a:gd name="connsiteY12-1306" fmla="*/ 167804 h 715251"/>
              <a:gd name="connsiteX13-1307" fmla="*/ 910046 w 910046"/>
              <a:gd name="connsiteY13-1308" fmla="*/ 280923 h 715251"/>
              <a:gd name="connsiteX14-1309" fmla="*/ 826251 w 910046"/>
              <a:gd name="connsiteY14-1310" fmla="*/ 367664 h 715251"/>
              <a:gd name="connsiteX15-1311" fmla="*/ 849786 w 910046"/>
              <a:gd name="connsiteY15-1312" fmla="*/ 459343 h 715251"/>
              <a:gd name="connsiteX16-1313" fmla="*/ 715355 w 910046"/>
              <a:gd name="connsiteY16-1314" fmla="*/ 498267 h 715251"/>
              <a:gd name="connsiteX17-1315" fmla="*/ 649646 w 910046"/>
              <a:gd name="connsiteY17-1316" fmla="*/ 581798 h 715251"/>
              <a:gd name="connsiteX18-1317" fmla="*/ 581249 w 910046"/>
              <a:gd name="connsiteY18-1318" fmla="*/ 623399 h 715251"/>
              <a:gd name="connsiteX19-1319" fmla="*/ 436283 w 910046"/>
              <a:gd name="connsiteY19-1320" fmla="*/ 635085 h 715251"/>
              <a:gd name="connsiteX20-1321" fmla="*/ 292225 w 910046"/>
              <a:gd name="connsiteY20-1322" fmla="*/ 572251 h 715251"/>
              <a:gd name="connsiteX21-1323" fmla="*/ 292225 w 910046"/>
              <a:gd name="connsiteY21-1324" fmla="*/ 572251 h 715251"/>
              <a:gd name="connsiteX22-1325" fmla="*/ 269922 w 910046"/>
              <a:gd name="connsiteY22-1326" fmla="*/ 650309 h 715251"/>
              <a:gd name="connsiteX23-1327" fmla="*/ 124956 w 910046"/>
              <a:gd name="connsiteY23-1328" fmla="*/ 639158 h 715251"/>
              <a:gd name="connsiteX24-1329" fmla="*/ 69200 w 910046"/>
              <a:gd name="connsiteY24-1330" fmla="*/ 650309 h 715251"/>
              <a:gd name="connsiteX25-1331" fmla="*/ 0 w 910046"/>
              <a:gd name="connsiteY25-1332" fmla="*/ 715251 h 715251"/>
              <a:gd name="connsiteX26-1333" fmla="*/ 24595 w 910046"/>
              <a:gd name="connsiteY26-1334" fmla="*/ 594553 h 715251"/>
              <a:gd name="connsiteX0-1335" fmla="*/ 24595 w 910046"/>
              <a:gd name="connsiteY0-1336" fmla="*/ 594553 h 715251"/>
              <a:gd name="connsiteX1-1337" fmla="*/ 24595 w 910046"/>
              <a:gd name="connsiteY1-1338" fmla="*/ 449588 h 715251"/>
              <a:gd name="connsiteX2-1339" fmla="*/ 173484 w 910046"/>
              <a:gd name="connsiteY2-1340" fmla="*/ 281784 h 715251"/>
              <a:gd name="connsiteX3-1341" fmla="*/ 310315 w 910046"/>
              <a:gd name="connsiteY3-1342" fmla="*/ 340008 h 715251"/>
              <a:gd name="connsiteX4-1343" fmla="*/ 319359 w 910046"/>
              <a:gd name="connsiteY4-1344" fmla="*/ 367456 h 715251"/>
              <a:gd name="connsiteX5-1345" fmla="*/ 472751 w 910046"/>
              <a:gd name="connsiteY5-1346" fmla="*/ 370458 h 715251"/>
              <a:gd name="connsiteX6-1347" fmla="*/ 516449 w 910046"/>
              <a:gd name="connsiteY6-1348" fmla="*/ 269561 h 715251"/>
              <a:gd name="connsiteX7-1349" fmla="*/ 421210 w 910046"/>
              <a:gd name="connsiteY7-1350" fmla="*/ 174346 h 715251"/>
              <a:gd name="connsiteX8-1351" fmla="*/ 600537 w 910046"/>
              <a:gd name="connsiteY8-1352" fmla="*/ 103900 h 715251"/>
              <a:gd name="connsiteX9-1353" fmla="*/ 624654 w 910046"/>
              <a:gd name="connsiteY9-1354" fmla="*/ 0 h 715251"/>
              <a:gd name="connsiteX10-1355" fmla="*/ 681318 w 910046"/>
              <a:gd name="connsiteY10-1356" fmla="*/ 4610 h 715251"/>
              <a:gd name="connsiteX11-1357" fmla="*/ 795846 w 910046"/>
              <a:gd name="connsiteY11-1358" fmla="*/ 126737 h 715251"/>
              <a:gd name="connsiteX12-1359" fmla="*/ 895881 w 910046"/>
              <a:gd name="connsiteY12-1360" fmla="*/ 167804 h 715251"/>
              <a:gd name="connsiteX13-1361" fmla="*/ 910046 w 910046"/>
              <a:gd name="connsiteY13-1362" fmla="*/ 280923 h 715251"/>
              <a:gd name="connsiteX14-1363" fmla="*/ 836546 w 910046"/>
              <a:gd name="connsiteY14-1364" fmla="*/ 363636 h 715251"/>
              <a:gd name="connsiteX15-1365" fmla="*/ 849786 w 910046"/>
              <a:gd name="connsiteY15-1366" fmla="*/ 459343 h 715251"/>
              <a:gd name="connsiteX16-1367" fmla="*/ 715355 w 910046"/>
              <a:gd name="connsiteY16-1368" fmla="*/ 498267 h 715251"/>
              <a:gd name="connsiteX17-1369" fmla="*/ 649646 w 910046"/>
              <a:gd name="connsiteY17-1370" fmla="*/ 581798 h 715251"/>
              <a:gd name="connsiteX18-1371" fmla="*/ 581249 w 910046"/>
              <a:gd name="connsiteY18-1372" fmla="*/ 623399 h 715251"/>
              <a:gd name="connsiteX19-1373" fmla="*/ 436283 w 910046"/>
              <a:gd name="connsiteY19-1374" fmla="*/ 635085 h 715251"/>
              <a:gd name="connsiteX20-1375" fmla="*/ 292225 w 910046"/>
              <a:gd name="connsiteY20-1376" fmla="*/ 572251 h 715251"/>
              <a:gd name="connsiteX21-1377" fmla="*/ 292225 w 910046"/>
              <a:gd name="connsiteY21-1378" fmla="*/ 572251 h 715251"/>
              <a:gd name="connsiteX22-1379" fmla="*/ 269922 w 910046"/>
              <a:gd name="connsiteY22-1380" fmla="*/ 650309 h 715251"/>
              <a:gd name="connsiteX23-1381" fmla="*/ 124956 w 910046"/>
              <a:gd name="connsiteY23-1382" fmla="*/ 639158 h 715251"/>
              <a:gd name="connsiteX24-1383" fmla="*/ 69200 w 910046"/>
              <a:gd name="connsiteY24-1384" fmla="*/ 650309 h 715251"/>
              <a:gd name="connsiteX25-1385" fmla="*/ 0 w 910046"/>
              <a:gd name="connsiteY25-1386" fmla="*/ 715251 h 715251"/>
              <a:gd name="connsiteX26-1387" fmla="*/ 24595 w 910046"/>
              <a:gd name="connsiteY26-1388" fmla="*/ 594553 h 715251"/>
              <a:gd name="connsiteX0-1389" fmla="*/ 24595 w 910046"/>
              <a:gd name="connsiteY0-1390" fmla="*/ 594553 h 715251"/>
              <a:gd name="connsiteX1-1391" fmla="*/ 24595 w 910046"/>
              <a:gd name="connsiteY1-1392" fmla="*/ 449588 h 715251"/>
              <a:gd name="connsiteX2-1393" fmla="*/ 173484 w 910046"/>
              <a:gd name="connsiteY2-1394" fmla="*/ 281784 h 715251"/>
              <a:gd name="connsiteX3-1395" fmla="*/ 310315 w 910046"/>
              <a:gd name="connsiteY3-1396" fmla="*/ 340008 h 715251"/>
              <a:gd name="connsiteX4-1397" fmla="*/ 319359 w 910046"/>
              <a:gd name="connsiteY4-1398" fmla="*/ 367456 h 715251"/>
              <a:gd name="connsiteX5-1399" fmla="*/ 472751 w 910046"/>
              <a:gd name="connsiteY5-1400" fmla="*/ 370458 h 715251"/>
              <a:gd name="connsiteX6-1401" fmla="*/ 516449 w 910046"/>
              <a:gd name="connsiteY6-1402" fmla="*/ 269561 h 715251"/>
              <a:gd name="connsiteX7-1403" fmla="*/ 421210 w 910046"/>
              <a:gd name="connsiteY7-1404" fmla="*/ 174346 h 715251"/>
              <a:gd name="connsiteX8-1405" fmla="*/ 600537 w 910046"/>
              <a:gd name="connsiteY8-1406" fmla="*/ 103900 h 715251"/>
              <a:gd name="connsiteX9-1407" fmla="*/ 624654 w 910046"/>
              <a:gd name="connsiteY9-1408" fmla="*/ 0 h 715251"/>
              <a:gd name="connsiteX10-1409" fmla="*/ 681318 w 910046"/>
              <a:gd name="connsiteY10-1410" fmla="*/ 4610 h 715251"/>
              <a:gd name="connsiteX11-1411" fmla="*/ 795846 w 910046"/>
              <a:gd name="connsiteY11-1412" fmla="*/ 126737 h 715251"/>
              <a:gd name="connsiteX12-1413" fmla="*/ 895881 w 910046"/>
              <a:gd name="connsiteY12-1414" fmla="*/ 167804 h 715251"/>
              <a:gd name="connsiteX13-1415" fmla="*/ 910046 w 910046"/>
              <a:gd name="connsiteY13-1416" fmla="*/ 280923 h 715251"/>
              <a:gd name="connsiteX14-1417" fmla="*/ 836546 w 910046"/>
              <a:gd name="connsiteY14-1418" fmla="*/ 363636 h 715251"/>
              <a:gd name="connsiteX15-1419" fmla="*/ 849786 w 910046"/>
              <a:gd name="connsiteY15-1420" fmla="*/ 459343 h 715251"/>
              <a:gd name="connsiteX16-1421" fmla="*/ 715355 w 910046"/>
              <a:gd name="connsiteY16-1422" fmla="*/ 514377 h 715251"/>
              <a:gd name="connsiteX17-1423" fmla="*/ 649646 w 910046"/>
              <a:gd name="connsiteY17-1424" fmla="*/ 581798 h 715251"/>
              <a:gd name="connsiteX18-1425" fmla="*/ 581249 w 910046"/>
              <a:gd name="connsiteY18-1426" fmla="*/ 623399 h 715251"/>
              <a:gd name="connsiteX19-1427" fmla="*/ 436283 w 910046"/>
              <a:gd name="connsiteY19-1428" fmla="*/ 635085 h 715251"/>
              <a:gd name="connsiteX20-1429" fmla="*/ 292225 w 910046"/>
              <a:gd name="connsiteY20-1430" fmla="*/ 572251 h 715251"/>
              <a:gd name="connsiteX21-1431" fmla="*/ 292225 w 910046"/>
              <a:gd name="connsiteY21-1432" fmla="*/ 572251 h 715251"/>
              <a:gd name="connsiteX22-1433" fmla="*/ 269922 w 910046"/>
              <a:gd name="connsiteY22-1434" fmla="*/ 650309 h 715251"/>
              <a:gd name="connsiteX23-1435" fmla="*/ 124956 w 910046"/>
              <a:gd name="connsiteY23-1436" fmla="*/ 639158 h 715251"/>
              <a:gd name="connsiteX24-1437" fmla="*/ 69200 w 910046"/>
              <a:gd name="connsiteY24-1438" fmla="*/ 650309 h 715251"/>
              <a:gd name="connsiteX25-1439" fmla="*/ 0 w 910046"/>
              <a:gd name="connsiteY25-1440" fmla="*/ 715251 h 715251"/>
              <a:gd name="connsiteX26-1441" fmla="*/ 24595 w 910046"/>
              <a:gd name="connsiteY26-1442" fmla="*/ 594553 h 715251"/>
              <a:gd name="connsiteX0-1443" fmla="*/ 24595 w 920340"/>
              <a:gd name="connsiteY0-1444" fmla="*/ 594553 h 715251"/>
              <a:gd name="connsiteX1-1445" fmla="*/ 24595 w 920340"/>
              <a:gd name="connsiteY1-1446" fmla="*/ 449588 h 715251"/>
              <a:gd name="connsiteX2-1447" fmla="*/ 173484 w 920340"/>
              <a:gd name="connsiteY2-1448" fmla="*/ 281784 h 715251"/>
              <a:gd name="connsiteX3-1449" fmla="*/ 310315 w 920340"/>
              <a:gd name="connsiteY3-1450" fmla="*/ 340008 h 715251"/>
              <a:gd name="connsiteX4-1451" fmla="*/ 319359 w 920340"/>
              <a:gd name="connsiteY4-1452" fmla="*/ 367456 h 715251"/>
              <a:gd name="connsiteX5-1453" fmla="*/ 472751 w 920340"/>
              <a:gd name="connsiteY5-1454" fmla="*/ 370458 h 715251"/>
              <a:gd name="connsiteX6-1455" fmla="*/ 516449 w 920340"/>
              <a:gd name="connsiteY6-1456" fmla="*/ 269561 h 715251"/>
              <a:gd name="connsiteX7-1457" fmla="*/ 421210 w 920340"/>
              <a:gd name="connsiteY7-1458" fmla="*/ 174346 h 715251"/>
              <a:gd name="connsiteX8-1459" fmla="*/ 600537 w 920340"/>
              <a:gd name="connsiteY8-1460" fmla="*/ 103900 h 715251"/>
              <a:gd name="connsiteX9-1461" fmla="*/ 624654 w 920340"/>
              <a:gd name="connsiteY9-1462" fmla="*/ 0 h 715251"/>
              <a:gd name="connsiteX10-1463" fmla="*/ 681318 w 920340"/>
              <a:gd name="connsiteY10-1464" fmla="*/ 4610 h 715251"/>
              <a:gd name="connsiteX11-1465" fmla="*/ 795846 w 920340"/>
              <a:gd name="connsiteY11-1466" fmla="*/ 126737 h 715251"/>
              <a:gd name="connsiteX12-1467" fmla="*/ 895881 w 920340"/>
              <a:gd name="connsiteY12-1468" fmla="*/ 167804 h 715251"/>
              <a:gd name="connsiteX13-1469" fmla="*/ 920340 w 920340"/>
              <a:gd name="connsiteY13-1470" fmla="*/ 284950 h 715251"/>
              <a:gd name="connsiteX14-1471" fmla="*/ 836546 w 920340"/>
              <a:gd name="connsiteY14-1472" fmla="*/ 363636 h 715251"/>
              <a:gd name="connsiteX15-1473" fmla="*/ 849786 w 920340"/>
              <a:gd name="connsiteY15-1474" fmla="*/ 459343 h 715251"/>
              <a:gd name="connsiteX16-1475" fmla="*/ 715355 w 920340"/>
              <a:gd name="connsiteY16-1476" fmla="*/ 514377 h 715251"/>
              <a:gd name="connsiteX17-1477" fmla="*/ 649646 w 920340"/>
              <a:gd name="connsiteY17-1478" fmla="*/ 581798 h 715251"/>
              <a:gd name="connsiteX18-1479" fmla="*/ 581249 w 920340"/>
              <a:gd name="connsiteY18-1480" fmla="*/ 623399 h 715251"/>
              <a:gd name="connsiteX19-1481" fmla="*/ 436283 w 920340"/>
              <a:gd name="connsiteY19-1482" fmla="*/ 635085 h 715251"/>
              <a:gd name="connsiteX20-1483" fmla="*/ 292225 w 920340"/>
              <a:gd name="connsiteY20-1484" fmla="*/ 572251 h 715251"/>
              <a:gd name="connsiteX21-1485" fmla="*/ 292225 w 920340"/>
              <a:gd name="connsiteY21-1486" fmla="*/ 572251 h 715251"/>
              <a:gd name="connsiteX22-1487" fmla="*/ 269922 w 920340"/>
              <a:gd name="connsiteY22-1488" fmla="*/ 650309 h 715251"/>
              <a:gd name="connsiteX23-1489" fmla="*/ 124956 w 920340"/>
              <a:gd name="connsiteY23-1490" fmla="*/ 639158 h 715251"/>
              <a:gd name="connsiteX24-1491" fmla="*/ 69200 w 920340"/>
              <a:gd name="connsiteY24-1492" fmla="*/ 650309 h 715251"/>
              <a:gd name="connsiteX25-1493" fmla="*/ 0 w 920340"/>
              <a:gd name="connsiteY25-1494" fmla="*/ 715251 h 715251"/>
              <a:gd name="connsiteX26-1495" fmla="*/ 24595 w 920340"/>
              <a:gd name="connsiteY26-1496" fmla="*/ 594553 h 71525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Lst>
            <a:rect l="l" t="t" r="r" b="b"/>
            <a:pathLst>
              <a:path w="920340" h="715251">
                <a:moveTo>
                  <a:pt x="24595" y="594553"/>
                </a:moveTo>
                <a:lnTo>
                  <a:pt x="24595" y="449588"/>
                </a:lnTo>
                <a:lnTo>
                  <a:pt x="173484" y="281784"/>
                </a:lnTo>
                <a:lnTo>
                  <a:pt x="310315" y="340008"/>
                </a:lnTo>
                <a:lnTo>
                  <a:pt x="319359" y="367456"/>
                </a:lnTo>
                <a:lnTo>
                  <a:pt x="472751" y="370458"/>
                </a:lnTo>
                <a:lnTo>
                  <a:pt x="516449" y="269561"/>
                </a:lnTo>
                <a:lnTo>
                  <a:pt x="421210" y="174346"/>
                </a:lnTo>
                <a:lnTo>
                  <a:pt x="600537" y="103900"/>
                </a:lnTo>
                <a:lnTo>
                  <a:pt x="624654" y="0"/>
                </a:lnTo>
                <a:lnTo>
                  <a:pt x="681318" y="4610"/>
                </a:lnTo>
                <a:lnTo>
                  <a:pt x="795846" y="126737"/>
                </a:lnTo>
                <a:lnTo>
                  <a:pt x="895881" y="167804"/>
                </a:lnTo>
                <a:lnTo>
                  <a:pt x="920340" y="284950"/>
                </a:lnTo>
                <a:lnTo>
                  <a:pt x="836546" y="363636"/>
                </a:lnTo>
                <a:lnTo>
                  <a:pt x="849786" y="459343"/>
                </a:lnTo>
                <a:lnTo>
                  <a:pt x="715355" y="514377"/>
                </a:lnTo>
                <a:lnTo>
                  <a:pt x="649646" y="581798"/>
                </a:lnTo>
                <a:lnTo>
                  <a:pt x="581249" y="623399"/>
                </a:lnTo>
                <a:lnTo>
                  <a:pt x="436283" y="635085"/>
                </a:lnTo>
                <a:lnTo>
                  <a:pt x="292225" y="572251"/>
                </a:lnTo>
                <a:lnTo>
                  <a:pt x="292225" y="572251"/>
                </a:lnTo>
                <a:lnTo>
                  <a:pt x="269922" y="650309"/>
                </a:lnTo>
                <a:lnTo>
                  <a:pt x="124956" y="639158"/>
                </a:lnTo>
                <a:lnTo>
                  <a:pt x="69200" y="650309"/>
                </a:lnTo>
                <a:lnTo>
                  <a:pt x="0" y="715251"/>
                </a:lnTo>
                <a:lnTo>
                  <a:pt x="24595" y="594553"/>
                </a:lnTo>
                <a:close/>
              </a:path>
            </a:pathLst>
          </a:custGeom>
        </p:spPr>
        <p:style>
          <a:lnRef idx="1">
            <a:schemeClr val="accent6"/>
          </a:lnRef>
          <a:fillRef idx="2">
            <a:schemeClr val="accent6"/>
          </a:fillRef>
          <a:effectRef idx="1">
            <a:schemeClr val="accent6"/>
          </a:effectRef>
          <a:fontRef idx="minor">
            <a:schemeClr val="dk1"/>
          </a:fontRef>
        </p:style>
        <p:txBody>
          <a:bodyPr lIns="45710" tIns="45710" rIns="45710" bIns="45710" anchor="ctr"/>
          <a:lstStyle/>
          <a:p>
            <a:pPr algn="ctr">
              <a:spcBef>
                <a:spcPts val="400"/>
              </a:spcBef>
              <a:defRPr/>
            </a:pPr>
            <a:endParaRPr lang="en-US" sz="1200" kern="0">
              <a:solidFill>
                <a:srgbClr val="003366"/>
              </a:solidFill>
              <a:latin typeface="+mj-lt"/>
              <a:cs typeface="Arial" panose="020B0604020202020204" pitchFamily="34" charset="0"/>
            </a:endParaRPr>
          </a:p>
        </p:txBody>
      </p:sp>
      <p:sp>
        <p:nvSpPr>
          <p:cNvPr id="14" name="Freeform 33"/>
          <p:cNvSpPr/>
          <p:nvPr>
            <p:custDataLst>
              <p:tags r:id="rId9"/>
            </p:custDataLst>
          </p:nvPr>
        </p:nvSpPr>
        <p:spPr bwMode="gray">
          <a:xfrm>
            <a:off x="3362172" y="3025119"/>
            <a:ext cx="2883352" cy="2152188"/>
          </a:xfrm>
          <a:custGeom>
            <a:avLst/>
            <a:gdLst>
              <a:gd name="connsiteX0" fmla="*/ 0 w 3546087"/>
              <a:gd name="connsiteY0" fmla="*/ 3055434 h 3055434"/>
              <a:gd name="connsiteX1" fmla="*/ 55756 w 3546087"/>
              <a:gd name="connsiteY1" fmla="*/ 2877014 h 3055434"/>
              <a:gd name="connsiteX2" fmla="*/ 1349297 w 3546087"/>
              <a:gd name="connsiteY2" fmla="*/ 2877014 h 3055434"/>
              <a:gd name="connsiteX3" fmla="*/ 1304692 w 3546087"/>
              <a:gd name="connsiteY3" fmla="*/ 2408663 h 3055434"/>
              <a:gd name="connsiteX4" fmla="*/ 1471961 w 3546087"/>
              <a:gd name="connsiteY4" fmla="*/ 2274848 h 3055434"/>
              <a:gd name="connsiteX5" fmla="*/ 1683834 w 3546087"/>
              <a:gd name="connsiteY5" fmla="*/ 2219092 h 3055434"/>
              <a:gd name="connsiteX6" fmla="*/ 1706136 w 3546087"/>
              <a:gd name="connsiteY6" fmla="*/ 1427356 h 3055434"/>
              <a:gd name="connsiteX7" fmla="*/ 2821258 w 3546087"/>
              <a:gd name="connsiteY7" fmla="*/ 1416205 h 3055434"/>
              <a:gd name="connsiteX8" fmla="*/ 2810107 w 3546087"/>
              <a:gd name="connsiteY8" fmla="*/ 568712 h 3055434"/>
              <a:gd name="connsiteX9" fmla="*/ 2966224 w 3546087"/>
              <a:gd name="connsiteY9" fmla="*/ 468351 h 3055434"/>
              <a:gd name="connsiteX10" fmla="*/ 3311912 w 3546087"/>
              <a:gd name="connsiteY10" fmla="*/ 289931 h 3055434"/>
              <a:gd name="connsiteX11" fmla="*/ 3546087 w 3546087"/>
              <a:gd name="connsiteY11" fmla="*/ 301083 h 3055434"/>
              <a:gd name="connsiteX12" fmla="*/ 3546087 w 3546087"/>
              <a:gd name="connsiteY12" fmla="*/ 133814 h 3055434"/>
              <a:gd name="connsiteX13" fmla="*/ 3501483 w 3546087"/>
              <a:gd name="connsiteY13" fmla="*/ 55756 h 3055434"/>
              <a:gd name="connsiteX14" fmla="*/ 3490331 w 3546087"/>
              <a:gd name="connsiteY14" fmla="*/ 22302 h 3055434"/>
              <a:gd name="connsiteX15" fmla="*/ 3434575 w 3546087"/>
              <a:gd name="connsiteY15" fmla="*/ 0 h 3055434"/>
              <a:gd name="connsiteX16" fmla="*/ 3423424 w 3546087"/>
              <a:gd name="connsiteY16" fmla="*/ 44605 h 3055434"/>
              <a:gd name="connsiteX17" fmla="*/ 3300761 w 3546087"/>
              <a:gd name="connsiteY17" fmla="*/ 11151 h 3055434"/>
              <a:gd name="connsiteX18" fmla="*/ 3267307 w 3546087"/>
              <a:gd name="connsiteY18" fmla="*/ 100361 h 3055434"/>
              <a:gd name="connsiteX19" fmla="*/ 3155795 w 3546087"/>
              <a:gd name="connsiteY19" fmla="*/ 66907 h 3055434"/>
              <a:gd name="connsiteX20" fmla="*/ 3111190 w 3546087"/>
              <a:gd name="connsiteY20" fmla="*/ 100361 h 3055434"/>
              <a:gd name="connsiteX21" fmla="*/ 3033131 w 3546087"/>
              <a:gd name="connsiteY21" fmla="*/ 100361 h 3055434"/>
              <a:gd name="connsiteX22" fmla="*/ 3033131 w 3546087"/>
              <a:gd name="connsiteY22" fmla="*/ 100361 h 3055434"/>
              <a:gd name="connsiteX23" fmla="*/ 2955073 w 3546087"/>
              <a:gd name="connsiteY23" fmla="*/ 144966 h 3055434"/>
              <a:gd name="connsiteX24" fmla="*/ 2877014 w 3546087"/>
              <a:gd name="connsiteY24" fmla="*/ 178419 h 3055434"/>
              <a:gd name="connsiteX25" fmla="*/ 2821258 w 3546087"/>
              <a:gd name="connsiteY25" fmla="*/ 178419 h 3055434"/>
              <a:gd name="connsiteX26" fmla="*/ 2821258 w 3546087"/>
              <a:gd name="connsiteY26" fmla="*/ 178419 h 3055434"/>
              <a:gd name="connsiteX27" fmla="*/ 2821258 w 3546087"/>
              <a:gd name="connsiteY27" fmla="*/ 334536 h 3055434"/>
              <a:gd name="connsiteX28" fmla="*/ 2687444 w 3546087"/>
              <a:gd name="connsiteY28" fmla="*/ 312234 h 3055434"/>
              <a:gd name="connsiteX29" fmla="*/ 2598234 w 3546087"/>
              <a:gd name="connsiteY29" fmla="*/ 367990 h 3055434"/>
              <a:gd name="connsiteX30" fmla="*/ 2486722 w 3546087"/>
              <a:gd name="connsiteY30" fmla="*/ 401444 h 3055434"/>
              <a:gd name="connsiteX31" fmla="*/ 2430966 w 3546087"/>
              <a:gd name="connsiteY31" fmla="*/ 356839 h 3055434"/>
              <a:gd name="connsiteX32" fmla="*/ 2397512 w 3546087"/>
              <a:gd name="connsiteY32" fmla="*/ 390292 h 3055434"/>
              <a:gd name="connsiteX33" fmla="*/ 2319453 w 3546087"/>
              <a:gd name="connsiteY33" fmla="*/ 446048 h 3055434"/>
              <a:gd name="connsiteX34" fmla="*/ 2207941 w 3546087"/>
              <a:gd name="connsiteY34" fmla="*/ 434897 h 3055434"/>
              <a:gd name="connsiteX35" fmla="*/ 1973766 w 3546087"/>
              <a:gd name="connsiteY35" fmla="*/ 568712 h 3055434"/>
              <a:gd name="connsiteX36" fmla="*/ 1851102 w 3546087"/>
              <a:gd name="connsiteY36" fmla="*/ 680224 h 3055434"/>
              <a:gd name="connsiteX37" fmla="*/ 1382751 w 3546087"/>
              <a:gd name="connsiteY37" fmla="*/ 802887 h 3055434"/>
              <a:gd name="connsiteX38" fmla="*/ 1315844 w 3546087"/>
              <a:gd name="connsiteY38" fmla="*/ 858644 h 3055434"/>
              <a:gd name="connsiteX39" fmla="*/ 1182029 w 3546087"/>
              <a:gd name="connsiteY39" fmla="*/ 1182029 h 3055434"/>
              <a:gd name="connsiteX40" fmla="*/ 869795 w 3546087"/>
              <a:gd name="connsiteY40" fmla="*/ 1349297 h 3055434"/>
              <a:gd name="connsiteX41" fmla="*/ 847492 w 3546087"/>
              <a:gd name="connsiteY41" fmla="*/ 1494263 h 3055434"/>
              <a:gd name="connsiteX42" fmla="*/ 769434 w 3546087"/>
              <a:gd name="connsiteY42" fmla="*/ 1605775 h 3055434"/>
              <a:gd name="connsiteX43" fmla="*/ 747131 w 3546087"/>
              <a:gd name="connsiteY43" fmla="*/ 1839951 h 3055434"/>
              <a:gd name="connsiteX44" fmla="*/ 345687 w 3546087"/>
              <a:gd name="connsiteY44" fmla="*/ 2152185 h 3055434"/>
              <a:gd name="connsiteX45" fmla="*/ 457200 w 3546087"/>
              <a:gd name="connsiteY45" fmla="*/ 2085278 h 3055434"/>
              <a:gd name="connsiteX46" fmla="*/ 379141 w 3546087"/>
              <a:gd name="connsiteY46" fmla="*/ 2230244 h 3055434"/>
              <a:gd name="connsiteX47" fmla="*/ 301083 w 3546087"/>
              <a:gd name="connsiteY47" fmla="*/ 2352907 h 3055434"/>
              <a:gd name="connsiteX48" fmla="*/ 301083 w 3546087"/>
              <a:gd name="connsiteY48" fmla="*/ 2352907 h 3055434"/>
              <a:gd name="connsiteX49" fmla="*/ 245327 w 3546087"/>
              <a:gd name="connsiteY49" fmla="*/ 2419814 h 3055434"/>
              <a:gd name="connsiteX50" fmla="*/ 234175 w 3546087"/>
              <a:gd name="connsiteY50" fmla="*/ 2509024 h 3055434"/>
              <a:gd name="connsiteX51" fmla="*/ 234175 w 3546087"/>
              <a:gd name="connsiteY51" fmla="*/ 2509024 h 3055434"/>
              <a:gd name="connsiteX52" fmla="*/ 144966 w 3546087"/>
              <a:gd name="connsiteY52" fmla="*/ 2598234 h 3055434"/>
              <a:gd name="connsiteX53" fmla="*/ 66907 w 3546087"/>
              <a:gd name="connsiteY53" fmla="*/ 2642839 h 3055434"/>
              <a:gd name="connsiteX54" fmla="*/ 55756 w 3546087"/>
              <a:gd name="connsiteY54" fmla="*/ 2732048 h 3055434"/>
              <a:gd name="connsiteX55" fmla="*/ 44605 w 3546087"/>
              <a:gd name="connsiteY55" fmla="*/ 2932770 h 3055434"/>
              <a:gd name="connsiteX0-1" fmla="*/ 0 w 3546087"/>
              <a:gd name="connsiteY0-2" fmla="*/ 3055434 h 3055434"/>
              <a:gd name="connsiteX1-3" fmla="*/ 55756 w 3546087"/>
              <a:gd name="connsiteY1-4" fmla="*/ 2877014 h 3055434"/>
              <a:gd name="connsiteX2-5" fmla="*/ 1349297 w 3546087"/>
              <a:gd name="connsiteY2-6" fmla="*/ 2877014 h 3055434"/>
              <a:gd name="connsiteX3-7" fmla="*/ 1304692 w 3546087"/>
              <a:gd name="connsiteY3-8" fmla="*/ 2408663 h 3055434"/>
              <a:gd name="connsiteX4-9" fmla="*/ 1683834 w 3546087"/>
              <a:gd name="connsiteY4-10" fmla="*/ 2219092 h 3055434"/>
              <a:gd name="connsiteX5-11" fmla="*/ 1706136 w 3546087"/>
              <a:gd name="connsiteY5-12" fmla="*/ 1427356 h 3055434"/>
              <a:gd name="connsiteX6-13" fmla="*/ 2821258 w 3546087"/>
              <a:gd name="connsiteY6-14" fmla="*/ 1416205 h 3055434"/>
              <a:gd name="connsiteX7-15" fmla="*/ 2810107 w 3546087"/>
              <a:gd name="connsiteY7-16" fmla="*/ 568712 h 3055434"/>
              <a:gd name="connsiteX8-17" fmla="*/ 2966224 w 3546087"/>
              <a:gd name="connsiteY8-18" fmla="*/ 468351 h 3055434"/>
              <a:gd name="connsiteX9-19" fmla="*/ 3311912 w 3546087"/>
              <a:gd name="connsiteY9-20" fmla="*/ 289931 h 3055434"/>
              <a:gd name="connsiteX10-21" fmla="*/ 3546087 w 3546087"/>
              <a:gd name="connsiteY10-22" fmla="*/ 301083 h 3055434"/>
              <a:gd name="connsiteX11-23" fmla="*/ 3546087 w 3546087"/>
              <a:gd name="connsiteY11-24" fmla="*/ 133814 h 3055434"/>
              <a:gd name="connsiteX12-25" fmla="*/ 3501483 w 3546087"/>
              <a:gd name="connsiteY12-26" fmla="*/ 55756 h 3055434"/>
              <a:gd name="connsiteX13-27" fmla="*/ 3490331 w 3546087"/>
              <a:gd name="connsiteY13-28" fmla="*/ 22302 h 3055434"/>
              <a:gd name="connsiteX14-29" fmla="*/ 3434575 w 3546087"/>
              <a:gd name="connsiteY14-30" fmla="*/ 0 h 3055434"/>
              <a:gd name="connsiteX15-31" fmla="*/ 3423424 w 3546087"/>
              <a:gd name="connsiteY15-32" fmla="*/ 44605 h 3055434"/>
              <a:gd name="connsiteX16-33" fmla="*/ 3300761 w 3546087"/>
              <a:gd name="connsiteY16-34" fmla="*/ 11151 h 3055434"/>
              <a:gd name="connsiteX17-35" fmla="*/ 3267307 w 3546087"/>
              <a:gd name="connsiteY17-36" fmla="*/ 100361 h 3055434"/>
              <a:gd name="connsiteX18-37" fmla="*/ 3155795 w 3546087"/>
              <a:gd name="connsiteY18-38" fmla="*/ 66907 h 3055434"/>
              <a:gd name="connsiteX19-39" fmla="*/ 3111190 w 3546087"/>
              <a:gd name="connsiteY19-40" fmla="*/ 100361 h 3055434"/>
              <a:gd name="connsiteX20-41" fmla="*/ 3033131 w 3546087"/>
              <a:gd name="connsiteY20-42" fmla="*/ 100361 h 3055434"/>
              <a:gd name="connsiteX21-43" fmla="*/ 3033131 w 3546087"/>
              <a:gd name="connsiteY21-44" fmla="*/ 100361 h 3055434"/>
              <a:gd name="connsiteX22-45" fmla="*/ 2955073 w 3546087"/>
              <a:gd name="connsiteY22-46" fmla="*/ 144966 h 3055434"/>
              <a:gd name="connsiteX23-47" fmla="*/ 2877014 w 3546087"/>
              <a:gd name="connsiteY23-48" fmla="*/ 178419 h 3055434"/>
              <a:gd name="connsiteX24-49" fmla="*/ 2821258 w 3546087"/>
              <a:gd name="connsiteY24-50" fmla="*/ 178419 h 3055434"/>
              <a:gd name="connsiteX25-51" fmla="*/ 2821258 w 3546087"/>
              <a:gd name="connsiteY25-52" fmla="*/ 178419 h 3055434"/>
              <a:gd name="connsiteX26-53" fmla="*/ 2821258 w 3546087"/>
              <a:gd name="connsiteY26-54" fmla="*/ 334536 h 3055434"/>
              <a:gd name="connsiteX27-55" fmla="*/ 2687444 w 3546087"/>
              <a:gd name="connsiteY27-56" fmla="*/ 312234 h 3055434"/>
              <a:gd name="connsiteX28-57" fmla="*/ 2598234 w 3546087"/>
              <a:gd name="connsiteY28-58" fmla="*/ 367990 h 3055434"/>
              <a:gd name="connsiteX29-59" fmla="*/ 2486722 w 3546087"/>
              <a:gd name="connsiteY29-60" fmla="*/ 401444 h 3055434"/>
              <a:gd name="connsiteX30-61" fmla="*/ 2430966 w 3546087"/>
              <a:gd name="connsiteY30-62" fmla="*/ 356839 h 3055434"/>
              <a:gd name="connsiteX31-63" fmla="*/ 2397512 w 3546087"/>
              <a:gd name="connsiteY31-64" fmla="*/ 390292 h 3055434"/>
              <a:gd name="connsiteX32-65" fmla="*/ 2319453 w 3546087"/>
              <a:gd name="connsiteY32-66" fmla="*/ 446048 h 3055434"/>
              <a:gd name="connsiteX33-67" fmla="*/ 2207941 w 3546087"/>
              <a:gd name="connsiteY33-68" fmla="*/ 434897 h 3055434"/>
              <a:gd name="connsiteX34-69" fmla="*/ 1973766 w 3546087"/>
              <a:gd name="connsiteY34-70" fmla="*/ 568712 h 3055434"/>
              <a:gd name="connsiteX35-71" fmla="*/ 1851102 w 3546087"/>
              <a:gd name="connsiteY35-72" fmla="*/ 680224 h 3055434"/>
              <a:gd name="connsiteX36-73" fmla="*/ 1382751 w 3546087"/>
              <a:gd name="connsiteY36-74" fmla="*/ 802887 h 3055434"/>
              <a:gd name="connsiteX37-75" fmla="*/ 1315844 w 3546087"/>
              <a:gd name="connsiteY37-76" fmla="*/ 858644 h 3055434"/>
              <a:gd name="connsiteX38-77" fmla="*/ 1182029 w 3546087"/>
              <a:gd name="connsiteY38-78" fmla="*/ 1182029 h 3055434"/>
              <a:gd name="connsiteX39-79" fmla="*/ 869795 w 3546087"/>
              <a:gd name="connsiteY39-80" fmla="*/ 1349297 h 3055434"/>
              <a:gd name="connsiteX40-81" fmla="*/ 847492 w 3546087"/>
              <a:gd name="connsiteY40-82" fmla="*/ 1494263 h 3055434"/>
              <a:gd name="connsiteX41-83" fmla="*/ 769434 w 3546087"/>
              <a:gd name="connsiteY41-84" fmla="*/ 1605775 h 3055434"/>
              <a:gd name="connsiteX42-85" fmla="*/ 747131 w 3546087"/>
              <a:gd name="connsiteY42-86" fmla="*/ 1839951 h 3055434"/>
              <a:gd name="connsiteX43-87" fmla="*/ 345687 w 3546087"/>
              <a:gd name="connsiteY43-88" fmla="*/ 2152185 h 3055434"/>
              <a:gd name="connsiteX44-89" fmla="*/ 457200 w 3546087"/>
              <a:gd name="connsiteY44-90" fmla="*/ 2085278 h 3055434"/>
              <a:gd name="connsiteX45-91" fmla="*/ 379141 w 3546087"/>
              <a:gd name="connsiteY45-92" fmla="*/ 2230244 h 3055434"/>
              <a:gd name="connsiteX46-93" fmla="*/ 301083 w 3546087"/>
              <a:gd name="connsiteY46-94" fmla="*/ 2352907 h 3055434"/>
              <a:gd name="connsiteX47-95" fmla="*/ 301083 w 3546087"/>
              <a:gd name="connsiteY47-96" fmla="*/ 2352907 h 3055434"/>
              <a:gd name="connsiteX48-97" fmla="*/ 245327 w 3546087"/>
              <a:gd name="connsiteY48-98" fmla="*/ 2419814 h 3055434"/>
              <a:gd name="connsiteX49-99" fmla="*/ 234175 w 3546087"/>
              <a:gd name="connsiteY49-100" fmla="*/ 2509024 h 3055434"/>
              <a:gd name="connsiteX50-101" fmla="*/ 234175 w 3546087"/>
              <a:gd name="connsiteY50-102" fmla="*/ 2509024 h 3055434"/>
              <a:gd name="connsiteX51-103" fmla="*/ 144966 w 3546087"/>
              <a:gd name="connsiteY51-104" fmla="*/ 2598234 h 3055434"/>
              <a:gd name="connsiteX52-105" fmla="*/ 66907 w 3546087"/>
              <a:gd name="connsiteY52-106" fmla="*/ 2642839 h 3055434"/>
              <a:gd name="connsiteX53-107" fmla="*/ 55756 w 3546087"/>
              <a:gd name="connsiteY53-108" fmla="*/ 2732048 h 3055434"/>
              <a:gd name="connsiteX54-109" fmla="*/ 44605 w 3546087"/>
              <a:gd name="connsiteY54-110" fmla="*/ 2932770 h 3055434"/>
              <a:gd name="connsiteX0-111" fmla="*/ 0 w 3546087"/>
              <a:gd name="connsiteY0-112" fmla="*/ 3055434 h 3055434"/>
              <a:gd name="connsiteX1-113" fmla="*/ 55756 w 3546087"/>
              <a:gd name="connsiteY1-114" fmla="*/ 2877014 h 3055434"/>
              <a:gd name="connsiteX2-115" fmla="*/ 1349297 w 3546087"/>
              <a:gd name="connsiteY2-116" fmla="*/ 2877014 h 3055434"/>
              <a:gd name="connsiteX3-117" fmla="*/ 1683834 w 3546087"/>
              <a:gd name="connsiteY3-118" fmla="*/ 2219092 h 3055434"/>
              <a:gd name="connsiteX4-119" fmla="*/ 1706136 w 3546087"/>
              <a:gd name="connsiteY4-120" fmla="*/ 1427356 h 3055434"/>
              <a:gd name="connsiteX5-121" fmla="*/ 2821258 w 3546087"/>
              <a:gd name="connsiteY5-122" fmla="*/ 1416205 h 3055434"/>
              <a:gd name="connsiteX6-123" fmla="*/ 2810107 w 3546087"/>
              <a:gd name="connsiteY6-124" fmla="*/ 568712 h 3055434"/>
              <a:gd name="connsiteX7-125" fmla="*/ 2966224 w 3546087"/>
              <a:gd name="connsiteY7-126" fmla="*/ 468351 h 3055434"/>
              <a:gd name="connsiteX8-127" fmla="*/ 3311912 w 3546087"/>
              <a:gd name="connsiteY8-128" fmla="*/ 289931 h 3055434"/>
              <a:gd name="connsiteX9-129" fmla="*/ 3546087 w 3546087"/>
              <a:gd name="connsiteY9-130" fmla="*/ 301083 h 3055434"/>
              <a:gd name="connsiteX10-131" fmla="*/ 3546087 w 3546087"/>
              <a:gd name="connsiteY10-132" fmla="*/ 133814 h 3055434"/>
              <a:gd name="connsiteX11-133" fmla="*/ 3501483 w 3546087"/>
              <a:gd name="connsiteY11-134" fmla="*/ 55756 h 3055434"/>
              <a:gd name="connsiteX12-135" fmla="*/ 3490331 w 3546087"/>
              <a:gd name="connsiteY12-136" fmla="*/ 22302 h 3055434"/>
              <a:gd name="connsiteX13-137" fmla="*/ 3434575 w 3546087"/>
              <a:gd name="connsiteY13-138" fmla="*/ 0 h 3055434"/>
              <a:gd name="connsiteX14-139" fmla="*/ 3423424 w 3546087"/>
              <a:gd name="connsiteY14-140" fmla="*/ 44605 h 3055434"/>
              <a:gd name="connsiteX15-141" fmla="*/ 3300761 w 3546087"/>
              <a:gd name="connsiteY15-142" fmla="*/ 11151 h 3055434"/>
              <a:gd name="connsiteX16-143" fmla="*/ 3267307 w 3546087"/>
              <a:gd name="connsiteY16-144" fmla="*/ 100361 h 3055434"/>
              <a:gd name="connsiteX17-145" fmla="*/ 3155795 w 3546087"/>
              <a:gd name="connsiteY17-146" fmla="*/ 66907 h 3055434"/>
              <a:gd name="connsiteX18-147" fmla="*/ 3111190 w 3546087"/>
              <a:gd name="connsiteY18-148" fmla="*/ 100361 h 3055434"/>
              <a:gd name="connsiteX19-149" fmla="*/ 3033131 w 3546087"/>
              <a:gd name="connsiteY19-150" fmla="*/ 100361 h 3055434"/>
              <a:gd name="connsiteX20-151" fmla="*/ 3033131 w 3546087"/>
              <a:gd name="connsiteY20-152" fmla="*/ 100361 h 3055434"/>
              <a:gd name="connsiteX21-153" fmla="*/ 2955073 w 3546087"/>
              <a:gd name="connsiteY21-154" fmla="*/ 144966 h 3055434"/>
              <a:gd name="connsiteX22-155" fmla="*/ 2877014 w 3546087"/>
              <a:gd name="connsiteY22-156" fmla="*/ 178419 h 3055434"/>
              <a:gd name="connsiteX23-157" fmla="*/ 2821258 w 3546087"/>
              <a:gd name="connsiteY23-158" fmla="*/ 178419 h 3055434"/>
              <a:gd name="connsiteX24-159" fmla="*/ 2821258 w 3546087"/>
              <a:gd name="connsiteY24-160" fmla="*/ 178419 h 3055434"/>
              <a:gd name="connsiteX25-161" fmla="*/ 2821258 w 3546087"/>
              <a:gd name="connsiteY25-162" fmla="*/ 334536 h 3055434"/>
              <a:gd name="connsiteX26-163" fmla="*/ 2687444 w 3546087"/>
              <a:gd name="connsiteY26-164" fmla="*/ 312234 h 3055434"/>
              <a:gd name="connsiteX27-165" fmla="*/ 2598234 w 3546087"/>
              <a:gd name="connsiteY27-166" fmla="*/ 367990 h 3055434"/>
              <a:gd name="connsiteX28-167" fmla="*/ 2486722 w 3546087"/>
              <a:gd name="connsiteY28-168" fmla="*/ 401444 h 3055434"/>
              <a:gd name="connsiteX29-169" fmla="*/ 2430966 w 3546087"/>
              <a:gd name="connsiteY29-170" fmla="*/ 356839 h 3055434"/>
              <a:gd name="connsiteX30-171" fmla="*/ 2397512 w 3546087"/>
              <a:gd name="connsiteY30-172" fmla="*/ 390292 h 3055434"/>
              <a:gd name="connsiteX31-173" fmla="*/ 2319453 w 3546087"/>
              <a:gd name="connsiteY31-174" fmla="*/ 446048 h 3055434"/>
              <a:gd name="connsiteX32-175" fmla="*/ 2207941 w 3546087"/>
              <a:gd name="connsiteY32-176" fmla="*/ 434897 h 3055434"/>
              <a:gd name="connsiteX33-177" fmla="*/ 1973766 w 3546087"/>
              <a:gd name="connsiteY33-178" fmla="*/ 568712 h 3055434"/>
              <a:gd name="connsiteX34-179" fmla="*/ 1851102 w 3546087"/>
              <a:gd name="connsiteY34-180" fmla="*/ 680224 h 3055434"/>
              <a:gd name="connsiteX35-181" fmla="*/ 1382751 w 3546087"/>
              <a:gd name="connsiteY35-182" fmla="*/ 802887 h 3055434"/>
              <a:gd name="connsiteX36-183" fmla="*/ 1315844 w 3546087"/>
              <a:gd name="connsiteY36-184" fmla="*/ 858644 h 3055434"/>
              <a:gd name="connsiteX37-185" fmla="*/ 1182029 w 3546087"/>
              <a:gd name="connsiteY37-186" fmla="*/ 1182029 h 3055434"/>
              <a:gd name="connsiteX38-187" fmla="*/ 869795 w 3546087"/>
              <a:gd name="connsiteY38-188" fmla="*/ 1349297 h 3055434"/>
              <a:gd name="connsiteX39-189" fmla="*/ 847492 w 3546087"/>
              <a:gd name="connsiteY39-190" fmla="*/ 1494263 h 3055434"/>
              <a:gd name="connsiteX40-191" fmla="*/ 769434 w 3546087"/>
              <a:gd name="connsiteY40-192" fmla="*/ 1605775 h 3055434"/>
              <a:gd name="connsiteX41-193" fmla="*/ 747131 w 3546087"/>
              <a:gd name="connsiteY41-194" fmla="*/ 1839951 h 3055434"/>
              <a:gd name="connsiteX42-195" fmla="*/ 345687 w 3546087"/>
              <a:gd name="connsiteY42-196" fmla="*/ 2152185 h 3055434"/>
              <a:gd name="connsiteX43-197" fmla="*/ 457200 w 3546087"/>
              <a:gd name="connsiteY43-198" fmla="*/ 2085278 h 3055434"/>
              <a:gd name="connsiteX44-199" fmla="*/ 379141 w 3546087"/>
              <a:gd name="connsiteY44-200" fmla="*/ 2230244 h 3055434"/>
              <a:gd name="connsiteX45-201" fmla="*/ 301083 w 3546087"/>
              <a:gd name="connsiteY45-202" fmla="*/ 2352907 h 3055434"/>
              <a:gd name="connsiteX46-203" fmla="*/ 301083 w 3546087"/>
              <a:gd name="connsiteY46-204" fmla="*/ 2352907 h 3055434"/>
              <a:gd name="connsiteX47-205" fmla="*/ 245327 w 3546087"/>
              <a:gd name="connsiteY47-206" fmla="*/ 2419814 h 3055434"/>
              <a:gd name="connsiteX48-207" fmla="*/ 234175 w 3546087"/>
              <a:gd name="connsiteY48-208" fmla="*/ 2509024 h 3055434"/>
              <a:gd name="connsiteX49-209" fmla="*/ 234175 w 3546087"/>
              <a:gd name="connsiteY49-210" fmla="*/ 2509024 h 3055434"/>
              <a:gd name="connsiteX50-211" fmla="*/ 144966 w 3546087"/>
              <a:gd name="connsiteY50-212" fmla="*/ 2598234 h 3055434"/>
              <a:gd name="connsiteX51-213" fmla="*/ 66907 w 3546087"/>
              <a:gd name="connsiteY51-214" fmla="*/ 2642839 h 3055434"/>
              <a:gd name="connsiteX52-215" fmla="*/ 55756 w 3546087"/>
              <a:gd name="connsiteY52-216" fmla="*/ 2732048 h 3055434"/>
              <a:gd name="connsiteX53-217" fmla="*/ 44605 w 3546087"/>
              <a:gd name="connsiteY53-218" fmla="*/ 2932770 h 3055434"/>
              <a:gd name="connsiteX0-219" fmla="*/ 0 w 3546087"/>
              <a:gd name="connsiteY0-220" fmla="*/ 3055434 h 3055434"/>
              <a:gd name="connsiteX1-221" fmla="*/ 55756 w 3546087"/>
              <a:gd name="connsiteY1-222" fmla="*/ 2877014 h 3055434"/>
              <a:gd name="connsiteX2-223" fmla="*/ 1683834 w 3546087"/>
              <a:gd name="connsiteY2-224" fmla="*/ 2219092 h 3055434"/>
              <a:gd name="connsiteX3-225" fmla="*/ 1706136 w 3546087"/>
              <a:gd name="connsiteY3-226" fmla="*/ 1427356 h 3055434"/>
              <a:gd name="connsiteX4-227" fmla="*/ 2821258 w 3546087"/>
              <a:gd name="connsiteY4-228" fmla="*/ 1416205 h 3055434"/>
              <a:gd name="connsiteX5-229" fmla="*/ 2810107 w 3546087"/>
              <a:gd name="connsiteY5-230" fmla="*/ 568712 h 3055434"/>
              <a:gd name="connsiteX6-231" fmla="*/ 2966224 w 3546087"/>
              <a:gd name="connsiteY6-232" fmla="*/ 468351 h 3055434"/>
              <a:gd name="connsiteX7-233" fmla="*/ 3311912 w 3546087"/>
              <a:gd name="connsiteY7-234" fmla="*/ 289931 h 3055434"/>
              <a:gd name="connsiteX8-235" fmla="*/ 3546087 w 3546087"/>
              <a:gd name="connsiteY8-236" fmla="*/ 301083 h 3055434"/>
              <a:gd name="connsiteX9-237" fmla="*/ 3546087 w 3546087"/>
              <a:gd name="connsiteY9-238" fmla="*/ 133814 h 3055434"/>
              <a:gd name="connsiteX10-239" fmla="*/ 3501483 w 3546087"/>
              <a:gd name="connsiteY10-240" fmla="*/ 55756 h 3055434"/>
              <a:gd name="connsiteX11-241" fmla="*/ 3490331 w 3546087"/>
              <a:gd name="connsiteY11-242" fmla="*/ 22302 h 3055434"/>
              <a:gd name="connsiteX12-243" fmla="*/ 3434575 w 3546087"/>
              <a:gd name="connsiteY12-244" fmla="*/ 0 h 3055434"/>
              <a:gd name="connsiteX13-245" fmla="*/ 3423424 w 3546087"/>
              <a:gd name="connsiteY13-246" fmla="*/ 44605 h 3055434"/>
              <a:gd name="connsiteX14-247" fmla="*/ 3300761 w 3546087"/>
              <a:gd name="connsiteY14-248" fmla="*/ 11151 h 3055434"/>
              <a:gd name="connsiteX15-249" fmla="*/ 3267307 w 3546087"/>
              <a:gd name="connsiteY15-250" fmla="*/ 100361 h 3055434"/>
              <a:gd name="connsiteX16-251" fmla="*/ 3155795 w 3546087"/>
              <a:gd name="connsiteY16-252" fmla="*/ 66907 h 3055434"/>
              <a:gd name="connsiteX17-253" fmla="*/ 3111190 w 3546087"/>
              <a:gd name="connsiteY17-254" fmla="*/ 100361 h 3055434"/>
              <a:gd name="connsiteX18-255" fmla="*/ 3033131 w 3546087"/>
              <a:gd name="connsiteY18-256" fmla="*/ 100361 h 3055434"/>
              <a:gd name="connsiteX19-257" fmla="*/ 3033131 w 3546087"/>
              <a:gd name="connsiteY19-258" fmla="*/ 100361 h 3055434"/>
              <a:gd name="connsiteX20-259" fmla="*/ 2955073 w 3546087"/>
              <a:gd name="connsiteY20-260" fmla="*/ 144966 h 3055434"/>
              <a:gd name="connsiteX21-261" fmla="*/ 2877014 w 3546087"/>
              <a:gd name="connsiteY21-262" fmla="*/ 178419 h 3055434"/>
              <a:gd name="connsiteX22-263" fmla="*/ 2821258 w 3546087"/>
              <a:gd name="connsiteY22-264" fmla="*/ 178419 h 3055434"/>
              <a:gd name="connsiteX23-265" fmla="*/ 2821258 w 3546087"/>
              <a:gd name="connsiteY23-266" fmla="*/ 178419 h 3055434"/>
              <a:gd name="connsiteX24-267" fmla="*/ 2821258 w 3546087"/>
              <a:gd name="connsiteY24-268" fmla="*/ 334536 h 3055434"/>
              <a:gd name="connsiteX25-269" fmla="*/ 2687444 w 3546087"/>
              <a:gd name="connsiteY25-270" fmla="*/ 312234 h 3055434"/>
              <a:gd name="connsiteX26-271" fmla="*/ 2598234 w 3546087"/>
              <a:gd name="connsiteY26-272" fmla="*/ 367990 h 3055434"/>
              <a:gd name="connsiteX27-273" fmla="*/ 2486722 w 3546087"/>
              <a:gd name="connsiteY27-274" fmla="*/ 401444 h 3055434"/>
              <a:gd name="connsiteX28-275" fmla="*/ 2430966 w 3546087"/>
              <a:gd name="connsiteY28-276" fmla="*/ 356839 h 3055434"/>
              <a:gd name="connsiteX29-277" fmla="*/ 2397512 w 3546087"/>
              <a:gd name="connsiteY29-278" fmla="*/ 390292 h 3055434"/>
              <a:gd name="connsiteX30-279" fmla="*/ 2319453 w 3546087"/>
              <a:gd name="connsiteY30-280" fmla="*/ 446048 h 3055434"/>
              <a:gd name="connsiteX31-281" fmla="*/ 2207941 w 3546087"/>
              <a:gd name="connsiteY31-282" fmla="*/ 434897 h 3055434"/>
              <a:gd name="connsiteX32-283" fmla="*/ 1973766 w 3546087"/>
              <a:gd name="connsiteY32-284" fmla="*/ 568712 h 3055434"/>
              <a:gd name="connsiteX33-285" fmla="*/ 1851102 w 3546087"/>
              <a:gd name="connsiteY33-286" fmla="*/ 680224 h 3055434"/>
              <a:gd name="connsiteX34-287" fmla="*/ 1382751 w 3546087"/>
              <a:gd name="connsiteY34-288" fmla="*/ 802887 h 3055434"/>
              <a:gd name="connsiteX35-289" fmla="*/ 1315844 w 3546087"/>
              <a:gd name="connsiteY35-290" fmla="*/ 858644 h 3055434"/>
              <a:gd name="connsiteX36-291" fmla="*/ 1182029 w 3546087"/>
              <a:gd name="connsiteY36-292" fmla="*/ 1182029 h 3055434"/>
              <a:gd name="connsiteX37-293" fmla="*/ 869795 w 3546087"/>
              <a:gd name="connsiteY37-294" fmla="*/ 1349297 h 3055434"/>
              <a:gd name="connsiteX38-295" fmla="*/ 847492 w 3546087"/>
              <a:gd name="connsiteY38-296" fmla="*/ 1494263 h 3055434"/>
              <a:gd name="connsiteX39-297" fmla="*/ 769434 w 3546087"/>
              <a:gd name="connsiteY39-298" fmla="*/ 1605775 h 3055434"/>
              <a:gd name="connsiteX40-299" fmla="*/ 747131 w 3546087"/>
              <a:gd name="connsiteY40-300" fmla="*/ 1839951 h 3055434"/>
              <a:gd name="connsiteX41-301" fmla="*/ 345687 w 3546087"/>
              <a:gd name="connsiteY41-302" fmla="*/ 2152185 h 3055434"/>
              <a:gd name="connsiteX42-303" fmla="*/ 457200 w 3546087"/>
              <a:gd name="connsiteY42-304" fmla="*/ 2085278 h 3055434"/>
              <a:gd name="connsiteX43-305" fmla="*/ 379141 w 3546087"/>
              <a:gd name="connsiteY43-306" fmla="*/ 2230244 h 3055434"/>
              <a:gd name="connsiteX44-307" fmla="*/ 301083 w 3546087"/>
              <a:gd name="connsiteY44-308" fmla="*/ 2352907 h 3055434"/>
              <a:gd name="connsiteX45-309" fmla="*/ 301083 w 3546087"/>
              <a:gd name="connsiteY45-310" fmla="*/ 2352907 h 3055434"/>
              <a:gd name="connsiteX46-311" fmla="*/ 245327 w 3546087"/>
              <a:gd name="connsiteY46-312" fmla="*/ 2419814 h 3055434"/>
              <a:gd name="connsiteX47-313" fmla="*/ 234175 w 3546087"/>
              <a:gd name="connsiteY47-314" fmla="*/ 2509024 h 3055434"/>
              <a:gd name="connsiteX48-315" fmla="*/ 234175 w 3546087"/>
              <a:gd name="connsiteY48-316" fmla="*/ 2509024 h 3055434"/>
              <a:gd name="connsiteX49-317" fmla="*/ 144966 w 3546087"/>
              <a:gd name="connsiteY49-318" fmla="*/ 2598234 h 3055434"/>
              <a:gd name="connsiteX50-319" fmla="*/ 66907 w 3546087"/>
              <a:gd name="connsiteY50-320" fmla="*/ 2642839 h 3055434"/>
              <a:gd name="connsiteX51-321" fmla="*/ 55756 w 3546087"/>
              <a:gd name="connsiteY51-322" fmla="*/ 2732048 h 3055434"/>
              <a:gd name="connsiteX52-323" fmla="*/ 44605 w 3546087"/>
              <a:gd name="connsiteY52-324" fmla="*/ 2932770 h 3055434"/>
              <a:gd name="connsiteX0-325" fmla="*/ 0 w 3546087"/>
              <a:gd name="connsiteY0-326" fmla="*/ 3055434 h 3055434"/>
              <a:gd name="connsiteX1-327" fmla="*/ 55756 w 3546087"/>
              <a:gd name="connsiteY1-328" fmla="*/ 2877014 h 3055434"/>
              <a:gd name="connsiteX2-329" fmla="*/ 1683834 w 3546087"/>
              <a:gd name="connsiteY2-330" fmla="*/ 2219092 h 3055434"/>
              <a:gd name="connsiteX3-331" fmla="*/ 1706136 w 3546087"/>
              <a:gd name="connsiteY3-332" fmla="*/ 1427356 h 3055434"/>
              <a:gd name="connsiteX4-333" fmla="*/ 2821258 w 3546087"/>
              <a:gd name="connsiteY4-334" fmla="*/ 1416205 h 3055434"/>
              <a:gd name="connsiteX5-335" fmla="*/ 2810107 w 3546087"/>
              <a:gd name="connsiteY5-336" fmla="*/ 568712 h 3055434"/>
              <a:gd name="connsiteX6-337" fmla="*/ 2966224 w 3546087"/>
              <a:gd name="connsiteY6-338" fmla="*/ 468351 h 3055434"/>
              <a:gd name="connsiteX7-339" fmla="*/ 3311912 w 3546087"/>
              <a:gd name="connsiteY7-340" fmla="*/ 289931 h 3055434"/>
              <a:gd name="connsiteX8-341" fmla="*/ 3546087 w 3546087"/>
              <a:gd name="connsiteY8-342" fmla="*/ 301083 h 3055434"/>
              <a:gd name="connsiteX9-343" fmla="*/ 3546087 w 3546087"/>
              <a:gd name="connsiteY9-344" fmla="*/ 133814 h 3055434"/>
              <a:gd name="connsiteX10-345" fmla="*/ 3501483 w 3546087"/>
              <a:gd name="connsiteY10-346" fmla="*/ 55756 h 3055434"/>
              <a:gd name="connsiteX11-347" fmla="*/ 3490331 w 3546087"/>
              <a:gd name="connsiteY11-348" fmla="*/ 22302 h 3055434"/>
              <a:gd name="connsiteX12-349" fmla="*/ 3434575 w 3546087"/>
              <a:gd name="connsiteY12-350" fmla="*/ 0 h 3055434"/>
              <a:gd name="connsiteX13-351" fmla="*/ 3423424 w 3546087"/>
              <a:gd name="connsiteY13-352" fmla="*/ 44605 h 3055434"/>
              <a:gd name="connsiteX14-353" fmla="*/ 3300761 w 3546087"/>
              <a:gd name="connsiteY14-354" fmla="*/ 11151 h 3055434"/>
              <a:gd name="connsiteX15-355" fmla="*/ 3267307 w 3546087"/>
              <a:gd name="connsiteY15-356" fmla="*/ 100361 h 3055434"/>
              <a:gd name="connsiteX16-357" fmla="*/ 3155795 w 3546087"/>
              <a:gd name="connsiteY16-358" fmla="*/ 66907 h 3055434"/>
              <a:gd name="connsiteX17-359" fmla="*/ 3111190 w 3546087"/>
              <a:gd name="connsiteY17-360" fmla="*/ 100361 h 3055434"/>
              <a:gd name="connsiteX18-361" fmla="*/ 3033131 w 3546087"/>
              <a:gd name="connsiteY18-362" fmla="*/ 100361 h 3055434"/>
              <a:gd name="connsiteX19-363" fmla="*/ 3033131 w 3546087"/>
              <a:gd name="connsiteY19-364" fmla="*/ 100361 h 3055434"/>
              <a:gd name="connsiteX20-365" fmla="*/ 2955073 w 3546087"/>
              <a:gd name="connsiteY20-366" fmla="*/ 144966 h 3055434"/>
              <a:gd name="connsiteX21-367" fmla="*/ 2877014 w 3546087"/>
              <a:gd name="connsiteY21-368" fmla="*/ 178419 h 3055434"/>
              <a:gd name="connsiteX22-369" fmla="*/ 2821258 w 3546087"/>
              <a:gd name="connsiteY22-370" fmla="*/ 178419 h 3055434"/>
              <a:gd name="connsiteX23-371" fmla="*/ 2821258 w 3546087"/>
              <a:gd name="connsiteY23-372" fmla="*/ 178419 h 3055434"/>
              <a:gd name="connsiteX24-373" fmla="*/ 2821258 w 3546087"/>
              <a:gd name="connsiteY24-374" fmla="*/ 334536 h 3055434"/>
              <a:gd name="connsiteX25-375" fmla="*/ 2687444 w 3546087"/>
              <a:gd name="connsiteY25-376" fmla="*/ 312234 h 3055434"/>
              <a:gd name="connsiteX26-377" fmla="*/ 2598234 w 3546087"/>
              <a:gd name="connsiteY26-378" fmla="*/ 367990 h 3055434"/>
              <a:gd name="connsiteX27-379" fmla="*/ 2486722 w 3546087"/>
              <a:gd name="connsiteY27-380" fmla="*/ 401444 h 3055434"/>
              <a:gd name="connsiteX28-381" fmla="*/ 2430966 w 3546087"/>
              <a:gd name="connsiteY28-382" fmla="*/ 356839 h 3055434"/>
              <a:gd name="connsiteX29-383" fmla="*/ 2397512 w 3546087"/>
              <a:gd name="connsiteY29-384" fmla="*/ 390292 h 3055434"/>
              <a:gd name="connsiteX30-385" fmla="*/ 2319453 w 3546087"/>
              <a:gd name="connsiteY30-386" fmla="*/ 446048 h 3055434"/>
              <a:gd name="connsiteX31-387" fmla="*/ 2207941 w 3546087"/>
              <a:gd name="connsiteY31-388" fmla="*/ 434897 h 3055434"/>
              <a:gd name="connsiteX32-389" fmla="*/ 1973766 w 3546087"/>
              <a:gd name="connsiteY32-390" fmla="*/ 568712 h 3055434"/>
              <a:gd name="connsiteX33-391" fmla="*/ 1851102 w 3546087"/>
              <a:gd name="connsiteY33-392" fmla="*/ 680224 h 3055434"/>
              <a:gd name="connsiteX34-393" fmla="*/ 1382751 w 3546087"/>
              <a:gd name="connsiteY34-394" fmla="*/ 802887 h 3055434"/>
              <a:gd name="connsiteX35-395" fmla="*/ 1315844 w 3546087"/>
              <a:gd name="connsiteY35-396" fmla="*/ 858644 h 3055434"/>
              <a:gd name="connsiteX36-397" fmla="*/ 1182029 w 3546087"/>
              <a:gd name="connsiteY36-398" fmla="*/ 1182029 h 3055434"/>
              <a:gd name="connsiteX37-399" fmla="*/ 869795 w 3546087"/>
              <a:gd name="connsiteY37-400" fmla="*/ 1349297 h 3055434"/>
              <a:gd name="connsiteX38-401" fmla="*/ 847492 w 3546087"/>
              <a:gd name="connsiteY38-402" fmla="*/ 1494263 h 3055434"/>
              <a:gd name="connsiteX39-403" fmla="*/ 769434 w 3546087"/>
              <a:gd name="connsiteY39-404" fmla="*/ 1605775 h 3055434"/>
              <a:gd name="connsiteX40-405" fmla="*/ 747131 w 3546087"/>
              <a:gd name="connsiteY40-406" fmla="*/ 1839951 h 3055434"/>
              <a:gd name="connsiteX41-407" fmla="*/ 457200 w 3546087"/>
              <a:gd name="connsiteY41-408" fmla="*/ 2085278 h 3055434"/>
              <a:gd name="connsiteX42-409" fmla="*/ 379141 w 3546087"/>
              <a:gd name="connsiteY42-410" fmla="*/ 2230244 h 3055434"/>
              <a:gd name="connsiteX43-411" fmla="*/ 301083 w 3546087"/>
              <a:gd name="connsiteY43-412" fmla="*/ 2352907 h 3055434"/>
              <a:gd name="connsiteX44-413" fmla="*/ 301083 w 3546087"/>
              <a:gd name="connsiteY44-414" fmla="*/ 2352907 h 3055434"/>
              <a:gd name="connsiteX45-415" fmla="*/ 245327 w 3546087"/>
              <a:gd name="connsiteY45-416" fmla="*/ 2419814 h 3055434"/>
              <a:gd name="connsiteX46-417" fmla="*/ 234175 w 3546087"/>
              <a:gd name="connsiteY46-418" fmla="*/ 2509024 h 3055434"/>
              <a:gd name="connsiteX47-419" fmla="*/ 234175 w 3546087"/>
              <a:gd name="connsiteY47-420" fmla="*/ 2509024 h 3055434"/>
              <a:gd name="connsiteX48-421" fmla="*/ 144966 w 3546087"/>
              <a:gd name="connsiteY48-422" fmla="*/ 2598234 h 3055434"/>
              <a:gd name="connsiteX49-423" fmla="*/ 66907 w 3546087"/>
              <a:gd name="connsiteY49-424" fmla="*/ 2642839 h 3055434"/>
              <a:gd name="connsiteX50-425" fmla="*/ 55756 w 3546087"/>
              <a:gd name="connsiteY50-426" fmla="*/ 2732048 h 3055434"/>
              <a:gd name="connsiteX51-427" fmla="*/ 44605 w 3546087"/>
              <a:gd name="connsiteY51-428" fmla="*/ 2932770 h 3055434"/>
              <a:gd name="connsiteX0-429" fmla="*/ 0 w 3546087"/>
              <a:gd name="connsiteY0-430" fmla="*/ 3055434 h 3055434"/>
              <a:gd name="connsiteX1-431" fmla="*/ 55756 w 3546087"/>
              <a:gd name="connsiteY1-432" fmla="*/ 2877014 h 3055434"/>
              <a:gd name="connsiteX2-433" fmla="*/ 1683834 w 3546087"/>
              <a:gd name="connsiteY2-434" fmla="*/ 2219092 h 3055434"/>
              <a:gd name="connsiteX3-435" fmla="*/ 1706136 w 3546087"/>
              <a:gd name="connsiteY3-436" fmla="*/ 1427356 h 3055434"/>
              <a:gd name="connsiteX4-437" fmla="*/ 2821258 w 3546087"/>
              <a:gd name="connsiteY4-438" fmla="*/ 1416205 h 3055434"/>
              <a:gd name="connsiteX5-439" fmla="*/ 2810107 w 3546087"/>
              <a:gd name="connsiteY5-440" fmla="*/ 568712 h 3055434"/>
              <a:gd name="connsiteX6-441" fmla="*/ 2966224 w 3546087"/>
              <a:gd name="connsiteY6-442" fmla="*/ 468351 h 3055434"/>
              <a:gd name="connsiteX7-443" fmla="*/ 3311912 w 3546087"/>
              <a:gd name="connsiteY7-444" fmla="*/ 289931 h 3055434"/>
              <a:gd name="connsiteX8-445" fmla="*/ 3546087 w 3546087"/>
              <a:gd name="connsiteY8-446" fmla="*/ 301083 h 3055434"/>
              <a:gd name="connsiteX9-447" fmla="*/ 3546087 w 3546087"/>
              <a:gd name="connsiteY9-448" fmla="*/ 133814 h 3055434"/>
              <a:gd name="connsiteX10-449" fmla="*/ 3501483 w 3546087"/>
              <a:gd name="connsiteY10-450" fmla="*/ 55756 h 3055434"/>
              <a:gd name="connsiteX11-451" fmla="*/ 3490331 w 3546087"/>
              <a:gd name="connsiteY11-452" fmla="*/ 22302 h 3055434"/>
              <a:gd name="connsiteX12-453" fmla="*/ 3434575 w 3546087"/>
              <a:gd name="connsiteY12-454" fmla="*/ 0 h 3055434"/>
              <a:gd name="connsiteX13-455" fmla="*/ 3423424 w 3546087"/>
              <a:gd name="connsiteY13-456" fmla="*/ 44605 h 3055434"/>
              <a:gd name="connsiteX14-457" fmla="*/ 3300761 w 3546087"/>
              <a:gd name="connsiteY14-458" fmla="*/ 11151 h 3055434"/>
              <a:gd name="connsiteX15-459" fmla="*/ 3267307 w 3546087"/>
              <a:gd name="connsiteY15-460" fmla="*/ 100361 h 3055434"/>
              <a:gd name="connsiteX16-461" fmla="*/ 3155795 w 3546087"/>
              <a:gd name="connsiteY16-462" fmla="*/ 66907 h 3055434"/>
              <a:gd name="connsiteX17-463" fmla="*/ 3111190 w 3546087"/>
              <a:gd name="connsiteY17-464" fmla="*/ 100361 h 3055434"/>
              <a:gd name="connsiteX18-465" fmla="*/ 3033131 w 3546087"/>
              <a:gd name="connsiteY18-466" fmla="*/ 100361 h 3055434"/>
              <a:gd name="connsiteX19-467" fmla="*/ 3033131 w 3546087"/>
              <a:gd name="connsiteY19-468" fmla="*/ 100361 h 3055434"/>
              <a:gd name="connsiteX20-469" fmla="*/ 2955073 w 3546087"/>
              <a:gd name="connsiteY20-470" fmla="*/ 144966 h 3055434"/>
              <a:gd name="connsiteX21-471" fmla="*/ 2877014 w 3546087"/>
              <a:gd name="connsiteY21-472" fmla="*/ 178419 h 3055434"/>
              <a:gd name="connsiteX22-473" fmla="*/ 2821258 w 3546087"/>
              <a:gd name="connsiteY22-474" fmla="*/ 178419 h 3055434"/>
              <a:gd name="connsiteX23-475" fmla="*/ 2821258 w 3546087"/>
              <a:gd name="connsiteY23-476" fmla="*/ 178419 h 3055434"/>
              <a:gd name="connsiteX24-477" fmla="*/ 2821258 w 3546087"/>
              <a:gd name="connsiteY24-478" fmla="*/ 334536 h 3055434"/>
              <a:gd name="connsiteX25-479" fmla="*/ 2687444 w 3546087"/>
              <a:gd name="connsiteY25-480" fmla="*/ 312234 h 3055434"/>
              <a:gd name="connsiteX26-481" fmla="*/ 2598234 w 3546087"/>
              <a:gd name="connsiteY26-482" fmla="*/ 367990 h 3055434"/>
              <a:gd name="connsiteX27-483" fmla="*/ 2486722 w 3546087"/>
              <a:gd name="connsiteY27-484" fmla="*/ 401444 h 3055434"/>
              <a:gd name="connsiteX28-485" fmla="*/ 2430966 w 3546087"/>
              <a:gd name="connsiteY28-486" fmla="*/ 356839 h 3055434"/>
              <a:gd name="connsiteX29-487" fmla="*/ 2397512 w 3546087"/>
              <a:gd name="connsiteY29-488" fmla="*/ 390292 h 3055434"/>
              <a:gd name="connsiteX30-489" fmla="*/ 2319453 w 3546087"/>
              <a:gd name="connsiteY30-490" fmla="*/ 446048 h 3055434"/>
              <a:gd name="connsiteX31-491" fmla="*/ 2207941 w 3546087"/>
              <a:gd name="connsiteY31-492" fmla="*/ 434897 h 3055434"/>
              <a:gd name="connsiteX32-493" fmla="*/ 1973766 w 3546087"/>
              <a:gd name="connsiteY32-494" fmla="*/ 568712 h 3055434"/>
              <a:gd name="connsiteX33-495" fmla="*/ 1851102 w 3546087"/>
              <a:gd name="connsiteY33-496" fmla="*/ 680224 h 3055434"/>
              <a:gd name="connsiteX34-497" fmla="*/ 1382751 w 3546087"/>
              <a:gd name="connsiteY34-498" fmla="*/ 802887 h 3055434"/>
              <a:gd name="connsiteX35-499" fmla="*/ 1315844 w 3546087"/>
              <a:gd name="connsiteY35-500" fmla="*/ 858644 h 3055434"/>
              <a:gd name="connsiteX36-501" fmla="*/ 1182029 w 3546087"/>
              <a:gd name="connsiteY36-502" fmla="*/ 1182029 h 3055434"/>
              <a:gd name="connsiteX37-503" fmla="*/ 869795 w 3546087"/>
              <a:gd name="connsiteY37-504" fmla="*/ 1349297 h 3055434"/>
              <a:gd name="connsiteX38-505" fmla="*/ 847492 w 3546087"/>
              <a:gd name="connsiteY38-506" fmla="*/ 1494263 h 3055434"/>
              <a:gd name="connsiteX39-507" fmla="*/ 769434 w 3546087"/>
              <a:gd name="connsiteY39-508" fmla="*/ 1605775 h 3055434"/>
              <a:gd name="connsiteX40-509" fmla="*/ 747131 w 3546087"/>
              <a:gd name="connsiteY40-510" fmla="*/ 1839951 h 3055434"/>
              <a:gd name="connsiteX41-511" fmla="*/ 457200 w 3546087"/>
              <a:gd name="connsiteY41-512" fmla="*/ 2085278 h 3055434"/>
              <a:gd name="connsiteX42-513" fmla="*/ 379141 w 3546087"/>
              <a:gd name="connsiteY42-514" fmla="*/ 2230244 h 3055434"/>
              <a:gd name="connsiteX43-515" fmla="*/ 301083 w 3546087"/>
              <a:gd name="connsiteY43-516" fmla="*/ 2352907 h 3055434"/>
              <a:gd name="connsiteX44-517" fmla="*/ 301083 w 3546087"/>
              <a:gd name="connsiteY44-518" fmla="*/ 2352907 h 3055434"/>
              <a:gd name="connsiteX45-519" fmla="*/ 245327 w 3546087"/>
              <a:gd name="connsiteY45-520" fmla="*/ 2419814 h 3055434"/>
              <a:gd name="connsiteX46-521" fmla="*/ 234175 w 3546087"/>
              <a:gd name="connsiteY46-522" fmla="*/ 2509024 h 3055434"/>
              <a:gd name="connsiteX47-523" fmla="*/ 234175 w 3546087"/>
              <a:gd name="connsiteY47-524" fmla="*/ 2509024 h 3055434"/>
              <a:gd name="connsiteX48-525" fmla="*/ 144966 w 3546087"/>
              <a:gd name="connsiteY48-526" fmla="*/ 2598234 h 3055434"/>
              <a:gd name="connsiteX49-527" fmla="*/ 66907 w 3546087"/>
              <a:gd name="connsiteY49-528" fmla="*/ 2642839 h 3055434"/>
              <a:gd name="connsiteX50-529" fmla="*/ 55756 w 3546087"/>
              <a:gd name="connsiteY50-530" fmla="*/ 2732048 h 3055434"/>
              <a:gd name="connsiteX0-531" fmla="*/ 0 w 3546087"/>
              <a:gd name="connsiteY0-532" fmla="*/ 3055434 h 3055434"/>
              <a:gd name="connsiteX1-533" fmla="*/ 1683834 w 3546087"/>
              <a:gd name="connsiteY1-534" fmla="*/ 2219092 h 3055434"/>
              <a:gd name="connsiteX2-535" fmla="*/ 1706136 w 3546087"/>
              <a:gd name="connsiteY2-536" fmla="*/ 1427356 h 3055434"/>
              <a:gd name="connsiteX3-537" fmla="*/ 2821258 w 3546087"/>
              <a:gd name="connsiteY3-538" fmla="*/ 1416205 h 3055434"/>
              <a:gd name="connsiteX4-539" fmla="*/ 2810107 w 3546087"/>
              <a:gd name="connsiteY4-540" fmla="*/ 568712 h 3055434"/>
              <a:gd name="connsiteX5-541" fmla="*/ 2966224 w 3546087"/>
              <a:gd name="connsiteY5-542" fmla="*/ 468351 h 3055434"/>
              <a:gd name="connsiteX6-543" fmla="*/ 3311912 w 3546087"/>
              <a:gd name="connsiteY6-544" fmla="*/ 289931 h 3055434"/>
              <a:gd name="connsiteX7-545" fmla="*/ 3546087 w 3546087"/>
              <a:gd name="connsiteY7-546" fmla="*/ 301083 h 3055434"/>
              <a:gd name="connsiteX8-547" fmla="*/ 3546087 w 3546087"/>
              <a:gd name="connsiteY8-548" fmla="*/ 133814 h 3055434"/>
              <a:gd name="connsiteX9-549" fmla="*/ 3501483 w 3546087"/>
              <a:gd name="connsiteY9-550" fmla="*/ 55756 h 3055434"/>
              <a:gd name="connsiteX10-551" fmla="*/ 3490331 w 3546087"/>
              <a:gd name="connsiteY10-552" fmla="*/ 22302 h 3055434"/>
              <a:gd name="connsiteX11-553" fmla="*/ 3434575 w 3546087"/>
              <a:gd name="connsiteY11-554" fmla="*/ 0 h 3055434"/>
              <a:gd name="connsiteX12-555" fmla="*/ 3423424 w 3546087"/>
              <a:gd name="connsiteY12-556" fmla="*/ 44605 h 3055434"/>
              <a:gd name="connsiteX13-557" fmla="*/ 3300761 w 3546087"/>
              <a:gd name="connsiteY13-558" fmla="*/ 11151 h 3055434"/>
              <a:gd name="connsiteX14-559" fmla="*/ 3267307 w 3546087"/>
              <a:gd name="connsiteY14-560" fmla="*/ 100361 h 3055434"/>
              <a:gd name="connsiteX15-561" fmla="*/ 3155795 w 3546087"/>
              <a:gd name="connsiteY15-562" fmla="*/ 66907 h 3055434"/>
              <a:gd name="connsiteX16-563" fmla="*/ 3111190 w 3546087"/>
              <a:gd name="connsiteY16-564" fmla="*/ 100361 h 3055434"/>
              <a:gd name="connsiteX17-565" fmla="*/ 3033131 w 3546087"/>
              <a:gd name="connsiteY17-566" fmla="*/ 100361 h 3055434"/>
              <a:gd name="connsiteX18-567" fmla="*/ 3033131 w 3546087"/>
              <a:gd name="connsiteY18-568" fmla="*/ 100361 h 3055434"/>
              <a:gd name="connsiteX19-569" fmla="*/ 2955073 w 3546087"/>
              <a:gd name="connsiteY19-570" fmla="*/ 144966 h 3055434"/>
              <a:gd name="connsiteX20-571" fmla="*/ 2877014 w 3546087"/>
              <a:gd name="connsiteY20-572" fmla="*/ 178419 h 3055434"/>
              <a:gd name="connsiteX21-573" fmla="*/ 2821258 w 3546087"/>
              <a:gd name="connsiteY21-574" fmla="*/ 178419 h 3055434"/>
              <a:gd name="connsiteX22-575" fmla="*/ 2821258 w 3546087"/>
              <a:gd name="connsiteY22-576" fmla="*/ 178419 h 3055434"/>
              <a:gd name="connsiteX23-577" fmla="*/ 2821258 w 3546087"/>
              <a:gd name="connsiteY23-578" fmla="*/ 334536 h 3055434"/>
              <a:gd name="connsiteX24-579" fmla="*/ 2687444 w 3546087"/>
              <a:gd name="connsiteY24-580" fmla="*/ 312234 h 3055434"/>
              <a:gd name="connsiteX25-581" fmla="*/ 2598234 w 3546087"/>
              <a:gd name="connsiteY25-582" fmla="*/ 367990 h 3055434"/>
              <a:gd name="connsiteX26-583" fmla="*/ 2486722 w 3546087"/>
              <a:gd name="connsiteY26-584" fmla="*/ 401444 h 3055434"/>
              <a:gd name="connsiteX27-585" fmla="*/ 2430966 w 3546087"/>
              <a:gd name="connsiteY27-586" fmla="*/ 356839 h 3055434"/>
              <a:gd name="connsiteX28-587" fmla="*/ 2397512 w 3546087"/>
              <a:gd name="connsiteY28-588" fmla="*/ 390292 h 3055434"/>
              <a:gd name="connsiteX29-589" fmla="*/ 2319453 w 3546087"/>
              <a:gd name="connsiteY29-590" fmla="*/ 446048 h 3055434"/>
              <a:gd name="connsiteX30-591" fmla="*/ 2207941 w 3546087"/>
              <a:gd name="connsiteY30-592" fmla="*/ 434897 h 3055434"/>
              <a:gd name="connsiteX31-593" fmla="*/ 1973766 w 3546087"/>
              <a:gd name="connsiteY31-594" fmla="*/ 568712 h 3055434"/>
              <a:gd name="connsiteX32-595" fmla="*/ 1851102 w 3546087"/>
              <a:gd name="connsiteY32-596" fmla="*/ 680224 h 3055434"/>
              <a:gd name="connsiteX33-597" fmla="*/ 1382751 w 3546087"/>
              <a:gd name="connsiteY33-598" fmla="*/ 802887 h 3055434"/>
              <a:gd name="connsiteX34-599" fmla="*/ 1315844 w 3546087"/>
              <a:gd name="connsiteY34-600" fmla="*/ 858644 h 3055434"/>
              <a:gd name="connsiteX35-601" fmla="*/ 1182029 w 3546087"/>
              <a:gd name="connsiteY35-602" fmla="*/ 1182029 h 3055434"/>
              <a:gd name="connsiteX36-603" fmla="*/ 869795 w 3546087"/>
              <a:gd name="connsiteY36-604" fmla="*/ 1349297 h 3055434"/>
              <a:gd name="connsiteX37-605" fmla="*/ 847492 w 3546087"/>
              <a:gd name="connsiteY37-606" fmla="*/ 1494263 h 3055434"/>
              <a:gd name="connsiteX38-607" fmla="*/ 769434 w 3546087"/>
              <a:gd name="connsiteY38-608" fmla="*/ 1605775 h 3055434"/>
              <a:gd name="connsiteX39-609" fmla="*/ 747131 w 3546087"/>
              <a:gd name="connsiteY39-610" fmla="*/ 1839951 h 3055434"/>
              <a:gd name="connsiteX40-611" fmla="*/ 457200 w 3546087"/>
              <a:gd name="connsiteY40-612" fmla="*/ 2085278 h 3055434"/>
              <a:gd name="connsiteX41-613" fmla="*/ 379141 w 3546087"/>
              <a:gd name="connsiteY41-614" fmla="*/ 2230244 h 3055434"/>
              <a:gd name="connsiteX42-615" fmla="*/ 301083 w 3546087"/>
              <a:gd name="connsiteY42-616" fmla="*/ 2352907 h 3055434"/>
              <a:gd name="connsiteX43-617" fmla="*/ 301083 w 3546087"/>
              <a:gd name="connsiteY43-618" fmla="*/ 2352907 h 3055434"/>
              <a:gd name="connsiteX44-619" fmla="*/ 245327 w 3546087"/>
              <a:gd name="connsiteY44-620" fmla="*/ 2419814 h 3055434"/>
              <a:gd name="connsiteX45-621" fmla="*/ 234175 w 3546087"/>
              <a:gd name="connsiteY45-622" fmla="*/ 2509024 h 3055434"/>
              <a:gd name="connsiteX46-623" fmla="*/ 234175 w 3546087"/>
              <a:gd name="connsiteY46-624" fmla="*/ 2509024 h 3055434"/>
              <a:gd name="connsiteX47-625" fmla="*/ 144966 w 3546087"/>
              <a:gd name="connsiteY47-626" fmla="*/ 2598234 h 3055434"/>
              <a:gd name="connsiteX48-627" fmla="*/ 66907 w 3546087"/>
              <a:gd name="connsiteY48-628" fmla="*/ 2642839 h 3055434"/>
              <a:gd name="connsiteX49-629" fmla="*/ 55756 w 3546087"/>
              <a:gd name="connsiteY49-630" fmla="*/ 2732048 h 3055434"/>
              <a:gd name="connsiteX0-631" fmla="*/ 1628078 w 3490331"/>
              <a:gd name="connsiteY0-632" fmla="*/ 2219092 h 2732048"/>
              <a:gd name="connsiteX1-633" fmla="*/ 1650380 w 3490331"/>
              <a:gd name="connsiteY1-634" fmla="*/ 1427356 h 2732048"/>
              <a:gd name="connsiteX2-635" fmla="*/ 2765502 w 3490331"/>
              <a:gd name="connsiteY2-636" fmla="*/ 1416205 h 2732048"/>
              <a:gd name="connsiteX3-637" fmla="*/ 2754351 w 3490331"/>
              <a:gd name="connsiteY3-638" fmla="*/ 568712 h 2732048"/>
              <a:gd name="connsiteX4-639" fmla="*/ 2910468 w 3490331"/>
              <a:gd name="connsiteY4-640" fmla="*/ 468351 h 2732048"/>
              <a:gd name="connsiteX5-641" fmla="*/ 3256156 w 3490331"/>
              <a:gd name="connsiteY5-642" fmla="*/ 289931 h 2732048"/>
              <a:gd name="connsiteX6-643" fmla="*/ 3490331 w 3490331"/>
              <a:gd name="connsiteY6-644" fmla="*/ 301083 h 2732048"/>
              <a:gd name="connsiteX7-645" fmla="*/ 3490331 w 3490331"/>
              <a:gd name="connsiteY7-646" fmla="*/ 133814 h 2732048"/>
              <a:gd name="connsiteX8-647" fmla="*/ 3445727 w 3490331"/>
              <a:gd name="connsiteY8-648" fmla="*/ 55756 h 2732048"/>
              <a:gd name="connsiteX9-649" fmla="*/ 3434575 w 3490331"/>
              <a:gd name="connsiteY9-650" fmla="*/ 22302 h 2732048"/>
              <a:gd name="connsiteX10-651" fmla="*/ 3378819 w 3490331"/>
              <a:gd name="connsiteY10-652" fmla="*/ 0 h 2732048"/>
              <a:gd name="connsiteX11-653" fmla="*/ 3367668 w 3490331"/>
              <a:gd name="connsiteY11-654" fmla="*/ 44605 h 2732048"/>
              <a:gd name="connsiteX12-655" fmla="*/ 3245005 w 3490331"/>
              <a:gd name="connsiteY12-656" fmla="*/ 11151 h 2732048"/>
              <a:gd name="connsiteX13-657" fmla="*/ 3211551 w 3490331"/>
              <a:gd name="connsiteY13-658" fmla="*/ 100361 h 2732048"/>
              <a:gd name="connsiteX14-659" fmla="*/ 3100039 w 3490331"/>
              <a:gd name="connsiteY14-660" fmla="*/ 66907 h 2732048"/>
              <a:gd name="connsiteX15-661" fmla="*/ 3055434 w 3490331"/>
              <a:gd name="connsiteY15-662" fmla="*/ 100361 h 2732048"/>
              <a:gd name="connsiteX16-663" fmla="*/ 2977375 w 3490331"/>
              <a:gd name="connsiteY16-664" fmla="*/ 100361 h 2732048"/>
              <a:gd name="connsiteX17-665" fmla="*/ 2977375 w 3490331"/>
              <a:gd name="connsiteY17-666" fmla="*/ 100361 h 2732048"/>
              <a:gd name="connsiteX18-667" fmla="*/ 2899317 w 3490331"/>
              <a:gd name="connsiteY18-668" fmla="*/ 144966 h 2732048"/>
              <a:gd name="connsiteX19-669" fmla="*/ 2821258 w 3490331"/>
              <a:gd name="connsiteY19-670" fmla="*/ 178419 h 2732048"/>
              <a:gd name="connsiteX20-671" fmla="*/ 2765502 w 3490331"/>
              <a:gd name="connsiteY20-672" fmla="*/ 178419 h 2732048"/>
              <a:gd name="connsiteX21-673" fmla="*/ 2765502 w 3490331"/>
              <a:gd name="connsiteY21-674" fmla="*/ 178419 h 2732048"/>
              <a:gd name="connsiteX22-675" fmla="*/ 2765502 w 3490331"/>
              <a:gd name="connsiteY22-676" fmla="*/ 334536 h 2732048"/>
              <a:gd name="connsiteX23-677" fmla="*/ 2631688 w 3490331"/>
              <a:gd name="connsiteY23-678" fmla="*/ 312234 h 2732048"/>
              <a:gd name="connsiteX24-679" fmla="*/ 2542478 w 3490331"/>
              <a:gd name="connsiteY24-680" fmla="*/ 367990 h 2732048"/>
              <a:gd name="connsiteX25-681" fmla="*/ 2430966 w 3490331"/>
              <a:gd name="connsiteY25-682" fmla="*/ 401444 h 2732048"/>
              <a:gd name="connsiteX26-683" fmla="*/ 2375210 w 3490331"/>
              <a:gd name="connsiteY26-684" fmla="*/ 356839 h 2732048"/>
              <a:gd name="connsiteX27-685" fmla="*/ 2341756 w 3490331"/>
              <a:gd name="connsiteY27-686" fmla="*/ 390292 h 2732048"/>
              <a:gd name="connsiteX28-687" fmla="*/ 2263697 w 3490331"/>
              <a:gd name="connsiteY28-688" fmla="*/ 446048 h 2732048"/>
              <a:gd name="connsiteX29-689" fmla="*/ 2152185 w 3490331"/>
              <a:gd name="connsiteY29-690" fmla="*/ 434897 h 2732048"/>
              <a:gd name="connsiteX30-691" fmla="*/ 1918010 w 3490331"/>
              <a:gd name="connsiteY30-692" fmla="*/ 568712 h 2732048"/>
              <a:gd name="connsiteX31-693" fmla="*/ 1795346 w 3490331"/>
              <a:gd name="connsiteY31-694" fmla="*/ 680224 h 2732048"/>
              <a:gd name="connsiteX32-695" fmla="*/ 1326995 w 3490331"/>
              <a:gd name="connsiteY32-696" fmla="*/ 802887 h 2732048"/>
              <a:gd name="connsiteX33-697" fmla="*/ 1260088 w 3490331"/>
              <a:gd name="connsiteY33-698" fmla="*/ 858644 h 2732048"/>
              <a:gd name="connsiteX34-699" fmla="*/ 1126273 w 3490331"/>
              <a:gd name="connsiteY34-700" fmla="*/ 1182029 h 2732048"/>
              <a:gd name="connsiteX35-701" fmla="*/ 814039 w 3490331"/>
              <a:gd name="connsiteY35-702" fmla="*/ 1349297 h 2732048"/>
              <a:gd name="connsiteX36-703" fmla="*/ 791736 w 3490331"/>
              <a:gd name="connsiteY36-704" fmla="*/ 1494263 h 2732048"/>
              <a:gd name="connsiteX37-705" fmla="*/ 713678 w 3490331"/>
              <a:gd name="connsiteY37-706" fmla="*/ 1605775 h 2732048"/>
              <a:gd name="connsiteX38-707" fmla="*/ 691375 w 3490331"/>
              <a:gd name="connsiteY38-708" fmla="*/ 1839951 h 2732048"/>
              <a:gd name="connsiteX39-709" fmla="*/ 401444 w 3490331"/>
              <a:gd name="connsiteY39-710" fmla="*/ 2085278 h 2732048"/>
              <a:gd name="connsiteX40-711" fmla="*/ 323385 w 3490331"/>
              <a:gd name="connsiteY40-712" fmla="*/ 2230244 h 2732048"/>
              <a:gd name="connsiteX41-713" fmla="*/ 245327 w 3490331"/>
              <a:gd name="connsiteY41-714" fmla="*/ 2352907 h 2732048"/>
              <a:gd name="connsiteX42-715" fmla="*/ 245327 w 3490331"/>
              <a:gd name="connsiteY42-716" fmla="*/ 2352907 h 2732048"/>
              <a:gd name="connsiteX43-717" fmla="*/ 189571 w 3490331"/>
              <a:gd name="connsiteY43-718" fmla="*/ 2419814 h 2732048"/>
              <a:gd name="connsiteX44-719" fmla="*/ 178419 w 3490331"/>
              <a:gd name="connsiteY44-720" fmla="*/ 2509024 h 2732048"/>
              <a:gd name="connsiteX45-721" fmla="*/ 178419 w 3490331"/>
              <a:gd name="connsiteY45-722" fmla="*/ 2509024 h 2732048"/>
              <a:gd name="connsiteX46-723" fmla="*/ 89210 w 3490331"/>
              <a:gd name="connsiteY46-724" fmla="*/ 2598234 h 2732048"/>
              <a:gd name="connsiteX47-725" fmla="*/ 11151 w 3490331"/>
              <a:gd name="connsiteY47-726" fmla="*/ 2642839 h 2732048"/>
              <a:gd name="connsiteX48-727" fmla="*/ 0 w 3490331"/>
              <a:gd name="connsiteY48-728" fmla="*/ 2732048 h 2732048"/>
              <a:gd name="connsiteX0-729" fmla="*/ 1616927 w 3479180"/>
              <a:gd name="connsiteY0-730" fmla="*/ 2219092 h 2642839"/>
              <a:gd name="connsiteX1-731" fmla="*/ 1639229 w 3479180"/>
              <a:gd name="connsiteY1-732" fmla="*/ 1427356 h 2642839"/>
              <a:gd name="connsiteX2-733" fmla="*/ 2754351 w 3479180"/>
              <a:gd name="connsiteY2-734" fmla="*/ 1416205 h 2642839"/>
              <a:gd name="connsiteX3-735" fmla="*/ 2743200 w 3479180"/>
              <a:gd name="connsiteY3-736" fmla="*/ 568712 h 2642839"/>
              <a:gd name="connsiteX4-737" fmla="*/ 2899317 w 3479180"/>
              <a:gd name="connsiteY4-738" fmla="*/ 468351 h 2642839"/>
              <a:gd name="connsiteX5-739" fmla="*/ 3245005 w 3479180"/>
              <a:gd name="connsiteY5-740" fmla="*/ 289931 h 2642839"/>
              <a:gd name="connsiteX6-741" fmla="*/ 3479180 w 3479180"/>
              <a:gd name="connsiteY6-742" fmla="*/ 301083 h 2642839"/>
              <a:gd name="connsiteX7-743" fmla="*/ 3479180 w 3479180"/>
              <a:gd name="connsiteY7-744" fmla="*/ 133814 h 2642839"/>
              <a:gd name="connsiteX8-745" fmla="*/ 3434576 w 3479180"/>
              <a:gd name="connsiteY8-746" fmla="*/ 55756 h 2642839"/>
              <a:gd name="connsiteX9-747" fmla="*/ 3423424 w 3479180"/>
              <a:gd name="connsiteY9-748" fmla="*/ 22302 h 2642839"/>
              <a:gd name="connsiteX10-749" fmla="*/ 3367668 w 3479180"/>
              <a:gd name="connsiteY10-750" fmla="*/ 0 h 2642839"/>
              <a:gd name="connsiteX11-751" fmla="*/ 3356517 w 3479180"/>
              <a:gd name="connsiteY11-752" fmla="*/ 44605 h 2642839"/>
              <a:gd name="connsiteX12-753" fmla="*/ 3233854 w 3479180"/>
              <a:gd name="connsiteY12-754" fmla="*/ 11151 h 2642839"/>
              <a:gd name="connsiteX13-755" fmla="*/ 3200400 w 3479180"/>
              <a:gd name="connsiteY13-756" fmla="*/ 100361 h 2642839"/>
              <a:gd name="connsiteX14-757" fmla="*/ 3088888 w 3479180"/>
              <a:gd name="connsiteY14-758" fmla="*/ 66907 h 2642839"/>
              <a:gd name="connsiteX15-759" fmla="*/ 3044283 w 3479180"/>
              <a:gd name="connsiteY15-760" fmla="*/ 100361 h 2642839"/>
              <a:gd name="connsiteX16-761" fmla="*/ 2966224 w 3479180"/>
              <a:gd name="connsiteY16-762" fmla="*/ 100361 h 2642839"/>
              <a:gd name="connsiteX17-763" fmla="*/ 2966224 w 3479180"/>
              <a:gd name="connsiteY17-764" fmla="*/ 100361 h 2642839"/>
              <a:gd name="connsiteX18-765" fmla="*/ 2888166 w 3479180"/>
              <a:gd name="connsiteY18-766" fmla="*/ 144966 h 2642839"/>
              <a:gd name="connsiteX19-767" fmla="*/ 2810107 w 3479180"/>
              <a:gd name="connsiteY19-768" fmla="*/ 178419 h 2642839"/>
              <a:gd name="connsiteX20-769" fmla="*/ 2754351 w 3479180"/>
              <a:gd name="connsiteY20-770" fmla="*/ 178419 h 2642839"/>
              <a:gd name="connsiteX21-771" fmla="*/ 2754351 w 3479180"/>
              <a:gd name="connsiteY21-772" fmla="*/ 178419 h 2642839"/>
              <a:gd name="connsiteX22-773" fmla="*/ 2754351 w 3479180"/>
              <a:gd name="connsiteY22-774" fmla="*/ 334536 h 2642839"/>
              <a:gd name="connsiteX23-775" fmla="*/ 2620537 w 3479180"/>
              <a:gd name="connsiteY23-776" fmla="*/ 312234 h 2642839"/>
              <a:gd name="connsiteX24-777" fmla="*/ 2531327 w 3479180"/>
              <a:gd name="connsiteY24-778" fmla="*/ 367990 h 2642839"/>
              <a:gd name="connsiteX25-779" fmla="*/ 2419815 w 3479180"/>
              <a:gd name="connsiteY25-780" fmla="*/ 401444 h 2642839"/>
              <a:gd name="connsiteX26-781" fmla="*/ 2364059 w 3479180"/>
              <a:gd name="connsiteY26-782" fmla="*/ 356839 h 2642839"/>
              <a:gd name="connsiteX27-783" fmla="*/ 2330605 w 3479180"/>
              <a:gd name="connsiteY27-784" fmla="*/ 390292 h 2642839"/>
              <a:gd name="connsiteX28-785" fmla="*/ 2252546 w 3479180"/>
              <a:gd name="connsiteY28-786" fmla="*/ 446048 h 2642839"/>
              <a:gd name="connsiteX29-787" fmla="*/ 2141034 w 3479180"/>
              <a:gd name="connsiteY29-788" fmla="*/ 434897 h 2642839"/>
              <a:gd name="connsiteX30-789" fmla="*/ 1906859 w 3479180"/>
              <a:gd name="connsiteY30-790" fmla="*/ 568712 h 2642839"/>
              <a:gd name="connsiteX31-791" fmla="*/ 1784195 w 3479180"/>
              <a:gd name="connsiteY31-792" fmla="*/ 680224 h 2642839"/>
              <a:gd name="connsiteX32-793" fmla="*/ 1315844 w 3479180"/>
              <a:gd name="connsiteY32-794" fmla="*/ 802887 h 2642839"/>
              <a:gd name="connsiteX33-795" fmla="*/ 1248937 w 3479180"/>
              <a:gd name="connsiteY33-796" fmla="*/ 858644 h 2642839"/>
              <a:gd name="connsiteX34-797" fmla="*/ 1115122 w 3479180"/>
              <a:gd name="connsiteY34-798" fmla="*/ 1182029 h 2642839"/>
              <a:gd name="connsiteX35-799" fmla="*/ 802888 w 3479180"/>
              <a:gd name="connsiteY35-800" fmla="*/ 1349297 h 2642839"/>
              <a:gd name="connsiteX36-801" fmla="*/ 780585 w 3479180"/>
              <a:gd name="connsiteY36-802" fmla="*/ 1494263 h 2642839"/>
              <a:gd name="connsiteX37-803" fmla="*/ 702527 w 3479180"/>
              <a:gd name="connsiteY37-804" fmla="*/ 1605775 h 2642839"/>
              <a:gd name="connsiteX38-805" fmla="*/ 680224 w 3479180"/>
              <a:gd name="connsiteY38-806" fmla="*/ 1839951 h 2642839"/>
              <a:gd name="connsiteX39-807" fmla="*/ 390293 w 3479180"/>
              <a:gd name="connsiteY39-808" fmla="*/ 2085278 h 2642839"/>
              <a:gd name="connsiteX40-809" fmla="*/ 312234 w 3479180"/>
              <a:gd name="connsiteY40-810" fmla="*/ 2230244 h 2642839"/>
              <a:gd name="connsiteX41-811" fmla="*/ 234176 w 3479180"/>
              <a:gd name="connsiteY41-812" fmla="*/ 2352907 h 2642839"/>
              <a:gd name="connsiteX42-813" fmla="*/ 234176 w 3479180"/>
              <a:gd name="connsiteY42-814" fmla="*/ 2352907 h 2642839"/>
              <a:gd name="connsiteX43-815" fmla="*/ 178420 w 3479180"/>
              <a:gd name="connsiteY43-816" fmla="*/ 2419814 h 2642839"/>
              <a:gd name="connsiteX44-817" fmla="*/ 167268 w 3479180"/>
              <a:gd name="connsiteY44-818" fmla="*/ 2509024 h 2642839"/>
              <a:gd name="connsiteX45-819" fmla="*/ 167268 w 3479180"/>
              <a:gd name="connsiteY45-820" fmla="*/ 2509024 h 2642839"/>
              <a:gd name="connsiteX46-821" fmla="*/ 78059 w 3479180"/>
              <a:gd name="connsiteY46-822" fmla="*/ 2598234 h 2642839"/>
              <a:gd name="connsiteX47-823" fmla="*/ 0 w 3479180"/>
              <a:gd name="connsiteY47-824" fmla="*/ 2642839 h 2642839"/>
              <a:gd name="connsiteX0-825" fmla="*/ 1538868 w 3401121"/>
              <a:gd name="connsiteY0-826" fmla="*/ 2219092 h 2598234"/>
              <a:gd name="connsiteX1-827" fmla="*/ 1561170 w 3401121"/>
              <a:gd name="connsiteY1-828" fmla="*/ 1427356 h 2598234"/>
              <a:gd name="connsiteX2-829" fmla="*/ 2676292 w 3401121"/>
              <a:gd name="connsiteY2-830" fmla="*/ 1416205 h 2598234"/>
              <a:gd name="connsiteX3-831" fmla="*/ 2665141 w 3401121"/>
              <a:gd name="connsiteY3-832" fmla="*/ 568712 h 2598234"/>
              <a:gd name="connsiteX4-833" fmla="*/ 2821258 w 3401121"/>
              <a:gd name="connsiteY4-834" fmla="*/ 468351 h 2598234"/>
              <a:gd name="connsiteX5-835" fmla="*/ 3166946 w 3401121"/>
              <a:gd name="connsiteY5-836" fmla="*/ 289931 h 2598234"/>
              <a:gd name="connsiteX6-837" fmla="*/ 3401121 w 3401121"/>
              <a:gd name="connsiteY6-838" fmla="*/ 301083 h 2598234"/>
              <a:gd name="connsiteX7-839" fmla="*/ 3401121 w 3401121"/>
              <a:gd name="connsiteY7-840" fmla="*/ 133814 h 2598234"/>
              <a:gd name="connsiteX8-841" fmla="*/ 3356517 w 3401121"/>
              <a:gd name="connsiteY8-842" fmla="*/ 55756 h 2598234"/>
              <a:gd name="connsiteX9-843" fmla="*/ 3345365 w 3401121"/>
              <a:gd name="connsiteY9-844" fmla="*/ 22302 h 2598234"/>
              <a:gd name="connsiteX10-845" fmla="*/ 3289609 w 3401121"/>
              <a:gd name="connsiteY10-846" fmla="*/ 0 h 2598234"/>
              <a:gd name="connsiteX11-847" fmla="*/ 3278458 w 3401121"/>
              <a:gd name="connsiteY11-848" fmla="*/ 44605 h 2598234"/>
              <a:gd name="connsiteX12-849" fmla="*/ 3155795 w 3401121"/>
              <a:gd name="connsiteY12-850" fmla="*/ 11151 h 2598234"/>
              <a:gd name="connsiteX13-851" fmla="*/ 3122341 w 3401121"/>
              <a:gd name="connsiteY13-852" fmla="*/ 100361 h 2598234"/>
              <a:gd name="connsiteX14-853" fmla="*/ 3010829 w 3401121"/>
              <a:gd name="connsiteY14-854" fmla="*/ 66907 h 2598234"/>
              <a:gd name="connsiteX15-855" fmla="*/ 2966224 w 3401121"/>
              <a:gd name="connsiteY15-856" fmla="*/ 100361 h 2598234"/>
              <a:gd name="connsiteX16-857" fmla="*/ 2888165 w 3401121"/>
              <a:gd name="connsiteY16-858" fmla="*/ 100361 h 2598234"/>
              <a:gd name="connsiteX17-859" fmla="*/ 2888165 w 3401121"/>
              <a:gd name="connsiteY17-860" fmla="*/ 100361 h 2598234"/>
              <a:gd name="connsiteX18-861" fmla="*/ 2810107 w 3401121"/>
              <a:gd name="connsiteY18-862" fmla="*/ 144966 h 2598234"/>
              <a:gd name="connsiteX19-863" fmla="*/ 2732048 w 3401121"/>
              <a:gd name="connsiteY19-864" fmla="*/ 178419 h 2598234"/>
              <a:gd name="connsiteX20-865" fmla="*/ 2676292 w 3401121"/>
              <a:gd name="connsiteY20-866" fmla="*/ 178419 h 2598234"/>
              <a:gd name="connsiteX21-867" fmla="*/ 2676292 w 3401121"/>
              <a:gd name="connsiteY21-868" fmla="*/ 178419 h 2598234"/>
              <a:gd name="connsiteX22-869" fmla="*/ 2676292 w 3401121"/>
              <a:gd name="connsiteY22-870" fmla="*/ 334536 h 2598234"/>
              <a:gd name="connsiteX23-871" fmla="*/ 2542478 w 3401121"/>
              <a:gd name="connsiteY23-872" fmla="*/ 312234 h 2598234"/>
              <a:gd name="connsiteX24-873" fmla="*/ 2453268 w 3401121"/>
              <a:gd name="connsiteY24-874" fmla="*/ 367990 h 2598234"/>
              <a:gd name="connsiteX25-875" fmla="*/ 2341756 w 3401121"/>
              <a:gd name="connsiteY25-876" fmla="*/ 401444 h 2598234"/>
              <a:gd name="connsiteX26-877" fmla="*/ 2286000 w 3401121"/>
              <a:gd name="connsiteY26-878" fmla="*/ 356839 h 2598234"/>
              <a:gd name="connsiteX27-879" fmla="*/ 2252546 w 3401121"/>
              <a:gd name="connsiteY27-880" fmla="*/ 390292 h 2598234"/>
              <a:gd name="connsiteX28-881" fmla="*/ 2174487 w 3401121"/>
              <a:gd name="connsiteY28-882" fmla="*/ 446048 h 2598234"/>
              <a:gd name="connsiteX29-883" fmla="*/ 2062975 w 3401121"/>
              <a:gd name="connsiteY29-884" fmla="*/ 434897 h 2598234"/>
              <a:gd name="connsiteX30-885" fmla="*/ 1828800 w 3401121"/>
              <a:gd name="connsiteY30-886" fmla="*/ 568712 h 2598234"/>
              <a:gd name="connsiteX31-887" fmla="*/ 1706136 w 3401121"/>
              <a:gd name="connsiteY31-888" fmla="*/ 680224 h 2598234"/>
              <a:gd name="connsiteX32-889" fmla="*/ 1237785 w 3401121"/>
              <a:gd name="connsiteY32-890" fmla="*/ 802887 h 2598234"/>
              <a:gd name="connsiteX33-891" fmla="*/ 1170878 w 3401121"/>
              <a:gd name="connsiteY33-892" fmla="*/ 858644 h 2598234"/>
              <a:gd name="connsiteX34-893" fmla="*/ 1037063 w 3401121"/>
              <a:gd name="connsiteY34-894" fmla="*/ 1182029 h 2598234"/>
              <a:gd name="connsiteX35-895" fmla="*/ 724829 w 3401121"/>
              <a:gd name="connsiteY35-896" fmla="*/ 1349297 h 2598234"/>
              <a:gd name="connsiteX36-897" fmla="*/ 702526 w 3401121"/>
              <a:gd name="connsiteY36-898" fmla="*/ 1494263 h 2598234"/>
              <a:gd name="connsiteX37-899" fmla="*/ 624468 w 3401121"/>
              <a:gd name="connsiteY37-900" fmla="*/ 1605775 h 2598234"/>
              <a:gd name="connsiteX38-901" fmla="*/ 602165 w 3401121"/>
              <a:gd name="connsiteY38-902" fmla="*/ 1839951 h 2598234"/>
              <a:gd name="connsiteX39-903" fmla="*/ 312234 w 3401121"/>
              <a:gd name="connsiteY39-904" fmla="*/ 2085278 h 2598234"/>
              <a:gd name="connsiteX40-905" fmla="*/ 234175 w 3401121"/>
              <a:gd name="connsiteY40-906" fmla="*/ 2230244 h 2598234"/>
              <a:gd name="connsiteX41-907" fmla="*/ 156117 w 3401121"/>
              <a:gd name="connsiteY41-908" fmla="*/ 2352907 h 2598234"/>
              <a:gd name="connsiteX42-909" fmla="*/ 156117 w 3401121"/>
              <a:gd name="connsiteY42-910" fmla="*/ 2352907 h 2598234"/>
              <a:gd name="connsiteX43-911" fmla="*/ 100361 w 3401121"/>
              <a:gd name="connsiteY43-912" fmla="*/ 2419814 h 2598234"/>
              <a:gd name="connsiteX44-913" fmla="*/ 89209 w 3401121"/>
              <a:gd name="connsiteY44-914" fmla="*/ 2509024 h 2598234"/>
              <a:gd name="connsiteX45-915" fmla="*/ 89209 w 3401121"/>
              <a:gd name="connsiteY45-916" fmla="*/ 2509024 h 2598234"/>
              <a:gd name="connsiteX46-917" fmla="*/ 0 w 3401121"/>
              <a:gd name="connsiteY46-918" fmla="*/ 2598234 h 2598234"/>
              <a:gd name="connsiteX0-919" fmla="*/ 1538868 w 3401121"/>
              <a:gd name="connsiteY0-920" fmla="*/ 2219092 h 2598234"/>
              <a:gd name="connsiteX1-921" fmla="*/ 1561170 w 3401121"/>
              <a:gd name="connsiteY1-922" fmla="*/ 1427356 h 2598234"/>
              <a:gd name="connsiteX2-923" fmla="*/ 2676292 w 3401121"/>
              <a:gd name="connsiteY2-924" fmla="*/ 1416205 h 2598234"/>
              <a:gd name="connsiteX3-925" fmla="*/ 2665141 w 3401121"/>
              <a:gd name="connsiteY3-926" fmla="*/ 568712 h 2598234"/>
              <a:gd name="connsiteX4-927" fmla="*/ 2821258 w 3401121"/>
              <a:gd name="connsiteY4-928" fmla="*/ 468351 h 2598234"/>
              <a:gd name="connsiteX5-929" fmla="*/ 3166946 w 3401121"/>
              <a:gd name="connsiteY5-930" fmla="*/ 289931 h 2598234"/>
              <a:gd name="connsiteX6-931" fmla="*/ 3401121 w 3401121"/>
              <a:gd name="connsiteY6-932" fmla="*/ 301083 h 2598234"/>
              <a:gd name="connsiteX7-933" fmla="*/ 3401121 w 3401121"/>
              <a:gd name="connsiteY7-934" fmla="*/ 133814 h 2598234"/>
              <a:gd name="connsiteX8-935" fmla="*/ 3356517 w 3401121"/>
              <a:gd name="connsiteY8-936" fmla="*/ 55756 h 2598234"/>
              <a:gd name="connsiteX9-937" fmla="*/ 3345365 w 3401121"/>
              <a:gd name="connsiteY9-938" fmla="*/ 22302 h 2598234"/>
              <a:gd name="connsiteX10-939" fmla="*/ 3289609 w 3401121"/>
              <a:gd name="connsiteY10-940" fmla="*/ 0 h 2598234"/>
              <a:gd name="connsiteX11-941" fmla="*/ 3278458 w 3401121"/>
              <a:gd name="connsiteY11-942" fmla="*/ 44605 h 2598234"/>
              <a:gd name="connsiteX12-943" fmla="*/ 3155795 w 3401121"/>
              <a:gd name="connsiteY12-944" fmla="*/ 11151 h 2598234"/>
              <a:gd name="connsiteX13-945" fmla="*/ 3122341 w 3401121"/>
              <a:gd name="connsiteY13-946" fmla="*/ 100361 h 2598234"/>
              <a:gd name="connsiteX14-947" fmla="*/ 3010829 w 3401121"/>
              <a:gd name="connsiteY14-948" fmla="*/ 66907 h 2598234"/>
              <a:gd name="connsiteX15-949" fmla="*/ 2966224 w 3401121"/>
              <a:gd name="connsiteY15-950" fmla="*/ 100361 h 2598234"/>
              <a:gd name="connsiteX16-951" fmla="*/ 2888165 w 3401121"/>
              <a:gd name="connsiteY16-952" fmla="*/ 100361 h 2598234"/>
              <a:gd name="connsiteX17-953" fmla="*/ 2888165 w 3401121"/>
              <a:gd name="connsiteY17-954" fmla="*/ 100361 h 2598234"/>
              <a:gd name="connsiteX18-955" fmla="*/ 2810107 w 3401121"/>
              <a:gd name="connsiteY18-956" fmla="*/ 144966 h 2598234"/>
              <a:gd name="connsiteX19-957" fmla="*/ 2732048 w 3401121"/>
              <a:gd name="connsiteY19-958" fmla="*/ 178419 h 2598234"/>
              <a:gd name="connsiteX20-959" fmla="*/ 2676292 w 3401121"/>
              <a:gd name="connsiteY20-960" fmla="*/ 178419 h 2598234"/>
              <a:gd name="connsiteX21-961" fmla="*/ 2676292 w 3401121"/>
              <a:gd name="connsiteY21-962" fmla="*/ 178419 h 2598234"/>
              <a:gd name="connsiteX22-963" fmla="*/ 2676292 w 3401121"/>
              <a:gd name="connsiteY22-964" fmla="*/ 334536 h 2598234"/>
              <a:gd name="connsiteX23-965" fmla="*/ 2542478 w 3401121"/>
              <a:gd name="connsiteY23-966" fmla="*/ 312234 h 2598234"/>
              <a:gd name="connsiteX24-967" fmla="*/ 2453268 w 3401121"/>
              <a:gd name="connsiteY24-968" fmla="*/ 367990 h 2598234"/>
              <a:gd name="connsiteX25-969" fmla="*/ 2341756 w 3401121"/>
              <a:gd name="connsiteY25-970" fmla="*/ 401444 h 2598234"/>
              <a:gd name="connsiteX26-971" fmla="*/ 2286000 w 3401121"/>
              <a:gd name="connsiteY26-972" fmla="*/ 356839 h 2598234"/>
              <a:gd name="connsiteX27-973" fmla="*/ 2252546 w 3401121"/>
              <a:gd name="connsiteY27-974" fmla="*/ 390292 h 2598234"/>
              <a:gd name="connsiteX28-975" fmla="*/ 2174487 w 3401121"/>
              <a:gd name="connsiteY28-976" fmla="*/ 446048 h 2598234"/>
              <a:gd name="connsiteX29-977" fmla="*/ 2062975 w 3401121"/>
              <a:gd name="connsiteY29-978" fmla="*/ 434897 h 2598234"/>
              <a:gd name="connsiteX30-979" fmla="*/ 1828800 w 3401121"/>
              <a:gd name="connsiteY30-980" fmla="*/ 568712 h 2598234"/>
              <a:gd name="connsiteX31-981" fmla="*/ 1706136 w 3401121"/>
              <a:gd name="connsiteY31-982" fmla="*/ 680224 h 2598234"/>
              <a:gd name="connsiteX32-983" fmla="*/ 1237785 w 3401121"/>
              <a:gd name="connsiteY32-984" fmla="*/ 802887 h 2598234"/>
              <a:gd name="connsiteX33-985" fmla="*/ 1170878 w 3401121"/>
              <a:gd name="connsiteY33-986" fmla="*/ 858644 h 2598234"/>
              <a:gd name="connsiteX34-987" fmla="*/ 1037063 w 3401121"/>
              <a:gd name="connsiteY34-988" fmla="*/ 1182029 h 2598234"/>
              <a:gd name="connsiteX35-989" fmla="*/ 724829 w 3401121"/>
              <a:gd name="connsiteY35-990" fmla="*/ 1349297 h 2598234"/>
              <a:gd name="connsiteX36-991" fmla="*/ 702526 w 3401121"/>
              <a:gd name="connsiteY36-992" fmla="*/ 1494263 h 2598234"/>
              <a:gd name="connsiteX37-993" fmla="*/ 624468 w 3401121"/>
              <a:gd name="connsiteY37-994" fmla="*/ 1605775 h 2598234"/>
              <a:gd name="connsiteX38-995" fmla="*/ 602165 w 3401121"/>
              <a:gd name="connsiteY38-996" fmla="*/ 1839951 h 2598234"/>
              <a:gd name="connsiteX39-997" fmla="*/ 312234 w 3401121"/>
              <a:gd name="connsiteY39-998" fmla="*/ 2085278 h 2598234"/>
              <a:gd name="connsiteX40-999" fmla="*/ 234175 w 3401121"/>
              <a:gd name="connsiteY40-1000" fmla="*/ 2230244 h 2598234"/>
              <a:gd name="connsiteX41-1001" fmla="*/ 156117 w 3401121"/>
              <a:gd name="connsiteY41-1002" fmla="*/ 2352907 h 2598234"/>
              <a:gd name="connsiteX42-1003" fmla="*/ 156117 w 3401121"/>
              <a:gd name="connsiteY42-1004" fmla="*/ 2352907 h 2598234"/>
              <a:gd name="connsiteX43-1005" fmla="*/ 100361 w 3401121"/>
              <a:gd name="connsiteY43-1006" fmla="*/ 2419814 h 2598234"/>
              <a:gd name="connsiteX44-1007" fmla="*/ 89209 w 3401121"/>
              <a:gd name="connsiteY44-1008" fmla="*/ 2509024 h 2598234"/>
              <a:gd name="connsiteX45-1009" fmla="*/ 0 w 3401121"/>
              <a:gd name="connsiteY45-1010" fmla="*/ 2598234 h 2598234"/>
              <a:gd name="connsiteX0-1011" fmla="*/ 1449659 w 3311912"/>
              <a:gd name="connsiteY0-1012" fmla="*/ 2219092 h 2509024"/>
              <a:gd name="connsiteX1-1013" fmla="*/ 1471961 w 3311912"/>
              <a:gd name="connsiteY1-1014" fmla="*/ 1427356 h 2509024"/>
              <a:gd name="connsiteX2-1015" fmla="*/ 2587083 w 3311912"/>
              <a:gd name="connsiteY2-1016" fmla="*/ 1416205 h 2509024"/>
              <a:gd name="connsiteX3-1017" fmla="*/ 2575932 w 3311912"/>
              <a:gd name="connsiteY3-1018" fmla="*/ 568712 h 2509024"/>
              <a:gd name="connsiteX4-1019" fmla="*/ 2732049 w 3311912"/>
              <a:gd name="connsiteY4-1020" fmla="*/ 468351 h 2509024"/>
              <a:gd name="connsiteX5-1021" fmla="*/ 3077737 w 3311912"/>
              <a:gd name="connsiteY5-1022" fmla="*/ 289931 h 2509024"/>
              <a:gd name="connsiteX6-1023" fmla="*/ 3311912 w 3311912"/>
              <a:gd name="connsiteY6-1024" fmla="*/ 301083 h 2509024"/>
              <a:gd name="connsiteX7-1025" fmla="*/ 3311912 w 3311912"/>
              <a:gd name="connsiteY7-1026" fmla="*/ 133814 h 2509024"/>
              <a:gd name="connsiteX8-1027" fmla="*/ 3267308 w 3311912"/>
              <a:gd name="connsiteY8-1028" fmla="*/ 55756 h 2509024"/>
              <a:gd name="connsiteX9-1029" fmla="*/ 3256156 w 3311912"/>
              <a:gd name="connsiteY9-1030" fmla="*/ 22302 h 2509024"/>
              <a:gd name="connsiteX10-1031" fmla="*/ 3200400 w 3311912"/>
              <a:gd name="connsiteY10-1032" fmla="*/ 0 h 2509024"/>
              <a:gd name="connsiteX11-1033" fmla="*/ 3189249 w 3311912"/>
              <a:gd name="connsiteY11-1034" fmla="*/ 44605 h 2509024"/>
              <a:gd name="connsiteX12-1035" fmla="*/ 3066586 w 3311912"/>
              <a:gd name="connsiteY12-1036" fmla="*/ 11151 h 2509024"/>
              <a:gd name="connsiteX13-1037" fmla="*/ 3033132 w 3311912"/>
              <a:gd name="connsiteY13-1038" fmla="*/ 100361 h 2509024"/>
              <a:gd name="connsiteX14-1039" fmla="*/ 2921620 w 3311912"/>
              <a:gd name="connsiteY14-1040" fmla="*/ 66907 h 2509024"/>
              <a:gd name="connsiteX15-1041" fmla="*/ 2877015 w 3311912"/>
              <a:gd name="connsiteY15-1042" fmla="*/ 100361 h 2509024"/>
              <a:gd name="connsiteX16-1043" fmla="*/ 2798956 w 3311912"/>
              <a:gd name="connsiteY16-1044" fmla="*/ 100361 h 2509024"/>
              <a:gd name="connsiteX17-1045" fmla="*/ 2798956 w 3311912"/>
              <a:gd name="connsiteY17-1046" fmla="*/ 100361 h 2509024"/>
              <a:gd name="connsiteX18-1047" fmla="*/ 2720898 w 3311912"/>
              <a:gd name="connsiteY18-1048" fmla="*/ 144966 h 2509024"/>
              <a:gd name="connsiteX19-1049" fmla="*/ 2642839 w 3311912"/>
              <a:gd name="connsiteY19-1050" fmla="*/ 178419 h 2509024"/>
              <a:gd name="connsiteX20-1051" fmla="*/ 2587083 w 3311912"/>
              <a:gd name="connsiteY20-1052" fmla="*/ 178419 h 2509024"/>
              <a:gd name="connsiteX21-1053" fmla="*/ 2587083 w 3311912"/>
              <a:gd name="connsiteY21-1054" fmla="*/ 178419 h 2509024"/>
              <a:gd name="connsiteX22-1055" fmla="*/ 2587083 w 3311912"/>
              <a:gd name="connsiteY22-1056" fmla="*/ 334536 h 2509024"/>
              <a:gd name="connsiteX23-1057" fmla="*/ 2453269 w 3311912"/>
              <a:gd name="connsiteY23-1058" fmla="*/ 312234 h 2509024"/>
              <a:gd name="connsiteX24-1059" fmla="*/ 2364059 w 3311912"/>
              <a:gd name="connsiteY24-1060" fmla="*/ 367990 h 2509024"/>
              <a:gd name="connsiteX25-1061" fmla="*/ 2252547 w 3311912"/>
              <a:gd name="connsiteY25-1062" fmla="*/ 401444 h 2509024"/>
              <a:gd name="connsiteX26-1063" fmla="*/ 2196791 w 3311912"/>
              <a:gd name="connsiteY26-1064" fmla="*/ 356839 h 2509024"/>
              <a:gd name="connsiteX27-1065" fmla="*/ 2163337 w 3311912"/>
              <a:gd name="connsiteY27-1066" fmla="*/ 390292 h 2509024"/>
              <a:gd name="connsiteX28-1067" fmla="*/ 2085278 w 3311912"/>
              <a:gd name="connsiteY28-1068" fmla="*/ 446048 h 2509024"/>
              <a:gd name="connsiteX29-1069" fmla="*/ 1973766 w 3311912"/>
              <a:gd name="connsiteY29-1070" fmla="*/ 434897 h 2509024"/>
              <a:gd name="connsiteX30-1071" fmla="*/ 1739591 w 3311912"/>
              <a:gd name="connsiteY30-1072" fmla="*/ 568712 h 2509024"/>
              <a:gd name="connsiteX31-1073" fmla="*/ 1616927 w 3311912"/>
              <a:gd name="connsiteY31-1074" fmla="*/ 680224 h 2509024"/>
              <a:gd name="connsiteX32-1075" fmla="*/ 1148576 w 3311912"/>
              <a:gd name="connsiteY32-1076" fmla="*/ 802887 h 2509024"/>
              <a:gd name="connsiteX33-1077" fmla="*/ 1081669 w 3311912"/>
              <a:gd name="connsiteY33-1078" fmla="*/ 858644 h 2509024"/>
              <a:gd name="connsiteX34-1079" fmla="*/ 947854 w 3311912"/>
              <a:gd name="connsiteY34-1080" fmla="*/ 1182029 h 2509024"/>
              <a:gd name="connsiteX35-1081" fmla="*/ 635620 w 3311912"/>
              <a:gd name="connsiteY35-1082" fmla="*/ 1349297 h 2509024"/>
              <a:gd name="connsiteX36-1083" fmla="*/ 613317 w 3311912"/>
              <a:gd name="connsiteY36-1084" fmla="*/ 1494263 h 2509024"/>
              <a:gd name="connsiteX37-1085" fmla="*/ 535259 w 3311912"/>
              <a:gd name="connsiteY37-1086" fmla="*/ 1605775 h 2509024"/>
              <a:gd name="connsiteX38-1087" fmla="*/ 512956 w 3311912"/>
              <a:gd name="connsiteY38-1088" fmla="*/ 1839951 h 2509024"/>
              <a:gd name="connsiteX39-1089" fmla="*/ 223025 w 3311912"/>
              <a:gd name="connsiteY39-1090" fmla="*/ 2085278 h 2509024"/>
              <a:gd name="connsiteX40-1091" fmla="*/ 144966 w 3311912"/>
              <a:gd name="connsiteY40-1092" fmla="*/ 2230244 h 2509024"/>
              <a:gd name="connsiteX41-1093" fmla="*/ 66908 w 3311912"/>
              <a:gd name="connsiteY41-1094" fmla="*/ 2352907 h 2509024"/>
              <a:gd name="connsiteX42-1095" fmla="*/ 66908 w 3311912"/>
              <a:gd name="connsiteY42-1096" fmla="*/ 2352907 h 2509024"/>
              <a:gd name="connsiteX43-1097" fmla="*/ 11152 w 3311912"/>
              <a:gd name="connsiteY43-1098" fmla="*/ 2419814 h 2509024"/>
              <a:gd name="connsiteX44-1099" fmla="*/ 0 w 3311912"/>
              <a:gd name="connsiteY44-1100" fmla="*/ 2509024 h 2509024"/>
              <a:gd name="connsiteX0-1101" fmla="*/ 1438507 w 3300760"/>
              <a:gd name="connsiteY0-1102" fmla="*/ 2219092 h 2419814"/>
              <a:gd name="connsiteX1-1103" fmla="*/ 1460809 w 3300760"/>
              <a:gd name="connsiteY1-1104" fmla="*/ 1427356 h 2419814"/>
              <a:gd name="connsiteX2-1105" fmla="*/ 2575931 w 3300760"/>
              <a:gd name="connsiteY2-1106" fmla="*/ 1416205 h 2419814"/>
              <a:gd name="connsiteX3-1107" fmla="*/ 2564780 w 3300760"/>
              <a:gd name="connsiteY3-1108" fmla="*/ 568712 h 2419814"/>
              <a:gd name="connsiteX4-1109" fmla="*/ 2720897 w 3300760"/>
              <a:gd name="connsiteY4-1110" fmla="*/ 468351 h 2419814"/>
              <a:gd name="connsiteX5-1111" fmla="*/ 3066585 w 3300760"/>
              <a:gd name="connsiteY5-1112" fmla="*/ 289931 h 2419814"/>
              <a:gd name="connsiteX6-1113" fmla="*/ 3300760 w 3300760"/>
              <a:gd name="connsiteY6-1114" fmla="*/ 301083 h 2419814"/>
              <a:gd name="connsiteX7-1115" fmla="*/ 3300760 w 3300760"/>
              <a:gd name="connsiteY7-1116" fmla="*/ 133814 h 2419814"/>
              <a:gd name="connsiteX8-1117" fmla="*/ 3256156 w 3300760"/>
              <a:gd name="connsiteY8-1118" fmla="*/ 55756 h 2419814"/>
              <a:gd name="connsiteX9-1119" fmla="*/ 3245004 w 3300760"/>
              <a:gd name="connsiteY9-1120" fmla="*/ 22302 h 2419814"/>
              <a:gd name="connsiteX10-1121" fmla="*/ 3189248 w 3300760"/>
              <a:gd name="connsiteY10-1122" fmla="*/ 0 h 2419814"/>
              <a:gd name="connsiteX11-1123" fmla="*/ 3178097 w 3300760"/>
              <a:gd name="connsiteY11-1124" fmla="*/ 44605 h 2419814"/>
              <a:gd name="connsiteX12-1125" fmla="*/ 3055434 w 3300760"/>
              <a:gd name="connsiteY12-1126" fmla="*/ 11151 h 2419814"/>
              <a:gd name="connsiteX13-1127" fmla="*/ 3021980 w 3300760"/>
              <a:gd name="connsiteY13-1128" fmla="*/ 100361 h 2419814"/>
              <a:gd name="connsiteX14-1129" fmla="*/ 2910468 w 3300760"/>
              <a:gd name="connsiteY14-1130" fmla="*/ 66907 h 2419814"/>
              <a:gd name="connsiteX15-1131" fmla="*/ 2865863 w 3300760"/>
              <a:gd name="connsiteY15-1132" fmla="*/ 100361 h 2419814"/>
              <a:gd name="connsiteX16-1133" fmla="*/ 2787804 w 3300760"/>
              <a:gd name="connsiteY16-1134" fmla="*/ 100361 h 2419814"/>
              <a:gd name="connsiteX17-1135" fmla="*/ 2787804 w 3300760"/>
              <a:gd name="connsiteY17-1136" fmla="*/ 100361 h 2419814"/>
              <a:gd name="connsiteX18-1137" fmla="*/ 2709746 w 3300760"/>
              <a:gd name="connsiteY18-1138" fmla="*/ 144966 h 2419814"/>
              <a:gd name="connsiteX19-1139" fmla="*/ 2631687 w 3300760"/>
              <a:gd name="connsiteY19-1140" fmla="*/ 178419 h 2419814"/>
              <a:gd name="connsiteX20-1141" fmla="*/ 2575931 w 3300760"/>
              <a:gd name="connsiteY20-1142" fmla="*/ 178419 h 2419814"/>
              <a:gd name="connsiteX21-1143" fmla="*/ 2575931 w 3300760"/>
              <a:gd name="connsiteY21-1144" fmla="*/ 178419 h 2419814"/>
              <a:gd name="connsiteX22-1145" fmla="*/ 2575931 w 3300760"/>
              <a:gd name="connsiteY22-1146" fmla="*/ 334536 h 2419814"/>
              <a:gd name="connsiteX23-1147" fmla="*/ 2442117 w 3300760"/>
              <a:gd name="connsiteY23-1148" fmla="*/ 312234 h 2419814"/>
              <a:gd name="connsiteX24-1149" fmla="*/ 2352907 w 3300760"/>
              <a:gd name="connsiteY24-1150" fmla="*/ 367990 h 2419814"/>
              <a:gd name="connsiteX25-1151" fmla="*/ 2241395 w 3300760"/>
              <a:gd name="connsiteY25-1152" fmla="*/ 401444 h 2419814"/>
              <a:gd name="connsiteX26-1153" fmla="*/ 2185639 w 3300760"/>
              <a:gd name="connsiteY26-1154" fmla="*/ 356839 h 2419814"/>
              <a:gd name="connsiteX27-1155" fmla="*/ 2152185 w 3300760"/>
              <a:gd name="connsiteY27-1156" fmla="*/ 390292 h 2419814"/>
              <a:gd name="connsiteX28-1157" fmla="*/ 2074126 w 3300760"/>
              <a:gd name="connsiteY28-1158" fmla="*/ 446048 h 2419814"/>
              <a:gd name="connsiteX29-1159" fmla="*/ 1962614 w 3300760"/>
              <a:gd name="connsiteY29-1160" fmla="*/ 434897 h 2419814"/>
              <a:gd name="connsiteX30-1161" fmla="*/ 1728439 w 3300760"/>
              <a:gd name="connsiteY30-1162" fmla="*/ 568712 h 2419814"/>
              <a:gd name="connsiteX31-1163" fmla="*/ 1605775 w 3300760"/>
              <a:gd name="connsiteY31-1164" fmla="*/ 680224 h 2419814"/>
              <a:gd name="connsiteX32-1165" fmla="*/ 1137424 w 3300760"/>
              <a:gd name="connsiteY32-1166" fmla="*/ 802887 h 2419814"/>
              <a:gd name="connsiteX33-1167" fmla="*/ 1070517 w 3300760"/>
              <a:gd name="connsiteY33-1168" fmla="*/ 858644 h 2419814"/>
              <a:gd name="connsiteX34-1169" fmla="*/ 936702 w 3300760"/>
              <a:gd name="connsiteY34-1170" fmla="*/ 1182029 h 2419814"/>
              <a:gd name="connsiteX35-1171" fmla="*/ 624468 w 3300760"/>
              <a:gd name="connsiteY35-1172" fmla="*/ 1349297 h 2419814"/>
              <a:gd name="connsiteX36-1173" fmla="*/ 602165 w 3300760"/>
              <a:gd name="connsiteY36-1174" fmla="*/ 1494263 h 2419814"/>
              <a:gd name="connsiteX37-1175" fmla="*/ 524107 w 3300760"/>
              <a:gd name="connsiteY37-1176" fmla="*/ 1605775 h 2419814"/>
              <a:gd name="connsiteX38-1177" fmla="*/ 501804 w 3300760"/>
              <a:gd name="connsiteY38-1178" fmla="*/ 1839951 h 2419814"/>
              <a:gd name="connsiteX39-1179" fmla="*/ 211873 w 3300760"/>
              <a:gd name="connsiteY39-1180" fmla="*/ 2085278 h 2419814"/>
              <a:gd name="connsiteX40-1181" fmla="*/ 133814 w 3300760"/>
              <a:gd name="connsiteY40-1182" fmla="*/ 2230244 h 2419814"/>
              <a:gd name="connsiteX41-1183" fmla="*/ 55756 w 3300760"/>
              <a:gd name="connsiteY41-1184" fmla="*/ 2352907 h 2419814"/>
              <a:gd name="connsiteX42-1185" fmla="*/ 55756 w 3300760"/>
              <a:gd name="connsiteY42-1186" fmla="*/ 2352907 h 2419814"/>
              <a:gd name="connsiteX43-1187" fmla="*/ 0 w 3300760"/>
              <a:gd name="connsiteY43-1188" fmla="*/ 2419814 h 2419814"/>
              <a:gd name="connsiteX0-1189" fmla="*/ 1382751 w 3245004"/>
              <a:gd name="connsiteY0-1190" fmla="*/ 2219092 h 2352907"/>
              <a:gd name="connsiteX1-1191" fmla="*/ 1405053 w 3245004"/>
              <a:gd name="connsiteY1-1192" fmla="*/ 1427356 h 2352907"/>
              <a:gd name="connsiteX2-1193" fmla="*/ 2520175 w 3245004"/>
              <a:gd name="connsiteY2-1194" fmla="*/ 1416205 h 2352907"/>
              <a:gd name="connsiteX3-1195" fmla="*/ 2509024 w 3245004"/>
              <a:gd name="connsiteY3-1196" fmla="*/ 568712 h 2352907"/>
              <a:gd name="connsiteX4-1197" fmla="*/ 2665141 w 3245004"/>
              <a:gd name="connsiteY4-1198" fmla="*/ 468351 h 2352907"/>
              <a:gd name="connsiteX5-1199" fmla="*/ 3010829 w 3245004"/>
              <a:gd name="connsiteY5-1200" fmla="*/ 289931 h 2352907"/>
              <a:gd name="connsiteX6-1201" fmla="*/ 3245004 w 3245004"/>
              <a:gd name="connsiteY6-1202" fmla="*/ 301083 h 2352907"/>
              <a:gd name="connsiteX7-1203" fmla="*/ 3245004 w 3245004"/>
              <a:gd name="connsiteY7-1204" fmla="*/ 133814 h 2352907"/>
              <a:gd name="connsiteX8-1205" fmla="*/ 3200400 w 3245004"/>
              <a:gd name="connsiteY8-1206" fmla="*/ 55756 h 2352907"/>
              <a:gd name="connsiteX9-1207" fmla="*/ 3189248 w 3245004"/>
              <a:gd name="connsiteY9-1208" fmla="*/ 22302 h 2352907"/>
              <a:gd name="connsiteX10-1209" fmla="*/ 3133492 w 3245004"/>
              <a:gd name="connsiteY10-1210" fmla="*/ 0 h 2352907"/>
              <a:gd name="connsiteX11-1211" fmla="*/ 3122341 w 3245004"/>
              <a:gd name="connsiteY11-1212" fmla="*/ 44605 h 2352907"/>
              <a:gd name="connsiteX12-1213" fmla="*/ 2999678 w 3245004"/>
              <a:gd name="connsiteY12-1214" fmla="*/ 11151 h 2352907"/>
              <a:gd name="connsiteX13-1215" fmla="*/ 2966224 w 3245004"/>
              <a:gd name="connsiteY13-1216" fmla="*/ 100361 h 2352907"/>
              <a:gd name="connsiteX14-1217" fmla="*/ 2854712 w 3245004"/>
              <a:gd name="connsiteY14-1218" fmla="*/ 66907 h 2352907"/>
              <a:gd name="connsiteX15-1219" fmla="*/ 2810107 w 3245004"/>
              <a:gd name="connsiteY15-1220" fmla="*/ 100361 h 2352907"/>
              <a:gd name="connsiteX16-1221" fmla="*/ 2732048 w 3245004"/>
              <a:gd name="connsiteY16-1222" fmla="*/ 100361 h 2352907"/>
              <a:gd name="connsiteX17-1223" fmla="*/ 2732048 w 3245004"/>
              <a:gd name="connsiteY17-1224" fmla="*/ 100361 h 2352907"/>
              <a:gd name="connsiteX18-1225" fmla="*/ 2653990 w 3245004"/>
              <a:gd name="connsiteY18-1226" fmla="*/ 144966 h 2352907"/>
              <a:gd name="connsiteX19-1227" fmla="*/ 2575931 w 3245004"/>
              <a:gd name="connsiteY19-1228" fmla="*/ 178419 h 2352907"/>
              <a:gd name="connsiteX20-1229" fmla="*/ 2520175 w 3245004"/>
              <a:gd name="connsiteY20-1230" fmla="*/ 178419 h 2352907"/>
              <a:gd name="connsiteX21-1231" fmla="*/ 2520175 w 3245004"/>
              <a:gd name="connsiteY21-1232" fmla="*/ 178419 h 2352907"/>
              <a:gd name="connsiteX22-1233" fmla="*/ 2520175 w 3245004"/>
              <a:gd name="connsiteY22-1234" fmla="*/ 334536 h 2352907"/>
              <a:gd name="connsiteX23-1235" fmla="*/ 2386361 w 3245004"/>
              <a:gd name="connsiteY23-1236" fmla="*/ 312234 h 2352907"/>
              <a:gd name="connsiteX24-1237" fmla="*/ 2297151 w 3245004"/>
              <a:gd name="connsiteY24-1238" fmla="*/ 367990 h 2352907"/>
              <a:gd name="connsiteX25-1239" fmla="*/ 2185639 w 3245004"/>
              <a:gd name="connsiteY25-1240" fmla="*/ 401444 h 2352907"/>
              <a:gd name="connsiteX26-1241" fmla="*/ 2129883 w 3245004"/>
              <a:gd name="connsiteY26-1242" fmla="*/ 356839 h 2352907"/>
              <a:gd name="connsiteX27-1243" fmla="*/ 2096429 w 3245004"/>
              <a:gd name="connsiteY27-1244" fmla="*/ 390292 h 2352907"/>
              <a:gd name="connsiteX28-1245" fmla="*/ 2018370 w 3245004"/>
              <a:gd name="connsiteY28-1246" fmla="*/ 446048 h 2352907"/>
              <a:gd name="connsiteX29-1247" fmla="*/ 1906858 w 3245004"/>
              <a:gd name="connsiteY29-1248" fmla="*/ 434897 h 2352907"/>
              <a:gd name="connsiteX30-1249" fmla="*/ 1672683 w 3245004"/>
              <a:gd name="connsiteY30-1250" fmla="*/ 568712 h 2352907"/>
              <a:gd name="connsiteX31-1251" fmla="*/ 1550019 w 3245004"/>
              <a:gd name="connsiteY31-1252" fmla="*/ 680224 h 2352907"/>
              <a:gd name="connsiteX32-1253" fmla="*/ 1081668 w 3245004"/>
              <a:gd name="connsiteY32-1254" fmla="*/ 802887 h 2352907"/>
              <a:gd name="connsiteX33-1255" fmla="*/ 1014761 w 3245004"/>
              <a:gd name="connsiteY33-1256" fmla="*/ 858644 h 2352907"/>
              <a:gd name="connsiteX34-1257" fmla="*/ 880946 w 3245004"/>
              <a:gd name="connsiteY34-1258" fmla="*/ 1182029 h 2352907"/>
              <a:gd name="connsiteX35-1259" fmla="*/ 568712 w 3245004"/>
              <a:gd name="connsiteY35-1260" fmla="*/ 1349297 h 2352907"/>
              <a:gd name="connsiteX36-1261" fmla="*/ 546409 w 3245004"/>
              <a:gd name="connsiteY36-1262" fmla="*/ 1494263 h 2352907"/>
              <a:gd name="connsiteX37-1263" fmla="*/ 468351 w 3245004"/>
              <a:gd name="connsiteY37-1264" fmla="*/ 1605775 h 2352907"/>
              <a:gd name="connsiteX38-1265" fmla="*/ 446048 w 3245004"/>
              <a:gd name="connsiteY38-1266" fmla="*/ 1839951 h 2352907"/>
              <a:gd name="connsiteX39-1267" fmla="*/ 156117 w 3245004"/>
              <a:gd name="connsiteY39-1268" fmla="*/ 2085278 h 2352907"/>
              <a:gd name="connsiteX40-1269" fmla="*/ 78058 w 3245004"/>
              <a:gd name="connsiteY40-1270" fmla="*/ 2230244 h 2352907"/>
              <a:gd name="connsiteX41-1271" fmla="*/ 0 w 3245004"/>
              <a:gd name="connsiteY41-1272" fmla="*/ 2352907 h 2352907"/>
              <a:gd name="connsiteX42-1273" fmla="*/ 0 w 3245004"/>
              <a:gd name="connsiteY42-1274" fmla="*/ 2352907 h 2352907"/>
              <a:gd name="connsiteX0-1275" fmla="*/ 1382751 w 3245004"/>
              <a:gd name="connsiteY0-1276" fmla="*/ 2219092 h 2352907"/>
              <a:gd name="connsiteX1-1277" fmla="*/ 1405053 w 3245004"/>
              <a:gd name="connsiteY1-1278" fmla="*/ 1427356 h 2352907"/>
              <a:gd name="connsiteX2-1279" fmla="*/ 2520175 w 3245004"/>
              <a:gd name="connsiteY2-1280" fmla="*/ 1416205 h 2352907"/>
              <a:gd name="connsiteX3-1281" fmla="*/ 2509024 w 3245004"/>
              <a:gd name="connsiteY3-1282" fmla="*/ 568712 h 2352907"/>
              <a:gd name="connsiteX4-1283" fmla="*/ 2665141 w 3245004"/>
              <a:gd name="connsiteY4-1284" fmla="*/ 468351 h 2352907"/>
              <a:gd name="connsiteX5-1285" fmla="*/ 3010829 w 3245004"/>
              <a:gd name="connsiteY5-1286" fmla="*/ 289931 h 2352907"/>
              <a:gd name="connsiteX6-1287" fmla="*/ 3245004 w 3245004"/>
              <a:gd name="connsiteY6-1288" fmla="*/ 301083 h 2352907"/>
              <a:gd name="connsiteX7-1289" fmla="*/ 3245004 w 3245004"/>
              <a:gd name="connsiteY7-1290" fmla="*/ 133814 h 2352907"/>
              <a:gd name="connsiteX8-1291" fmla="*/ 3200400 w 3245004"/>
              <a:gd name="connsiteY8-1292" fmla="*/ 55756 h 2352907"/>
              <a:gd name="connsiteX9-1293" fmla="*/ 3189248 w 3245004"/>
              <a:gd name="connsiteY9-1294" fmla="*/ 22302 h 2352907"/>
              <a:gd name="connsiteX10-1295" fmla="*/ 3133492 w 3245004"/>
              <a:gd name="connsiteY10-1296" fmla="*/ 0 h 2352907"/>
              <a:gd name="connsiteX11-1297" fmla="*/ 3122341 w 3245004"/>
              <a:gd name="connsiteY11-1298" fmla="*/ 44605 h 2352907"/>
              <a:gd name="connsiteX12-1299" fmla="*/ 2999678 w 3245004"/>
              <a:gd name="connsiteY12-1300" fmla="*/ 11151 h 2352907"/>
              <a:gd name="connsiteX13-1301" fmla="*/ 2966224 w 3245004"/>
              <a:gd name="connsiteY13-1302" fmla="*/ 100361 h 2352907"/>
              <a:gd name="connsiteX14-1303" fmla="*/ 2854712 w 3245004"/>
              <a:gd name="connsiteY14-1304" fmla="*/ 66907 h 2352907"/>
              <a:gd name="connsiteX15-1305" fmla="*/ 2810107 w 3245004"/>
              <a:gd name="connsiteY15-1306" fmla="*/ 100361 h 2352907"/>
              <a:gd name="connsiteX16-1307" fmla="*/ 2732048 w 3245004"/>
              <a:gd name="connsiteY16-1308" fmla="*/ 100361 h 2352907"/>
              <a:gd name="connsiteX17-1309" fmla="*/ 2732048 w 3245004"/>
              <a:gd name="connsiteY17-1310" fmla="*/ 100361 h 2352907"/>
              <a:gd name="connsiteX18-1311" fmla="*/ 2653990 w 3245004"/>
              <a:gd name="connsiteY18-1312" fmla="*/ 144966 h 2352907"/>
              <a:gd name="connsiteX19-1313" fmla="*/ 2575931 w 3245004"/>
              <a:gd name="connsiteY19-1314" fmla="*/ 178419 h 2352907"/>
              <a:gd name="connsiteX20-1315" fmla="*/ 2520175 w 3245004"/>
              <a:gd name="connsiteY20-1316" fmla="*/ 178419 h 2352907"/>
              <a:gd name="connsiteX21-1317" fmla="*/ 2520175 w 3245004"/>
              <a:gd name="connsiteY21-1318" fmla="*/ 178419 h 2352907"/>
              <a:gd name="connsiteX22-1319" fmla="*/ 2520175 w 3245004"/>
              <a:gd name="connsiteY22-1320" fmla="*/ 334536 h 2352907"/>
              <a:gd name="connsiteX23-1321" fmla="*/ 2386361 w 3245004"/>
              <a:gd name="connsiteY23-1322" fmla="*/ 312234 h 2352907"/>
              <a:gd name="connsiteX24-1323" fmla="*/ 2297151 w 3245004"/>
              <a:gd name="connsiteY24-1324" fmla="*/ 367990 h 2352907"/>
              <a:gd name="connsiteX25-1325" fmla="*/ 2185639 w 3245004"/>
              <a:gd name="connsiteY25-1326" fmla="*/ 401444 h 2352907"/>
              <a:gd name="connsiteX26-1327" fmla="*/ 2129883 w 3245004"/>
              <a:gd name="connsiteY26-1328" fmla="*/ 356839 h 2352907"/>
              <a:gd name="connsiteX27-1329" fmla="*/ 2096429 w 3245004"/>
              <a:gd name="connsiteY27-1330" fmla="*/ 390292 h 2352907"/>
              <a:gd name="connsiteX28-1331" fmla="*/ 2018370 w 3245004"/>
              <a:gd name="connsiteY28-1332" fmla="*/ 446048 h 2352907"/>
              <a:gd name="connsiteX29-1333" fmla="*/ 1906858 w 3245004"/>
              <a:gd name="connsiteY29-1334" fmla="*/ 434897 h 2352907"/>
              <a:gd name="connsiteX30-1335" fmla="*/ 1672683 w 3245004"/>
              <a:gd name="connsiteY30-1336" fmla="*/ 568712 h 2352907"/>
              <a:gd name="connsiteX31-1337" fmla="*/ 1550019 w 3245004"/>
              <a:gd name="connsiteY31-1338" fmla="*/ 680224 h 2352907"/>
              <a:gd name="connsiteX32-1339" fmla="*/ 1081668 w 3245004"/>
              <a:gd name="connsiteY32-1340" fmla="*/ 802887 h 2352907"/>
              <a:gd name="connsiteX33-1341" fmla="*/ 1014761 w 3245004"/>
              <a:gd name="connsiteY33-1342" fmla="*/ 858644 h 2352907"/>
              <a:gd name="connsiteX34-1343" fmla="*/ 880946 w 3245004"/>
              <a:gd name="connsiteY34-1344" fmla="*/ 1182029 h 2352907"/>
              <a:gd name="connsiteX35-1345" fmla="*/ 568712 w 3245004"/>
              <a:gd name="connsiteY35-1346" fmla="*/ 1349297 h 2352907"/>
              <a:gd name="connsiteX36-1347" fmla="*/ 546409 w 3245004"/>
              <a:gd name="connsiteY36-1348" fmla="*/ 1494263 h 2352907"/>
              <a:gd name="connsiteX37-1349" fmla="*/ 468351 w 3245004"/>
              <a:gd name="connsiteY37-1350" fmla="*/ 1605775 h 2352907"/>
              <a:gd name="connsiteX38-1351" fmla="*/ 446048 w 3245004"/>
              <a:gd name="connsiteY38-1352" fmla="*/ 1839951 h 2352907"/>
              <a:gd name="connsiteX39-1353" fmla="*/ 156117 w 3245004"/>
              <a:gd name="connsiteY39-1354" fmla="*/ 2085278 h 2352907"/>
              <a:gd name="connsiteX40-1355" fmla="*/ 78058 w 3245004"/>
              <a:gd name="connsiteY40-1356" fmla="*/ 2230244 h 2352907"/>
              <a:gd name="connsiteX41-1357" fmla="*/ 0 w 3245004"/>
              <a:gd name="connsiteY41-1358" fmla="*/ 2352907 h 2352907"/>
              <a:gd name="connsiteX0-1359" fmla="*/ 1304693 w 3166946"/>
              <a:gd name="connsiteY0-1360" fmla="*/ 2219092 h 2230244"/>
              <a:gd name="connsiteX1-1361" fmla="*/ 1326995 w 3166946"/>
              <a:gd name="connsiteY1-1362" fmla="*/ 1427356 h 2230244"/>
              <a:gd name="connsiteX2-1363" fmla="*/ 2442117 w 3166946"/>
              <a:gd name="connsiteY2-1364" fmla="*/ 1416205 h 2230244"/>
              <a:gd name="connsiteX3-1365" fmla="*/ 2430966 w 3166946"/>
              <a:gd name="connsiteY3-1366" fmla="*/ 568712 h 2230244"/>
              <a:gd name="connsiteX4-1367" fmla="*/ 2587083 w 3166946"/>
              <a:gd name="connsiteY4-1368" fmla="*/ 468351 h 2230244"/>
              <a:gd name="connsiteX5-1369" fmla="*/ 2932771 w 3166946"/>
              <a:gd name="connsiteY5-1370" fmla="*/ 289931 h 2230244"/>
              <a:gd name="connsiteX6-1371" fmla="*/ 3166946 w 3166946"/>
              <a:gd name="connsiteY6-1372" fmla="*/ 301083 h 2230244"/>
              <a:gd name="connsiteX7-1373" fmla="*/ 3166946 w 3166946"/>
              <a:gd name="connsiteY7-1374" fmla="*/ 133814 h 2230244"/>
              <a:gd name="connsiteX8-1375" fmla="*/ 3122342 w 3166946"/>
              <a:gd name="connsiteY8-1376" fmla="*/ 55756 h 2230244"/>
              <a:gd name="connsiteX9-1377" fmla="*/ 3111190 w 3166946"/>
              <a:gd name="connsiteY9-1378" fmla="*/ 22302 h 2230244"/>
              <a:gd name="connsiteX10-1379" fmla="*/ 3055434 w 3166946"/>
              <a:gd name="connsiteY10-1380" fmla="*/ 0 h 2230244"/>
              <a:gd name="connsiteX11-1381" fmla="*/ 3044283 w 3166946"/>
              <a:gd name="connsiteY11-1382" fmla="*/ 44605 h 2230244"/>
              <a:gd name="connsiteX12-1383" fmla="*/ 2921620 w 3166946"/>
              <a:gd name="connsiteY12-1384" fmla="*/ 11151 h 2230244"/>
              <a:gd name="connsiteX13-1385" fmla="*/ 2888166 w 3166946"/>
              <a:gd name="connsiteY13-1386" fmla="*/ 100361 h 2230244"/>
              <a:gd name="connsiteX14-1387" fmla="*/ 2776654 w 3166946"/>
              <a:gd name="connsiteY14-1388" fmla="*/ 66907 h 2230244"/>
              <a:gd name="connsiteX15-1389" fmla="*/ 2732049 w 3166946"/>
              <a:gd name="connsiteY15-1390" fmla="*/ 100361 h 2230244"/>
              <a:gd name="connsiteX16-1391" fmla="*/ 2653990 w 3166946"/>
              <a:gd name="connsiteY16-1392" fmla="*/ 100361 h 2230244"/>
              <a:gd name="connsiteX17-1393" fmla="*/ 2653990 w 3166946"/>
              <a:gd name="connsiteY17-1394" fmla="*/ 100361 h 2230244"/>
              <a:gd name="connsiteX18-1395" fmla="*/ 2575932 w 3166946"/>
              <a:gd name="connsiteY18-1396" fmla="*/ 144966 h 2230244"/>
              <a:gd name="connsiteX19-1397" fmla="*/ 2497873 w 3166946"/>
              <a:gd name="connsiteY19-1398" fmla="*/ 178419 h 2230244"/>
              <a:gd name="connsiteX20-1399" fmla="*/ 2442117 w 3166946"/>
              <a:gd name="connsiteY20-1400" fmla="*/ 178419 h 2230244"/>
              <a:gd name="connsiteX21-1401" fmla="*/ 2442117 w 3166946"/>
              <a:gd name="connsiteY21-1402" fmla="*/ 178419 h 2230244"/>
              <a:gd name="connsiteX22-1403" fmla="*/ 2442117 w 3166946"/>
              <a:gd name="connsiteY22-1404" fmla="*/ 334536 h 2230244"/>
              <a:gd name="connsiteX23-1405" fmla="*/ 2308303 w 3166946"/>
              <a:gd name="connsiteY23-1406" fmla="*/ 312234 h 2230244"/>
              <a:gd name="connsiteX24-1407" fmla="*/ 2219093 w 3166946"/>
              <a:gd name="connsiteY24-1408" fmla="*/ 367990 h 2230244"/>
              <a:gd name="connsiteX25-1409" fmla="*/ 2107581 w 3166946"/>
              <a:gd name="connsiteY25-1410" fmla="*/ 401444 h 2230244"/>
              <a:gd name="connsiteX26-1411" fmla="*/ 2051825 w 3166946"/>
              <a:gd name="connsiteY26-1412" fmla="*/ 356839 h 2230244"/>
              <a:gd name="connsiteX27-1413" fmla="*/ 2018371 w 3166946"/>
              <a:gd name="connsiteY27-1414" fmla="*/ 390292 h 2230244"/>
              <a:gd name="connsiteX28-1415" fmla="*/ 1940312 w 3166946"/>
              <a:gd name="connsiteY28-1416" fmla="*/ 446048 h 2230244"/>
              <a:gd name="connsiteX29-1417" fmla="*/ 1828800 w 3166946"/>
              <a:gd name="connsiteY29-1418" fmla="*/ 434897 h 2230244"/>
              <a:gd name="connsiteX30-1419" fmla="*/ 1594625 w 3166946"/>
              <a:gd name="connsiteY30-1420" fmla="*/ 568712 h 2230244"/>
              <a:gd name="connsiteX31-1421" fmla="*/ 1471961 w 3166946"/>
              <a:gd name="connsiteY31-1422" fmla="*/ 680224 h 2230244"/>
              <a:gd name="connsiteX32-1423" fmla="*/ 1003610 w 3166946"/>
              <a:gd name="connsiteY32-1424" fmla="*/ 802887 h 2230244"/>
              <a:gd name="connsiteX33-1425" fmla="*/ 936703 w 3166946"/>
              <a:gd name="connsiteY33-1426" fmla="*/ 858644 h 2230244"/>
              <a:gd name="connsiteX34-1427" fmla="*/ 802888 w 3166946"/>
              <a:gd name="connsiteY34-1428" fmla="*/ 1182029 h 2230244"/>
              <a:gd name="connsiteX35-1429" fmla="*/ 490654 w 3166946"/>
              <a:gd name="connsiteY35-1430" fmla="*/ 1349297 h 2230244"/>
              <a:gd name="connsiteX36-1431" fmla="*/ 468351 w 3166946"/>
              <a:gd name="connsiteY36-1432" fmla="*/ 1494263 h 2230244"/>
              <a:gd name="connsiteX37-1433" fmla="*/ 390293 w 3166946"/>
              <a:gd name="connsiteY37-1434" fmla="*/ 1605775 h 2230244"/>
              <a:gd name="connsiteX38-1435" fmla="*/ 367990 w 3166946"/>
              <a:gd name="connsiteY38-1436" fmla="*/ 1839951 h 2230244"/>
              <a:gd name="connsiteX39-1437" fmla="*/ 78059 w 3166946"/>
              <a:gd name="connsiteY39-1438" fmla="*/ 2085278 h 2230244"/>
              <a:gd name="connsiteX40-1439" fmla="*/ 0 w 3166946"/>
              <a:gd name="connsiteY40-1440" fmla="*/ 2230244 h 2230244"/>
              <a:gd name="connsiteX0-1441" fmla="*/ 1226634 w 3088887"/>
              <a:gd name="connsiteY0-1442" fmla="*/ 2219092 h 2219092"/>
              <a:gd name="connsiteX1-1443" fmla="*/ 1248936 w 3088887"/>
              <a:gd name="connsiteY1-1444" fmla="*/ 1427356 h 2219092"/>
              <a:gd name="connsiteX2-1445" fmla="*/ 2364058 w 3088887"/>
              <a:gd name="connsiteY2-1446" fmla="*/ 1416205 h 2219092"/>
              <a:gd name="connsiteX3-1447" fmla="*/ 2352907 w 3088887"/>
              <a:gd name="connsiteY3-1448" fmla="*/ 568712 h 2219092"/>
              <a:gd name="connsiteX4-1449" fmla="*/ 2509024 w 3088887"/>
              <a:gd name="connsiteY4-1450" fmla="*/ 468351 h 2219092"/>
              <a:gd name="connsiteX5-1451" fmla="*/ 2854712 w 3088887"/>
              <a:gd name="connsiteY5-1452" fmla="*/ 289931 h 2219092"/>
              <a:gd name="connsiteX6-1453" fmla="*/ 3088887 w 3088887"/>
              <a:gd name="connsiteY6-1454" fmla="*/ 301083 h 2219092"/>
              <a:gd name="connsiteX7-1455" fmla="*/ 3088887 w 3088887"/>
              <a:gd name="connsiteY7-1456" fmla="*/ 133814 h 2219092"/>
              <a:gd name="connsiteX8-1457" fmla="*/ 3044283 w 3088887"/>
              <a:gd name="connsiteY8-1458" fmla="*/ 55756 h 2219092"/>
              <a:gd name="connsiteX9-1459" fmla="*/ 3033131 w 3088887"/>
              <a:gd name="connsiteY9-1460" fmla="*/ 22302 h 2219092"/>
              <a:gd name="connsiteX10-1461" fmla="*/ 2977375 w 3088887"/>
              <a:gd name="connsiteY10-1462" fmla="*/ 0 h 2219092"/>
              <a:gd name="connsiteX11-1463" fmla="*/ 2966224 w 3088887"/>
              <a:gd name="connsiteY11-1464" fmla="*/ 44605 h 2219092"/>
              <a:gd name="connsiteX12-1465" fmla="*/ 2843561 w 3088887"/>
              <a:gd name="connsiteY12-1466" fmla="*/ 11151 h 2219092"/>
              <a:gd name="connsiteX13-1467" fmla="*/ 2810107 w 3088887"/>
              <a:gd name="connsiteY13-1468" fmla="*/ 100361 h 2219092"/>
              <a:gd name="connsiteX14-1469" fmla="*/ 2698595 w 3088887"/>
              <a:gd name="connsiteY14-1470" fmla="*/ 66907 h 2219092"/>
              <a:gd name="connsiteX15-1471" fmla="*/ 2653990 w 3088887"/>
              <a:gd name="connsiteY15-1472" fmla="*/ 100361 h 2219092"/>
              <a:gd name="connsiteX16-1473" fmla="*/ 2575931 w 3088887"/>
              <a:gd name="connsiteY16-1474" fmla="*/ 100361 h 2219092"/>
              <a:gd name="connsiteX17-1475" fmla="*/ 2575931 w 3088887"/>
              <a:gd name="connsiteY17-1476" fmla="*/ 100361 h 2219092"/>
              <a:gd name="connsiteX18-1477" fmla="*/ 2497873 w 3088887"/>
              <a:gd name="connsiteY18-1478" fmla="*/ 144966 h 2219092"/>
              <a:gd name="connsiteX19-1479" fmla="*/ 2419814 w 3088887"/>
              <a:gd name="connsiteY19-1480" fmla="*/ 178419 h 2219092"/>
              <a:gd name="connsiteX20-1481" fmla="*/ 2364058 w 3088887"/>
              <a:gd name="connsiteY20-1482" fmla="*/ 178419 h 2219092"/>
              <a:gd name="connsiteX21-1483" fmla="*/ 2364058 w 3088887"/>
              <a:gd name="connsiteY21-1484" fmla="*/ 178419 h 2219092"/>
              <a:gd name="connsiteX22-1485" fmla="*/ 2364058 w 3088887"/>
              <a:gd name="connsiteY22-1486" fmla="*/ 334536 h 2219092"/>
              <a:gd name="connsiteX23-1487" fmla="*/ 2230244 w 3088887"/>
              <a:gd name="connsiteY23-1488" fmla="*/ 312234 h 2219092"/>
              <a:gd name="connsiteX24-1489" fmla="*/ 2141034 w 3088887"/>
              <a:gd name="connsiteY24-1490" fmla="*/ 367990 h 2219092"/>
              <a:gd name="connsiteX25-1491" fmla="*/ 2029522 w 3088887"/>
              <a:gd name="connsiteY25-1492" fmla="*/ 401444 h 2219092"/>
              <a:gd name="connsiteX26-1493" fmla="*/ 1973766 w 3088887"/>
              <a:gd name="connsiteY26-1494" fmla="*/ 356839 h 2219092"/>
              <a:gd name="connsiteX27-1495" fmla="*/ 1940312 w 3088887"/>
              <a:gd name="connsiteY27-1496" fmla="*/ 390292 h 2219092"/>
              <a:gd name="connsiteX28-1497" fmla="*/ 1862253 w 3088887"/>
              <a:gd name="connsiteY28-1498" fmla="*/ 446048 h 2219092"/>
              <a:gd name="connsiteX29-1499" fmla="*/ 1750741 w 3088887"/>
              <a:gd name="connsiteY29-1500" fmla="*/ 434897 h 2219092"/>
              <a:gd name="connsiteX30-1501" fmla="*/ 1516566 w 3088887"/>
              <a:gd name="connsiteY30-1502" fmla="*/ 568712 h 2219092"/>
              <a:gd name="connsiteX31-1503" fmla="*/ 1393902 w 3088887"/>
              <a:gd name="connsiteY31-1504" fmla="*/ 680224 h 2219092"/>
              <a:gd name="connsiteX32-1505" fmla="*/ 925551 w 3088887"/>
              <a:gd name="connsiteY32-1506" fmla="*/ 802887 h 2219092"/>
              <a:gd name="connsiteX33-1507" fmla="*/ 858644 w 3088887"/>
              <a:gd name="connsiteY33-1508" fmla="*/ 858644 h 2219092"/>
              <a:gd name="connsiteX34-1509" fmla="*/ 724829 w 3088887"/>
              <a:gd name="connsiteY34-1510" fmla="*/ 1182029 h 2219092"/>
              <a:gd name="connsiteX35-1511" fmla="*/ 412595 w 3088887"/>
              <a:gd name="connsiteY35-1512" fmla="*/ 1349297 h 2219092"/>
              <a:gd name="connsiteX36-1513" fmla="*/ 390292 w 3088887"/>
              <a:gd name="connsiteY36-1514" fmla="*/ 1494263 h 2219092"/>
              <a:gd name="connsiteX37-1515" fmla="*/ 312234 w 3088887"/>
              <a:gd name="connsiteY37-1516" fmla="*/ 1605775 h 2219092"/>
              <a:gd name="connsiteX38-1517" fmla="*/ 289931 w 3088887"/>
              <a:gd name="connsiteY38-1518" fmla="*/ 1839951 h 2219092"/>
              <a:gd name="connsiteX39-1519" fmla="*/ 0 w 3088887"/>
              <a:gd name="connsiteY39-1520" fmla="*/ 2085278 h 2219092"/>
              <a:gd name="connsiteX0-1521" fmla="*/ 1083806 w 2946059"/>
              <a:gd name="connsiteY0-1522" fmla="*/ 2219092 h 2219092"/>
              <a:gd name="connsiteX1-1523" fmla="*/ 1106108 w 2946059"/>
              <a:gd name="connsiteY1-1524" fmla="*/ 1427356 h 2219092"/>
              <a:gd name="connsiteX2-1525" fmla="*/ 2221230 w 2946059"/>
              <a:gd name="connsiteY2-1526" fmla="*/ 1416205 h 2219092"/>
              <a:gd name="connsiteX3-1527" fmla="*/ 2210079 w 2946059"/>
              <a:gd name="connsiteY3-1528" fmla="*/ 568712 h 2219092"/>
              <a:gd name="connsiteX4-1529" fmla="*/ 2366196 w 2946059"/>
              <a:gd name="connsiteY4-1530" fmla="*/ 468351 h 2219092"/>
              <a:gd name="connsiteX5-1531" fmla="*/ 2711884 w 2946059"/>
              <a:gd name="connsiteY5-1532" fmla="*/ 289931 h 2219092"/>
              <a:gd name="connsiteX6-1533" fmla="*/ 2946059 w 2946059"/>
              <a:gd name="connsiteY6-1534" fmla="*/ 301083 h 2219092"/>
              <a:gd name="connsiteX7-1535" fmla="*/ 2946059 w 2946059"/>
              <a:gd name="connsiteY7-1536" fmla="*/ 133814 h 2219092"/>
              <a:gd name="connsiteX8-1537" fmla="*/ 2901455 w 2946059"/>
              <a:gd name="connsiteY8-1538" fmla="*/ 55756 h 2219092"/>
              <a:gd name="connsiteX9-1539" fmla="*/ 2890303 w 2946059"/>
              <a:gd name="connsiteY9-1540" fmla="*/ 22302 h 2219092"/>
              <a:gd name="connsiteX10-1541" fmla="*/ 2834547 w 2946059"/>
              <a:gd name="connsiteY10-1542" fmla="*/ 0 h 2219092"/>
              <a:gd name="connsiteX11-1543" fmla="*/ 2823396 w 2946059"/>
              <a:gd name="connsiteY11-1544" fmla="*/ 44605 h 2219092"/>
              <a:gd name="connsiteX12-1545" fmla="*/ 2700733 w 2946059"/>
              <a:gd name="connsiteY12-1546" fmla="*/ 11151 h 2219092"/>
              <a:gd name="connsiteX13-1547" fmla="*/ 2667279 w 2946059"/>
              <a:gd name="connsiteY13-1548" fmla="*/ 100361 h 2219092"/>
              <a:gd name="connsiteX14-1549" fmla="*/ 2555767 w 2946059"/>
              <a:gd name="connsiteY14-1550" fmla="*/ 66907 h 2219092"/>
              <a:gd name="connsiteX15-1551" fmla="*/ 2511162 w 2946059"/>
              <a:gd name="connsiteY15-1552" fmla="*/ 100361 h 2219092"/>
              <a:gd name="connsiteX16-1553" fmla="*/ 2433103 w 2946059"/>
              <a:gd name="connsiteY16-1554" fmla="*/ 100361 h 2219092"/>
              <a:gd name="connsiteX17-1555" fmla="*/ 2433103 w 2946059"/>
              <a:gd name="connsiteY17-1556" fmla="*/ 100361 h 2219092"/>
              <a:gd name="connsiteX18-1557" fmla="*/ 2355045 w 2946059"/>
              <a:gd name="connsiteY18-1558" fmla="*/ 144966 h 2219092"/>
              <a:gd name="connsiteX19-1559" fmla="*/ 2276986 w 2946059"/>
              <a:gd name="connsiteY19-1560" fmla="*/ 178419 h 2219092"/>
              <a:gd name="connsiteX20-1561" fmla="*/ 2221230 w 2946059"/>
              <a:gd name="connsiteY20-1562" fmla="*/ 178419 h 2219092"/>
              <a:gd name="connsiteX21-1563" fmla="*/ 2221230 w 2946059"/>
              <a:gd name="connsiteY21-1564" fmla="*/ 178419 h 2219092"/>
              <a:gd name="connsiteX22-1565" fmla="*/ 2221230 w 2946059"/>
              <a:gd name="connsiteY22-1566" fmla="*/ 334536 h 2219092"/>
              <a:gd name="connsiteX23-1567" fmla="*/ 2087416 w 2946059"/>
              <a:gd name="connsiteY23-1568" fmla="*/ 312234 h 2219092"/>
              <a:gd name="connsiteX24-1569" fmla="*/ 1998206 w 2946059"/>
              <a:gd name="connsiteY24-1570" fmla="*/ 367990 h 2219092"/>
              <a:gd name="connsiteX25-1571" fmla="*/ 1886694 w 2946059"/>
              <a:gd name="connsiteY25-1572" fmla="*/ 401444 h 2219092"/>
              <a:gd name="connsiteX26-1573" fmla="*/ 1830938 w 2946059"/>
              <a:gd name="connsiteY26-1574" fmla="*/ 356839 h 2219092"/>
              <a:gd name="connsiteX27-1575" fmla="*/ 1797484 w 2946059"/>
              <a:gd name="connsiteY27-1576" fmla="*/ 390292 h 2219092"/>
              <a:gd name="connsiteX28-1577" fmla="*/ 1719425 w 2946059"/>
              <a:gd name="connsiteY28-1578" fmla="*/ 446048 h 2219092"/>
              <a:gd name="connsiteX29-1579" fmla="*/ 1607913 w 2946059"/>
              <a:gd name="connsiteY29-1580" fmla="*/ 434897 h 2219092"/>
              <a:gd name="connsiteX30-1581" fmla="*/ 1373738 w 2946059"/>
              <a:gd name="connsiteY30-1582" fmla="*/ 568712 h 2219092"/>
              <a:gd name="connsiteX31-1583" fmla="*/ 1251074 w 2946059"/>
              <a:gd name="connsiteY31-1584" fmla="*/ 680224 h 2219092"/>
              <a:gd name="connsiteX32-1585" fmla="*/ 782723 w 2946059"/>
              <a:gd name="connsiteY32-1586" fmla="*/ 802887 h 2219092"/>
              <a:gd name="connsiteX33-1587" fmla="*/ 715816 w 2946059"/>
              <a:gd name="connsiteY33-1588" fmla="*/ 858644 h 2219092"/>
              <a:gd name="connsiteX34-1589" fmla="*/ 582001 w 2946059"/>
              <a:gd name="connsiteY34-1590" fmla="*/ 1182029 h 2219092"/>
              <a:gd name="connsiteX35-1591" fmla="*/ 269767 w 2946059"/>
              <a:gd name="connsiteY35-1592" fmla="*/ 1349297 h 2219092"/>
              <a:gd name="connsiteX36-1593" fmla="*/ 247464 w 2946059"/>
              <a:gd name="connsiteY36-1594" fmla="*/ 1494263 h 2219092"/>
              <a:gd name="connsiteX37-1595" fmla="*/ 169406 w 2946059"/>
              <a:gd name="connsiteY37-1596" fmla="*/ 1605775 h 2219092"/>
              <a:gd name="connsiteX38-1597" fmla="*/ 147103 w 2946059"/>
              <a:gd name="connsiteY38-1598" fmla="*/ 1839951 h 2219092"/>
              <a:gd name="connsiteX39-1599" fmla="*/ 0 w 2946059"/>
              <a:gd name="connsiteY39-1600" fmla="*/ 1942058 h 2219092"/>
              <a:gd name="connsiteX0-1601" fmla="*/ 1083688 w 2946059"/>
              <a:gd name="connsiteY0-1602" fmla="*/ 1790145 h 1942058"/>
              <a:gd name="connsiteX1-1603" fmla="*/ 1106108 w 2946059"/>
              <a:gd name="connsiteY1-1604" fmla="*/ 1427356 h 1942058"/>
              <a:gd name="connsiteX2-1605" fmla="*/ 2221230 w 2946059"/>
              <a:gd name="connsiteY2-1606" fmla="*/ 1416205 h 1942058"/>
              <a:gd name="connsiteX3-1607" fmla="*/ 2210079 w 2946059"/>
              <a:gd name="connsiteY3-1608" fmla="*/ 568712 h 1942058"/>
              <a:gd name="connsiteX4-1609" fmla="*/ 2366196 w 2946059"/>
              <a:gd name="connsiteY4-1610" fmla="*/ 468351 h 1942058"/>
              <a:gd name="connsiteX5-1611" fmla="*/ 2711884 w 2946059"/>
              <a:gd name="connsiteY5-1612" fmla="*/ 289931 h 1942058"/>
              <a:gd name="connsiteX6-1613" fmla="*/ 2946059 w 2946059"/>
              <a:gd name="connsiteY6-1614" fmla="*/ 301083 h 1942058"/>
              <a:gd name="connsiteX7-1615" fmla="*/ 2946059 w 2946059"/>
              <a:gd name="connsiteY7-1616" fmla="*/ 133814 h 1942058"/>
              <a:gd name="connsiteX8-1617" fmla="*/ 2901455 w 2946059"/>
              <a:gd name="connsiteY8-1618" fmla="*/ 55756 h 1942058"/>
              <a:gd name="connsiteX9-1619" fmla="*/ 2890303 w 2946059"/>
              <a:gd name="connsiteY9-1620" fmla="*/ 22302 h 1942058"/>
              <a:gd name="connsiteX10-1621" fmla="*/ 2834547 w 2946059"/>
              <a:gd name="connsiteY10-1622" fmla="*/ 0 h 1942058"/>
              <a:gd name="connsiteX11-1623" fmla="*/ 2823396 w 2946059"/>
              <a:gd name="connsiteY11-1624" fmla="*/ 44605 h 1942058"/>
              <a:gd name="connsiteX12-1625" fmla="*/ 2700733 w 2946059"/>
              <a:gd name="connsiteY12-1626" fmla="*/ 11151 h 1942058"/>
              <a:gd name="connsiteX13-1627" fmla="*/ 2667279 w 2946059"/>
              <a:gd name="connsiteY13-1628" fmla="*/ 100361 h 1942058"/>
              <a:gd name="connsiteX14-1629" fmla="*/ 2555767 w 2946059"/>
              <a:gd name="connsiteY14-1630" fmla="*/ 66907 h 1942058"/>
              <a:gd name="connsiteX15-1631" fmla="*/ 2511162 w 2946059"/>
              <a:gd name="connsiteY15-1632" fmla="*/ 100361 h 1942058"/>
              <a:gd name="connsiteX16-1633" fmla="*/ 2433103 w 2946059"/>
              <a:gd name="connsiteY16-1634" fmla="*/ 100361 h 1942058"/>
              <a:gd name="connsiteX17-1635" fmla="*/ 2433103 w 2946059"/>
              <a:gd name="connsiteY17-1636" fmla="*/ 100361 h 1942058"/>
              <a:gd name="connsiteX18-1637" fmla="*/ 2355045 w 2946059"/>
              <a:gd name="connsiteY18-1638" fmla="*/ 144966 h 1942058"/>
              <a:gd name="connsiteX19-1639" fmla="*/ 2276986 w 2946059"/>
              <a:gd name="connsiteY19-1640" fmla="*/ 178419 h 1942058"/>
              <a:gd name="connsiteX20-1641" fmla="*/ 2221230 w 2946059"/>
              <a:gd name="connsiteY20-1642" fmla="*/ 178419 h 1942058"/>
              <a:gd name="connsiteX21-1643" fmla="*/ 2221230 w 2946059"/>
              <a:gd name="connsiteY21-1644" fmla="*/ 178419 h 1942058"/>
              <a:gd name="connsiteX22-1645" fmla="*/ 2221230 w 2946059"/>
              <a:gd name="connsiteY22-1646" fmla="*/ 334536 h 1942058"/>
              <a:gd name="connsiteX23-1647" fmla="*/ 2087416 w 2946059"/>
              <a:gd name="connsiteY23-1648" fmla="*/ 312234 h 1942058"/>
              <a:gd name="connsiteX24-1649" fmla="*/ 1998206 w 2946059"/>
              <a:gd name="connsiteY24-1650" fmla="*/ 367990 h 1942058"/>
              <a:gd name="connsiteX25-1651" fmla="*/ 1886694 w 2946059"/>
              <a:gd name="connsiteY25-1652" fmla="*/ 401444 h 1942058"/>
              <a:gd name="connsiteX26-1653" fmla="*/ 1830938 w 2946059"/>
              <a:gd name="connsiteY26-1654" fmla="*/ 356839 h 1942058"/>
              <a:gd name="connsiteX27-1655" fmla="*/ 1797484 w 2946059"/>
              <a:gd name="connsiteY27-1656" fmla="*/ 390292 h 1942058"/>
              <a:gd name="connsiteX28-1657" fmla="*/ 1719425 w 2946059"/>
              <a:gd name="connsiteY28-1658" fmla="*/ 446048 h 1942058"/>
              <a:gd name="connsiteX29-1659" fmla="*/ 1607913 w 2946059"/>
              <a:gd name="connsiteY29-1660" fmla="*/ 434897 h 1942058"/>
              <a:gd name="connsiteX30-1661" fmla="*/ 1373738 w 2946059"/>
              <a:gd name="connsiteY30-1662" fmla="*/ 568712 h 1942058"/>
              <a:gd name="connsiteX31-1663" fmla="*/ 1251074 w 2946059"/>
              <a:gd name="connsiteY31-1664" fmla="*/ 680224 h 1942058"/>
              <a:gd name="connsiteX32-1665" fmla="*/ 782723 w 2946059"/>
              <a:gd name="connsiteY32-1666" fmla="*/ 802887 h 1942058"/>
              <a:gd name="connsiteX33-1667" fmla="*/ 715816 w 2946059"/>
              <a:gd name="connsiteY33-1668" fmla="*/ 858644 h 1942058"/>
              <a:gd name="connsiteX34-1669" fmla="*/ 582001 w 2946059"/>
              <a:gd name="connsiteY34-1670" fmla="*/ 1182029 h 1942058"/>
              <a:gd name="connsiteX35-1671" fmla="*/ 269767 w 2946059"/>
              <a:gd name="connsiteY35-1672" fmla="*/ 1349297 h 1942058"/>
              <a:gd name="connsiteX36-1673" fmla="*/ 247464 w 2946059"/>
              <a:gd name="connsiteY36-1674" fmla="*/ 1494263 h 1942058"/>
              <a:gd name="connsiteX37-1675" fmla="*/ 169406 w 2946059"/>
              <a:gd name="connsiteY37-1676" fmla="*/ 1605775 h 1942058"/>
              <a:gd name="connsiteX38-1677" fmla="*/ 147103 w 2946059"/>
              <a:gd name="connsiteY38-1678" fmla="*/ 1839951 h 1942058"/>
              <a:gd name="connsiteX39-1679" fmla="*/ 0 w 2946059"/>
              <a:gd name="connsiteY39-1680" fmla="*/ 1942058 h 1942058"/>
              <a:gd name="connsiteX0-1681" fmla="*/ 940860 w 2803231"/>
              <a:gd name="connsiteY0-1682" fmla="*/ 1790145 h 1839951"/>
              <a:gd name="connsiteX1-1683" fmla="*/ 963280 w 2803231"/>
              <a:gd name="connsiteY1-1684" fmla="*/ 1427356 h 1839951"/>
              <a:gd name="connsiteX2-1685" fmla="*/ 2078402 w 2803231"/>
              <a:gd name="connsiteY2-1686" fmla="*/ 1416205 h 1839951"/>
              <a:gd name="connsiteX3-1687" fmla="*/ 2067251 w 2803231"/>
              <a:gd name="connsiteY3-1688" fmla="*/ 568712 h 1839951"/>
              <a:gd name="connsiteX4-1689" fmla="*/ 2223368 w 2803231"/>
              <a:gd name="connsiteY4-1690" fmla="*/ 468351 h 1839951"/>
              <a:gd name="connsiteX5-1691" fmla="*/ 2569056 w 2803231"/>
              <a:gd name="connsiteY5-1692" fmla="*/ 289931 h 1839951"/>
              <a:gd name="connsiteX6-1693" fmla="*/ 2803231 w 2803231"/>
              <a:gd name="connsiteY6-1694" fmla="*/ 301083 h 1839951"/>
              <a:gd name="connsiteX7-1695" fmla="*/ 2803231 w 2803231"/>
              <a:gd name="connsiteY7-1696" fmla="*/ 133814 h 1839951"/>
              <a:gd name="connsiteX8-1697" fmla="*/ 2758627 w 2803231"/>
              <a:gd name="connsiteY8-1698" fmla="*/ 55756 h 1839951"/>
              <a:gd name="connsiteX9-1699" fmla="*/ 2747475 w 2803231"/>
              <a:gd name="connsiteY9-1700" fmla="*/ 22302 h 1839951"/>
              <a:gd name="connsiteX10-1701" fmla="*/ 2691719 w 2803231"/>
              <a:gd name="connsiteY10-1702" fmla="*/ 0 h 1839951"/>
              <a:gd name="connsiteX11-1703" fmla="*/ 2680568 w 2803231"/>
              <a:gd name="connsiteY11-1704" fmla="*/ 44605 h 1839951"/>
              <a:gd name="connsiteX12-1705" fmla="*/ 2557905 w 2803231"/>
              <a:gd name="connsiteY12-1706" fmla="*/ 11151 h 1839951"/>
              <a:gd name="connsiteX13-1707" fmla="*/ 2524451 w 2803231"/>
              <a:gd name="connsiteY13-1708" fmla="*/ 100361 h 1839951"/>
              <a:gd name="connsiteX14-1709" fmla="*/ 2412939 w 2803231"/>
              <a:gd name="connsiteY14-1710" fmla="*/ 66907 h 1839951"/>
              <a:gd name="connsiteX15-1711" fmla="*/ 2368334 w 2803231"/>
              <a:gd name="connsiteY15-1712" fmla="*/ 100361 h 1839951"/>
              <a:gd name="connsiteX16-1713" fmla="*/ 2290275 w 2803231"/>
              <a:gd name="connsiteY16-1714" fmla="*/ 100361 h 1839951"/>
              <a:gd name="connsiteX17-1715" fmla="*/ 2290275 w 2803231"/>
              <a:gd name="connsiteY17-1716" fmla="*/ 100361 h 1839951"/>
              <a:gd name="connsiteX18-1717" fmla="*/ 2212217 w 2803231"/>
              <a:gd name="connsiteY18-1718" fmla="*/ 144966 h 1839951"/>
              <a:gd name="connsiteX19-1719" fmla="*/ 2134158 w 2803231"/>
              <a:gd name="connsiteY19-1720" fmla="*/ 178419 h 1839951"/>
              <a:gd name="connsiteX20-1721" fmla="*/ 2078402 w 2803231"/>
              <a:gd name="connsiteY20-1722" fmla="*/ 178419 h 1839951"/>
              <a:gd name="connsiteX21-1723" fmla="*/ 2078402 w 2803231"/>
              <a:gd name="connsiteY21-1724" fmla="*/ 178419 h 1839951"/>
              <a:gd name="connsiteX22-1725" fmla="*/ 2078402 w 2803231"/>
              <a:gd name="connsiteY22-1726" fmla="*/ 334536 h 1839951"/>
              <a:gd name="connsiteX23-1727" fmla="*/ 1944588 w 2803231"/>
              <a:gd name="connsiteY23-1728" fmla="*/ 312234 h 1839951"/>
              <a:gd name="connsiteX24-1729" fmla="*/ 1855378 w 2803231"/>
              <a:gd name="connsiteY24-1730" fmla="*/ 367990 h 1839951"/>
              <a:gd name="connsiteX25-1731" fmla="*/ 1743866 w 2803231"/>
              <a:gd name="connsiteY25-1732" fmla="*/ 401444 h 1839951"/>
              <a:gd name="connsiteX26-1733" fmla="*/ 1688110 w 2803231"/>
              <a:gd name="connsiteY26-1734" fmla="*/ 356839 h 1839951"/>
              <a:gd name="connsiteX27-1735" fmla="*/ 1654656 w 2803231"/>
              <a:gd name="connsiteY27-1736" fmla="*/ 390292 h 1839951"/>
              <a:gd name="connsiteX28-1737" fmla="*/ 1576597 w 2803231"/>
              <a:gd name="connsiteY28-1738" fmla="*/ 446048 h 1839951"/>
              <a:gd name="connsiteX29-1739" fmla="*/ 1465085 w 2803231"/>
              <a:gd name="connsiteY29-1740" fmla="*/ 434897 h 1839951"/>
              <a:gd name="connsiteX30-1741" fmla="*/ 1230910 w 2803231"/>
              <a:gd name="connsiteY30-1742" fmla="*/ 568712 h 1839951"/>
              <a:gd name="connsiteX31-1743" fmla="*/ 1108246 w 2803231"/>
              <a:gd name="connsiteY31-1744" fmla="*/ 680224 h 1839951"/>
              <a:gd name="connsiteX32-1745" fmla="*/ 639895 w 2803231"/>
              <a:gd name="connsiteY32-1746" fmla="*/ 802887 h 1839951"/>
              <a:gd name="connsiteX33-1747" fmla="*/ 572988 w 2803231"/>
              <a:gd name="connsiteY33-1748" fmla="*/ 858644 h 1839951"/>
              <a:gd name="connsiteX34-1749" fmla="*/ 439173 w 2803231"/>
              <a:gd name="connsiteY34-1750" fmla="*/ 1182029 h 1839951"/>
              <a:gd name="connsiteX35-1751" fmla="*/ 126939 w 2803231"/>
              <a:gd name="connsiteY35-1752" fmla="*/ 1349297 h 1839951"/>
              <a:gd name="connsiteX36-1753" fmla="*/ 104636 w 2803231"/>
              <a:gd name="connsiteY36-1754" fmla="*/ 1494263 h 1839951"/>
              <a:gd name="connsiteX37-1755" fmla="*/ 26578 w 2803231"/>
              <a:gd name="connsiteY37-1756" fmla="*/ 1605775 h 1839951"/>
              <a:gd name="connsiteX38-1757" fmla="*/ 4275 w 2803231"/>
              <a:gd name="connsiteY38-1758" fmla="*/ 1839951 h 1839951"/>
              <a:gd name="connsiteX39-1759" fmla="*/ 0 w 2803231"/>
              <a:gd name="connsiteY39-1760" fmla="*/ 1798862 h 1839951"/>
              <a:gd name="connsiteX0-1761" fmla="*/ 940758 w 2803231"/>
              <a:gd name="connsiteY0-1762" fmla="*/ 1861252 h 1861252"/>
              <a:gd name="connsiteX1-1763" fmla="*/ 963280 w 2803231"/>
              <a:gd name="connsiteY1-1764" fmla="*/ 1427356 h 1861252"/>
              <a:gd name="connsiteX2-1765" fmla="*/ 2078402 w 2803231"/>
              <a:gd name="connsiteY2-1766" fmla="*/ 1416205 h 1861252"/>
              <a:gd name="connsiteX3-1767" fmla="*/ 2067251 w 2803231"/>
              <a:gd name="connsiteY3-1768" fmla="*/ 568712 h 1861252"/>
              <a:gd name="connsiteX4-1769" fmla="*/ 2223368 w 2803231"/>
              <a:gd name="connsiteY4-1770" fmla="*/ 468351 h 1861252"/>
              <a:gd name="connsiteX5-1771" fmla="*/ 2569056 w 2803231"/>
              <a:gd name="connsiteY5-1772" fmla="*/ 289931 h 1861252"/>
              <a:gd name="connsiteX6-1773" fmla="*/ 2803231 w 2803231"/>
              <a:gd name="connsiteY6-1774" fmla="*/ 301083 h 1861252"/>
              <a:gd name="connsiteX7-1775" fmla="*/ 2803231 w 2803231"/>
              <a:gd name="connsiteY7-1776" fmla="*/ 133814 h 1861252"/>
              <a:gd name="connsiteX8-1777" fmla="*/ 2758627 w 2803231"/>
              <a:gd name="connsiteY8-1778" fmla="*/ 55756 h 1861252"/>
              <a:gd name="connsiteX9-1779" fmla="*/ 2747475 w 2803231"/>
              <a:gd name="connsiteY9-1780" fmla="*/ 22302 h 1861252"/>
              <a:gd name="connsiteX10-1781" fmla="*/ 2691719 w 2803231"/>
              <a:gd name="connsiteY10-1782" fmla="*/ 0 h 1861252"/>
              <a:gd name="connsiteX11-1783" fmla="*/ 2680568 w 2803231"/>
              <a:gd name="connsiteY11-1784" fmla="*/ 44605 h 1861252"/>
              <a:gd name="connsiteX12-1785" fmla="*/ 2557905 w 2803231"/>
              <a:gd name="connsiteY12-1786" fmla="*/ 11151 h 1861252"/>
              <a:gd name="connsiteX13-1787" fmla="*/ 2524451 w 2803231"/>
              <a:gd name="connsiteY13-1788" fmla="*/ 100361 h 1861252"/>
              <a:gd name="connsiteX14-1789" fmla="*/ 2412939 w 2803231"/>
              <a:gd name="connsiteY14-1790" fmla="*/ 66907 h 1861252"/>
              <a:gd name="connsiteX15-1791" fmla="*/ 2368334 w 2803231"/>
              <a:gd name="connsiteY15-1792" fmla="*/ 100361 h 1861252"/>
              <a:gd name="connsiteX16-1793" fmla="*/ 2290275 w 2803231"/>
              <a:gd name="connsiteY16-1794" fmla="*/ 100361 h 1861252"/>
              <a:gd name="connsiteX17-1795" fmla="*/ 2290275 w 2803231"/>
              <a:gd name="connsiteY17-1796" fmla="*/ 100361 h 1861252"/>
              <a:gd name="connsiteX18-1797" fmla="*/ 2212217 w 2803231"/>
              <a:gd name="connsiteY18-1798" fmla="*/ 144966 h 1861252"/>
              <a:gd name="connsiteX19-1799" fmla="*/ 2134158 w 2803231"/>
              <a:gd name="connsiteY19-1800" fmla="*/ 178419 h 1861252"/>
              <a:gd name="connsiteX20-1801" fmla="*/ 2078402 w 2803231"/>
              <a:gd name="connsiteY20-1802" fmla="*/ 178419 h 1861252"/>
              <a:gd name="connsiteX21-1803" fmla="*/ 2078402 w 2803231"/>
              <a:gd name="connsiteY21-1804" fmla="*/ 178419 h 1861252"/>
              <a:gd name="connsiteX22-1805" fmla="*/ 2078402 w 2803231"/>
              <a:gd name="connsiteY22-1806" fmla="*/ 334536 h 1861252"/>
              <a:gd name="connsiteX23-1807" fmla="*/ 1944588 w 2803231"/>
              <a:gd name="connsiteY23-1808" fmla="*/ 312234 h 1861252"/>
              <a:gd name="connsiteX24-1809" fmla="*/ 1855378 w 2803231"/>
              <a:gd name="connsiteY24-1810" fmla="*/ 367990 h 1861252"/>
              <a:gd name="connsiteX25-1811" fmla="*/ 1743866 w 2803231"/>
              <a:gd name="connsiteY25-1812" fmla="*/ 401444 h 1861252"/>
              <a:gd name="connsiteX26-1813" fmla="*/ 1688110 w 2803231"/>
              <a:gd name="connsiteY26-1814" fmla="*/ 356839 h 1861252"/>
              <a:gd name="connsiteX27-1815" fmla="*/ 1654656 w 2803231"/>
              <a:gd name="connsiteY27-1816" fmla="*/ 390292 h 1861252"/>
              <a:gd name="connsiteX28-1817" fmla="*/ 1576597 w 2803231"/>
              <a:gd name="connsiteY28-1818" fmla="*/ 446048 h 1861252"/>
              <a:gd name="connsiteX29-1819" fmla="*/ 1465085 w 2803231"/>
              <a:gd name="connsiteY29-1820" fmla="*/ 434897 h 1861252"/>
              <a:gd name="connsiteX30-1821" fmla="*/ 1230910 w 2803231"/>
              <a:gd name="connsiteY30-1822" fmla="*/ 568712 h 1861252"/>
              <a:gd name="connsiteX31-1823" fmla="*/ 1108246 w 2803231"/>
              <a:gd name="connsiteY31-1824" fmla="*/ 680224 h 1861252"/>
              <a:gd name="connsiteX32-1825" fmla="*/ 639895 w 2803231"/>
              <a:gd name="connsiteY32-1826" fmla="*/ 802887 h 1861252"/>
              <a:gd name="connsiteX33-1827" fmla="*/ 572988 w 2803231"/>
              <a:gd name="connsiteY33-1828" fmla="*/ 858644 h 1861252"/>
              <a:gd name="connsiteX34-1829" fmla="*/ 439173 w 2803231"/>
              <a:gd name="connsiteY34-1830" fmla="*/ 1182029 h 1861252"/>
              <a:gd name="connsiteX35-1831" fmla="*/ 126939 w 2803231"/>
              <a:gd name="connsiteY35-1832" fmla="*/ 1349297 h 1861252"/>
              <a:gd name="connsiteX36-1833" fmla="*/ 104636 w 2803231"/>
              <a:gd name="connsiteY36-1834" fmla="*/ 1494263 h 1861252"/>
              <a:gd name="connsiteX37-1835" fmla="*/ 26578 w 2803231"/>
              <a:gd name="connsiteY37-1836" fmla="*/ 1605775 h 1861252"/>
              <a:gd name="connsiteX38-1837" fmla="*/ 4275 w 2803231"/>
              <a:gd name="connsiteY38-1838" fmla="*/ 1839951 h 1861252"/>
              <a:gd name="connsiteX39-1839" fmla="*/ 0 w 2803231"/>
              <a:gd name="connsiteY39-1840" fmla="*/ 1798862 h 1861252"/>
              <a:gd name="connsiteX0-1841" fmla="*/ 940758 w 2803231"/>
              <a:gd name="connsiteY0-1842" fmla="*/ 1861252 h 1861252"/>
              <a:gd name="connsiteX1-1843" fmla="*/ 963280 w 2803231"/>
              <a:gd name="connsiteY1-1844" fmla="*/ 1427356 h 1861252"/>
              <a:gd name="connsiteX2-1845" fmla="*/ 2078402 w 2803231"/>
              <a:gd name="connsiteY2-1846" fmla="*/ 1416205 h 1861252"/>
              <a:gd name="connsiteX3-1847" fmla="*/ 2067251 w 2803231"/>
              <a:gd name="connsiteY3-1848" fmla="*/ 568712 h 1861252"/>
              <a:gd name="connsiteX4-1849" fmla="*/ 2223368 w 2803231"/>
              <a:gd name="connsiteY4-1850" fmla="*/ 468351 h 1861252"/>
              <a:gd name="connsiteX5-1851" fmla="*/ 2569056 w 2803231"/>
              <a:gd name="connsiteY5-1852" fmla="*/ 289931 h 1861252"/>
              <a:gd name="connsiteX6-1853" fmla="*/ 2803231 w 2803231"/>
              <a:gd name="connsiteY6-1854" fmla="*/ 301083 h 1861252"/>
              <a:gd name="connsiteX7-1855" fmla="*/ 2803231 w 2803231"/>
              <a:gd name="connsiteY7-1856" fmla="*/ 133814 h 1861252"/>
              <a:gd name="connsiteX8-1857" fmla="*/ 2758627 w 2803231"/>
              <a:gd name="connsiteY8-1858" fmla="*/ 55756 h 1861252"/>
              <a:gd name="connsiteX9-1859" fmla="*/ 2747475 w 2803231"/>
              <a:gd name="connsiteY9-1860" fmla="*/ 22302 h 1861252"/>
              <a:gd name="connsiteX10-1861" fmla="*/ 2691719 w 2803231"/>
              <a:gd name="connsiteY10-1862" fmla="*/ 0 h 1861252"/>
              <a:gd name="connsiteX11-1863" fmla="*/ 2680568 w 2803231"/>
              <a:gd name="connsiteY11-1864" fmla="*/ 44605 h 1861252"/>
              <a:gd name="connsiteX12-1865" fmla="*/ 2557905 w 2803231"/>
              <a:gd name="connsiteY12-1866" fmla="*/ 11151 h 1861252"/>
              <a:gd name="connsiteX13-1867" fmla="*/ 2524451 w 2803231"/>
              <a:gd name="connsiteY13-1868" fmla="*/ 100361 h 1861252"/>
              <a:gd name="connsiteX14-1869" fmla="*/ 2412939 w 2803231"/>
              <a:gd name="connsiteY14-1870" fmla="*/ 66907 h 1861252"/>
              <a:gd name="connsiteX15-1871" fmla="*/ 2368334 w 2803231"/>
              <a:gd name="connsiteY15-1872" fmla="*/ 100361 h 1861252"/>
              <a:gd name="connsiteX16-1873" fmla="*/ 2290275 w 2803231"/>
              <a:gd name="connsiteY16-1874" fmla="*/ 100361 h 1861252"/>
              <a:gd name="connsiteX17-1875" fmla="*/ 2290275 w 2803231"/>
              <a:gd name="connsiteY17-1876" fmla="*/ 100361 h 1861252"/>
              <a:gd name="connsiteX18-1877" fmla="*/ 2212217 w 2803231"/>
              <a:gd name="connsiteY18-1878" fmla="*/ 144966 h 1861252"/>
              <a:gd name="connsiteX19-1879" fmla="*/ 2134158 w 2803231"/>
              <a:gd name="connsiteY19-1880" fmla="*/ 178419 h 1861252"/>
              <a:gd name="connsiteX20-1881" fmla="*/ 2078402 w 2803231"/>
              <a:gd name="connsiteY20-1882" fmla="*/ 178419 h 1861252"/>
              <a:gd name="connsiteX21-1883" fmla="*/ 2078402 w 2803231"/>
              <a:gd name="connsiteY21-1884" fmla="*/ 178419 h 1861252"/>
              <a:gd name="connsiteX22-1885" fmla="*/ 2078402 w 2803231"/>
              <a:gd name="connsiteY22-1886" fmla="*/ 334536 h 1861252"/>
              <a:gd name="connsiteX23-1887" fmla="*/ 1944588 w 2803231"/>
              <a:gd name="connsiteY23-1888" fmla="*/ 312234 h 1861252"/>
              <a:gd name="connsiteX24-1889" fmla="*/ 1855378 w 2803231"/>
              <a:gd name="connsiteY24-1890" fmla="*/ 367990 h 1861252"/>
              <a:gd name="connsiteX25-1891" fmla="*/ 1743866 w 2803231"/>
              <a:gd name="connsiteY25-1892" fmla="*/ 401444 h 1861252"/>
              <a:gd name="connsiteX26-1893" fmla="*/ 1688110 w 2803231"/>
              <a:gd name="connsiteY26-1894" fmla="*/ 356839 h 1861252"/>
              <a:gd name="connsiteX27-1895" fmla="*/ 1654656 w 2803231"/>
              <a:gd name="connsiteY27-1896" fmla="*/ 390292 h 1861252"/>
              <a:gd name="connsiteX28-1897" fmla="*/ 1576597 w 2803231"/>
              <a:gd name="connsiteY28-1898" fmla="*/ 446048 h 1861252"/>
              <a:gd name="connsiteX29-1899" fmla="*/ 1465085 w 2803231"/>
              <a:gd name="connsiteY29-1900" fmla="*/ 434897 h 1861252"/>
              <a:gd name="connsiteX30-1901" fmla="*/ 1230910 w 2803231"/>
              <a:gd name="connsiteY30-1902" fmla="*/ 568712 h 1861252"/>
              <a:gd name="connsiteX31-1903" fmla="*/ 1108246 w 2803231"/>
              <a:gd name="connsiteY31-1904" fmla="*/ 680224 h 1861252"/>
              <a:gd name="connsiteX32-1905" fmla="*/ 639895 w 2803231"/>
              <a:gd name="connsiteY32-1906" fmla="*/ 802887 h 1861252"/>
              <a:gd name="connsiteX33-1907" fmla="*/ 572988 w 2803231"/>
              <a:gd name="connsiteY33-1908" fmla="*/ 858644 h 1861252"/>
              <a:gd name="connsiteX34-1909" fmla="*/ 439173 w 2803231"/>
              <a:gd name="connsiteY34-1910" fmla="*/ 1182029 h 1861252"/>
              <a:gd name="connsiteX35-1911" fmla="*/ 126939 w 2803231"/>
              <a:gd name="connsiteY35-1912" fmla="*/ 1349297 h 1861252"/>
              <a:gd name="connsiteX36-1913" fmla="*/ 104636 w 2803231"/>
              <a:gd name="connsiteY36-1914" fmla="*/ 1494263 h 1861252"/>
              <a:gd name="connsiteX37-1915" fmla="*/ 26578 w 2803231"/>
              <a:gd name="connsiteY37-1916" fmla="*/ 1605775 h 1861252"/>
              <a:gd name="connsiteX38-1917" fmla="*/ 4275 w 2803231"/>
              <a:gd name="connsiteY38-1918" fmla="*/ 1839951 h 1861252"/>
              <a:gd name="connsiteX39-1919" fmla="*/ 0 w 2803231"/>
              <a:gd name="connsiteY39-1920" fmla="*/ 1798862 h 1861252"/>
              <a:gd name="connsiteX40-1921" fmla="*/ 940758 w 2803231"/>
              <a:gd name="connsiteY40-1922" fmla="*/ 1861252 h 1861252"/>
              <a:gd name="connsiteX0-1923" fmla="*/ 940758 w 2803231"/>
              <a:gd name="connsiteY0-1924" fmla="*/ 1861252 h 1861252"/>
              <a:gd name="connsiteX1-1925" fmla="*/ 963280 w 2803231"/>
              <a:gd name="connsiteY1-1926" fmla="*/ 1427356 h 1861252"/>
              <a:gd name="connsiteX2-1927" fmla="*/ 2078402 w 2803231"/>
              <a:gd name="connsiteY2-1928" fmla="*/ 1416205 h 1861252"/>
              <a:gd name="connsiteX3-1929" fmla="*/ 2067251 w 2803231"/>
              <a:gd name="connsiteY3-1930" fmla="*/ 568712 h 1861252"/>
              <a:gd name="connsiteX4-1931" fmla="*/ 2223368 w 2803231"/>
              <a:gd name="connsiteY4-1932" fmla="*/ 468351 h 1861252"/>
              <a:gd name="connsiteX5-1933" fmla="*/ 2569056 w 2803231"/>
              <a:gd name="connsiteY5-1934" fmla="*/ 289931 h 1861252"/>
              <a:gd name="connsiteX6-1935" fmla="*/ 2803231 w 2803231"/>
              <a:gd name="connsiteY6-1936" fmla="*/ 301083 h 1861252"/>
              <a:gd name="connsiteX7-1937" fmla="*/ 2803231 w 2803231"/>
              <a:gd name="connsiteY7-1938" fmla="*/ 133814 h 1861252"/>
              <a:gd name="connsiteX8-1939" fmla="*/ 2758627 w 2803231"/>
              <a:gd name="connsiteY8-1940" fmla="*/ 55756 h 1861252"/>
              <a:gd name="connsiteX9-1941" fmla="*/ 2747475 w 2803231"/>
              <a:gd name="connsiteY9-1942" fmla="*/ 22302 h 1861252"/>
              <a:gd name="connsiteX10-1943" fmla="*/ 2691719 w 2803231"/>
              <a:gd name="connsiteY10-1944" fmla="*/ 0 h 1861252"/>
              <a:gd name="connsiteX11-1945" fmla="*/ 2680568 w 2803231"/>
              <a:gd name="connsiteY11-1946" fmla="*/ 44605 h 1861252"/>
              <a:gd name="connsiteX12-1947" fmla="*/ 2557905 w 2803231"/>
              <a:gd name="connsiteY12-1948" fmla="*/ 11151 h 1861252"/>
              <a:gd name="connsiteX13-1949" fmla="*/ 2524451 w 2803231"/>
              <a:gd name="connsiteY13-1950" fmla="*/ 100361 h 1861252"/>
              <a:gd name="connsiteX14-1951" fmla="*/ 2412939 w 2803231"/>
              <a:gd name="connsiteY14-1952" fmla="*/ 66907 h 1861252"/>
              <a:gd name="connsiteX15-1953" fmla="*/ 2368334 w 2803231"/>
              <a:gd name="connsiteY15-1954" fmla="*/ 100361 h 1861252"/>
              <a:gd name="connsiteX16-1955" fmla="*/ 2290275 w 2803231"/>
              <a:gd name="connsiteY16-1956" fmla="*/ 100361 h 1861252"/>
              <a:gd name="connsiteX17-1957" fmla="*/ 2290275 w 2803231"/>
              <a:gd name="connsiteY17-1958" fmla="*/ 100361 h 1861252"/>
              <a:gd name="connsiteX18-1959" fmla="*/ 2212217 w 2803231"/>
              <a:gd name="connsiteY18-1960" fmla="*/ 144966 h 1861252"/>
              <a:gd name="connsiteX19-1961" fmla="*/ 2134158 w 2803231"/>
              <a:gd name="connsiteY19-1962" fmla="*/ 178419 h 1861252"/>
              <a:gd name="connsiteX20-1963" fmla="*/ 2078402 w 2803231"/>
              <a:gd name="connsiteY20-1964" fmla="*/ 178419 h 1861252"/>
              <a:gd name="connsiteX21-1965" fmla="*/ 2078402 w 2803231"/>
              <a:gd name="connsiteY21-1966" fmla="*/ 178419 h 1861252"/>
              <a:gd name="connsiteX22-1967" fmla="*/ 2078402 w 2803231"/>
              <a:gd name="connsiteY22-1968" fmla="*/ 334536 h 1861252"/>
              <a:gd name="connsiteX23-1969" fmla="*/ 1944588 w 2803231"/>
              <a:gd name="connsiteY23-1970" fmla="*/ 312234 h 1861252"/>
              <a:gd name="connsiteX24-1971" fmla="*/ 1855378 w 2803231"/>
              <a:gd name="connsiteY24-1972" fmla="*/ 367990 h 1861252"/>
              <a:gd name="connsiteX25-1973" fmla="*/ 1743866 w 2803231"/>
              <a:gd name="connsiteY25-1974" fmla="*/ 401444 h 1861252"/>
              <a:gd name="connsiteX26-1975" fmla="*/ 1688110 w 2803231"/>
              <a:gd name="connsiteY26-1976" fmla="*/ 356839 h 1861252"/>
              <a:gd name="connsiteX27-1977" fmla="*/ 1654656 w 2803231"/>
              <a:gd name="connsiteY27-1978" fmla="*/ 390292 h 1861252"/>
              <a:gd name="connsiteX28-1979" fmla="*/ 1576597 w 2803231"/>
              <a:gd name="connsiteY28-1980" fmla="*/ 446048 h 1861252"/>
              <a:gd name="connsiteX29-1981" fmla="*/ 1465085 w 2803231"/>
              <a:gd name="connsiteY29-1982" fmla="*/ 434897 h 1861252"/>
              <a:gd name="connsiteX30-1983" fmla="*/ 1230910 w 2803231"/>
              <a:gd name="connsiteY30-1984" fmla="*/ 568712 h 1861252"/>
              <a:gd name="connsiteX31-1985" fmla="*/ 1108246 w 2803231"/>
              <a:gd name="connsiteY31-1986" fmla="*/ 680224 h 1861252"/>
              <a:gd name="connsiteX32-1987" fmla="*/ 639895 w 2803231"/>
              <a:gd name="connsiteY32-1988" fmla="*/ 802887 h 1861252"/>
              <a:gd name="connsiteX33-1989" fmla="*/ 572988 w 2803231"/>
              <a:gd name="connsiteY33-1990" fmla="*/ 858644 h 1861252"/>
              <a:gd name="connsiteX34-1991" fmla="*/ 439173 w 2803231"/>
              <a:gd name="connsiteY34-1992" fmla="*/ 1182029 h 1861252"/>
              <a:gd name="connsiteX35-1993" fmla="*/ 126939 w 2803231"/>
              <a:gd name="connsiteY35-1994" fmla="*/ 1349297 h 1861252"/>
              <a:gd name="connsiteX36-1995" fmla="*/ 104636 w 2803231"/>
              <a:gd name="connsiteY36-1996" fmla="*/ 1494263 h 1861252"/>
              <a:gd name="connsiteX37-1997" fmla="*/ 26578 w 2803231"/>
              <a:gd name="connsiteY37-1998" fmla="*/ 1605775 h 1861252"/>
              <a:gd name="connsiteX38-1999" fmla="*/ 4275 w 2803231"/>
              <a:gd name="connsiteY38-2000" fmla="*/ 1839951 h 1861252"/>
              <a:gd name="connsiteX39-2001" fmla="*/ 0 w 2803231"/>
              <a:gd name="connsiteY39-2002" fmla="*/ 1798862 h 1861252"/>
              <a:gd name="connsiteX40-2003" fmla="*/ 730424 w 2803231"/>
              <a:gd name="connsiteY40-2004" fmla="*/ 1852186 h 1861252"/>
              <a:gd name="connsiteX41-2005" fmla="*/ 940758 w 2803231"/>
              <a:gd name="connsiteY41-2006" fmla="*/ 1861252 h 1861252"/>
              <a:gd name="connsiteX0-2007" fmla="*/ 940758 w 2803231"/>
              <a:gd name="connsiteY0-2008" fmla="*/ 1861252 h 1908121"/>
              <a:gd name="connsiteX1-2009" fmla="*/ 963280 w 2803231"/>
              <a:gd name="connsiteY1-2010" fmla="*/ 1427356 h 1908121"/>
              <a:gd name="connsiteX2-2011" fmla="*/ 2078402 w 2803231"/>
              <a:gd name="connsiteY2-2012" fmla="*/ 1416205 h 1908121"/>
              <a:gd name="connsiteX3-2013" fmla="*/ 2067251 w 2803231"/>
              <a:gd name="connsiteY3-2014" fmla="*/ 568712 h 1908121"/>
              <a:gd name="connsiteX4-2015" fmla="*/ 2223368 w 2803231"/>
              <a:gd name="connsiteY4-2016" fmla="*/ 468351 h 1908121"/>
              <a:gd name="connsiteX5-2017" fmla="*/ 2569056 w 2803231"/>
              <a:gd name="connsiteY5-2018" fmla="*/ 289931 h 1908121"/>
              <a:gd name="connsiteX6-2019" fmla="*/ 2803231 w 2803231"/>
              <a:gd name="connsiteY6-2020" fmla="*/ 301083 h 1908121"/>
              <a:gd name="connsiteX7-2021" fmla="*/ 2803231 w 2803231"/>
              <a:gd name="connsiteY7-2022" fmla="*/ 133814 h 1908121"/>
              <a:gd name="connsiteX8-2023" fmla="*/ 2758627 w 2803231"/>
              <a:gd name="connsiteY8-2024" fmla="*/ 55756 h 1908121"/>
              <a:gd name="connsiteX9-2025" fmla="*/ 2747475 w 2803231"/>
              <a:gd name="connsiteY9-2026" fmla="*/ 22302 h 1908121"/>
              <a:gd name="connsiteX10-2027" fmla="*/ 2691719 w 2803231"/>
              <a:gd name="connsiteY10-2028" fmla="*/ 0 h 1908121"/>
              <a:gd name="connsiteX11-2029" fmla="*/ 2680568 w 2803231"/>
              <a:gd name="connsiteY11-2030" fmla="*/ 44605 h 1908121"/>
              <a:gd name="connsiteX12-2031" fmla="*/ 2557905 w 2803231"/>
              <a:gd name="connsiteY12-2032" fmla="*/ 11151 h 1908121"/>
              <a:gd name="connsiteX13-2033" fmla="*/ 2524451 w 2803231"/>
              <a:gd name="connsiteY13-2034" fmla="*/ 100361 h 1908121"/>
              <a:gd name="connsiteX14-2035" fmla="*/ 2412939 w 2803231"/>
              <a:gd name="connsiteY14-2036" fmla="*/ 66907 h 1908121"/>
              <a:gd name="connsiteX15-2037" fmla="*/ 2368334 w 2803231"/>
              <a:gd name="connsiteY15-2038" fmla="*/ 100361 h 1908121"/>
              <a:gd name="connsiteX16-2039" fmla="*/ 2290275 w 2803231"/>
              <a:gd name="connsiteY16-2040" fmla="*/ 100361 h 1908121"/>
              <a:gd name="connsiteX17-2041" fmla="*/ 2290275 w 2803231"/>
              <a:gd name="connsiteY17-2042" fmla="*/ 100361 h 1908121"/>
              <a:gd name="connsiteX18-2043" fmla="*/ 2212217 w 2803231"/>
              <a:gd name="connsiteY18-2044" fmla="*/ 144966 h 1908121"/>
              <a:gd name="connsiteX19-2045" fmla="*/ 2134158 w 2803231"/>
              <a:gd name="connsiteY19-2046" fmla="*/ 178419 h 1908121"/>
              <a:gd name="connsiteX20-2047" fmla="*/ 2078402 w 2803231"/>
              <a:gd name="connsiteY20-2048" fmla="*/ 178419 h 1908121"/>
              <a:gd name="connsiteX21-2049" fmla="*/ 2078402 w 2803231"/>
              <a:gd name="connsiteY21-2050" fmla="*/ 178419 h 1908121"/>
              <a:gd name="connsiteX22-2051" fmla="*/ 2078402 w 2803231"/>
              <a:gd name="connsiteY22-2052" fmla="*/ 334536 h 1908121"/>
              <a:gd name="connsiteX23-2053" fmla="*/ 1944588 w 2803231"/>
              <a:gd name="connsiteY23-2054" fmla="*/ 312234 h 1908121"/>
              <a:gd name="connsiteX24-2055" fmla="*/ 1855378 w 2803231"/>
              <a:gd name="connsiteY24-2056" fmla="*/ 367990 h 1908121"/>
              <a:gd name="connsiteX25-2057" fmla="*/ 1743866 w 2803231"/>
              <a:gd name="connsiteY25-2058" fmla="*/ 401444 h 1908121"/>
              <a:gd name="connsiteX26-2059" fmla="*/ 1688110 w 2803231"/>
              <a:gd name="connsiteY26-2060" fmla="*/ 356839 h 1908121"/>
              <a:gd name="connsiteX27-2061" fmla="*/ 1654656 w 2803231"/>
              <a:gd name="connsiteY27-2062" fmla="*/ 390292 h 1908121"/>
              <a:gd name="connsiteX28-2063" fmla="*/ 1576597 w 2803231"/>
              <a:gd name="connsiteY28-2064" fmla="*/ 446048 h 1908121"/>
              <a:gd name="connsiteX29-2065" fmla="*/ 1465085 w 2803231"/>
              <a:gd name="connsiteY29-2066" fmla="*/ 434897 h 1908121"/>
              <a:gd name="connsiteX30-2067" fmla="*/ 1230910 w 2803231"/>
              <a:gd name="connsiteY30-2068" fmla="*/ 568712 h 1908121"/>
              <a:gd name="connsiteX31-2069" fmla="*/ 1108246 w 2803231"/>
              <a:gd name="connsiteY31-2070" fmla="*/ 680224 h 1908121"/>
              <a:gd name="connsiteX32-2071" fmla="*/ 639895 w 2803231"/>
              <a:gd name="connsiteY32-2072" fmla="*/ 802887 h 1908121"/>
              <a:gd name="connsiteX33-2073" fmla="*/ 572988 w 2803231"/>
              <a:gd name="connsiteY33-2074" fmla="*/ 858644 h 1908121"/>
              <a:gd name="connsiteX34-2075" fmla="*/ 439173 w 2803231"/>
              <a:gd name="connsiteY34-2076" fmla="*/ 1182029 h 1908121"/>
              <a:gd name="connsiteX35-2077" fmla="*/ 126939 w 2803231"/>
              <a:gd name="connsiteY35-2078" fmla="*/ 1349297 h 1908121"/>
              <a:gd name="connsiteX36-2079" fmla="*/ 104636 w 2803231"/>
              <a:gd name="connsiteY36-2080" fmla="*/ 1494263 h 1908121"/>
              <a:gd name="connsiteX37-2081" fmla="*/ 26578 w 2803231"/>
              <a:gd name="connsiteY37-2082" fmla="*/ 1605775 h 1908121"/>
              <a:gd name="connsiteX38-2083" fmla="*/ 4275 w 2803231"/>
              <a:gd name="connsiteY38-2084" fmla="*/ 1839951 h 1908121"/>
              <a:gd name="connsiteX39-2085" fmla="*/ 0 w 2803231"/>
              <a:gd name="connsiteY39-2086" fmla="*/ 1798862 h 1908121"/>
              <a:gd name="connsiteX40-2087" fmla="*/ 730424 w 2803231"/>
              <a:gd name="connsiteY40-2088" fmla="*/ 1852186 h 1908121"/>
              <a:gd name="connsiteX41-2089" fmla="*/ 940758 w 2803231"/>
              <a:gd name="connsiteY41-2090" fmla="*/ 1861252 h 1908121"/>
              <a:gd name="connsiteX0-2091" fmla="*/ 940656 w 2803231"/>
              <a:gd name="connsiteY0-2092" fmla="*/ 1860945 h 1908121"/>
              <a:gd name="connsiteX1-2093" fmla="*/ 963280 w 2803231"/>
              <a:gd name="connsiteY1-2094" fmla="*/ 1427356 h 1908121"/>
              <a:gd name="connsiteX2-2095" fmla="*/ 2078402 w 2803231"/>
              <a:gd name="connsiteY2-2096" fmla="*/ 1416205 h 1908121"/>
              <a:gd name="connsiteX3-2097" fmla="*/ 2067251 w 2803231"/>
              <a:gd name="connsiteY3-2098" fmla="*/ 568712 h 1908121"/>
              <a:gd name="connsiteX4-2099" fmla="*/ 2223368 w 2803231"/>
              <a:gd name="connsiteY4-2100" fmla="*/ 468351 h 1908121"/>
              <a:gd name="connsiteX5-2101" fmla="*/ 2569056 w 2803231"/>
              <a:gd name="connsiteY5-2102" fmla="*/ 289931 h 1908121"/>
              <a:gd name="connsiteX6-2103" fmla="*/ 2803231 w 2803231"/>
              <a:gd name="connsiteY6-2104" fmla="*/ 301083 h 1908121"/>
              <a:gd name="connsiteX7-2105" fmla="*/ 2803231 w 2803231"/>
              <a:gd name="connsiteY7-2106" fmla="*/ 133814 h 1908121"/>
              <a:gd name="connsiteX8-2107" fmla="*/ 2758627 w 2803231"/>
              <a:gd name="connsiteY8-2108" fmla="*/ 55756 h 1908121"/>
              <a:gd name="connsiteX9-2109" fmla="*/ 2747475 w 2803231"/>
              <a:gd name="connsiteY9-2110" fmla="*/ 22302 h 1908121"/>
              <a:gd name="connsiteX10-2111" fmla="*/ 2691719 w 2803231"/>
              <a:gd name="connsiteY10-2112" fmla="*/ 0 h 1908121"/>
              <a:gd name="connsiteX11-2113" fmla="*/ 2680568 w 2803231"/>
              <a:gd name="connsiteY11-2114" fmla="*/ 44605 h 1908121"/>
              <a:gd name="connsiteX12-2115" fmla="*/ 2557905 w 2803231"/>
              <a:gd name="connsiteY12-2116" fmla="*/ 11151 h 1908121"/>
              <a:gd name="connsiteX13-2117" fmla="*/ 2524451 w 2803231"/>
              <a:gd name="connsiteY13-2118" fmla="*/ 100361 h 1908121"/>
              <a:gd name="connsiteX14-2119" fmla="*/ 2412939 w 2803231"/>
              <a:gd name="connsiteY14-2120" fmla="*/ 66907 h 1908121"/>
              <a:gd name="connsiteX15-2121" fmla="*/ 2368334 w 2803231"/>
              <a:gd name="connsiteY15-2122" fmla="*/ 100361 h 1908121"/>
              <a:gd name="connsiteX16-2123" fmla="*/ 2290275 w 2803231"/>
              <a:gd name="connsiteY16-2124" fmla="*/ 100361 h 1908121"/>
              <a:gd name="connsiteX17-2125" fmla="*/ 2290275 w 2803231"/>
              <a:gd name="connsiteY17-2126" fmla="*/ 100361 h 1908121"/>
              <a:gd name="connsiteX18-2127" fmla="*/ 2212217 w 2803231"/>
              <a:gd name="connsiteY18-2128" fmla="*/ 144966 h 1908121"/>
              <a:gd name="connsiteX19-2129" fmla="*/ 2134158 w 2803231"/>
              <a:gd name="connsiteY19-2130" fmla="*/ 178419 h 1908121"/>
              <a:gd name="connsiteX20-2131" fmla="*/ 2078402 w 2803231"/>
              <a:gd name="connsiteY20-2132" fmla="*/ 178419 h 1908121"/>
              <a:gd name="connsiteX21-2133" fmla="*/ 2078402 w 2803231"/>
              <a:gd name="connsiteY21-2134" fmla="*/ 178419 h 1908121"/>
              <a:gd name="connsiteX22-2135" fmla="*/ 2078402 w 2803231"/>
              <a:gd name="connsiteY22-2136" fmla="*/ 334536 h 1908121"/>
              <a:gd name="connsiteX23-2137" fmla="*/ 1944588 w 2803231"/>
              <a:gd name="connsiteY23-2138" fmla="*/ 312234 h 1908121"/>
              <a:gd name="connsiteX24-2139" fmla="*/ 1855378 w 2803231"/>
              <a:gd name="connsiteY24-2140" fmla="*/ 367990 h 1908121"/>
              <a:gd name="connsiteX25-2141" fmla="*/ 1743866 w 2803231"/>
              <a:gd name="connsiteY25-2142" fmla="*/ 401444 h 1908121"/>
              <a:gd name="connsiteX26-2143" fmla="*/ 1688110 w 2803231"/>
              <a:gd name="connsiteY26-2144" fmla="*/ 356839 h 1908121"/>
              <a:gd name="connsiteX27-2145" fmla="*/ 1654656 w 2803231"/>
              <a:gd name="connsiteY27-2146" fmla="*/ 390292 h 1908121"/>
              <a:gd name="connsiteX28-2147" fmla="*/ 1576597 w 2803231"/>
              <a:gd name="connsiteY28-2148" fmla="*/ 446048 h 1908121"/>
              <a:gd name="connsiteX29-2149" fmla="*/ 1465085 w 2803231"/>
              <a:gd name="connsiteY29-2150" fmla="*/ 434897 h 1908121"/>
              <a:gd name="connsiteX30-2151" fmla="*/ 1230910 w 2803231"/>
              <a:gd name="connsiteY30-2152" fmla="*/ 568712 h 1908121"/>
              <a:gd name="connsiteX31-2153" fmla="*/ 1108246 w 2803231"/>
              <a:gd name="connsiteY31-2154" fmla="*/ 680224 h 1908121"/>
              <a:gd name="connsiteX32-2155" fmla="*/ 639895 w 2803231"/>
              <a:gd name="connsiteY32-2156" fmla="*/ 802887 h 1908121"/>
              <a:gd name="connsiteX33-2157" fmla="*/ 572988 w 2803231"/>
              <a:gd name="connsiteY33-2158" fmla="*/ 858644 h 1908121"/>
              <a:gd name="connsiteX34-2159" fmla="*/ 439173 w 2803231"/>
              <a:gd name="connsiteY34-2160" fmla="*/ 1182029 h 1908121"/>
              <a:gd name="connsiteX35-2161" fmla="*/ 126939 w 2803231"/>
              <a:gd name="connsiteY35-2162" fmla="*/ 1349297 h 1908121"/>
              <a:gd name="connsiteX36-2163" fmla="*/ 104636 w 2803231"/>
              <a:gd name="connsiteY36-2164" fmla="*/ 1494263 h 1908121"/>
              <a:gd name="connsiteX37-2165" fmla="*/ 26578 w 2803231"/>
              <a:gd name="connsiteY37-2166" fmla="*/ 1605775 h 1908121"/>
              <a:gd name="connsiteX38-2167" fmla="*/ 4275 w 2803231"/>
              <a:gd name="connsiteY38-2168" fmla="*/ 1839951 h 1908121"/>
              <a:gd name="connsiteX39-2169" fmla="*/ 0 w 2803231"/>
              <a:gd name="connsiteY39-2170" fmla="*/ 1798862 h 1908121"/>
              <a:gd name="connsiteX40-2171" fmla="*/ 730424 w 2803231"/>
              <a:gd name="connsiteY40-2172" fmla="*/ 1852186 h 1908121"/>
              <a:gd name="connsiteX41-2173" fmla="*/ 940656 w 2803231"/>
              <a:gd name="connsiteY41-2174" fmla="*/ 1860945 h 1908121"/>
              <a:gd name="connsiteX0-2175" fmla="*/ 940656 w 2803231"/>
              <a:gd name="connsiteY0-2176" fmla="*/ 1860945 h 1931750"/>
              <a:gd name="connsiteX1-2177" fmla="*/ 963280 w 2803231"/>
              <a:gd name="connsiteY1-2178" fmla="*/ 1427356 h 1931750"/>
              <a:gd name="connsiteX2-2179" fmla="*/ 2078402 w 2803231"/>
              <a:gd name="connsiteY2-2180" fmla="*/ 1416205 h 1931750"/>
              <a:gd name="connsiteX3-2181" fmla="*/ 2067251 w 2803231"/>
              <a:gd name="connsiteY3-2182" fmla="*/ 568712 h 1931750"/>
              <a:gd name="connsiteX4-2183" fmla="*/ 2223368 w 2803231"/>
              <a:gd name="connsiteY4-2184" fmla="*/ 468351 h 1931750"/>
              <a:gd name="connsiteX5-2185" fmla="*/ 2569056 w 2803231"/>
              <a:gd name="connsiteY5-2186" fmla="*/ 289931 h 1931750"/>
              <a:gd name="connsiteX6-2187" fmla="*/ 2803231 w 2803231"/>
              <a:gd name="connsiteY6-2188" fmla="*/ 301083 h 1931750"/>
              <a:gd name="connsiteX7-2189" fmla="*/ 2803231 w 2803231"/>
              <a:gd name="connsiteY7-2190" fmla="*/ 133814 h 1931750"/>
              <a:gd name="connsiteX8-2191" fmla="*/ 2758627 w 2803231"/>
              <a:gd name="connsiteY8-2192" fmla="*/ 55756 h 1931750"/>
              <a:gd name="connsiteX9-2193" fmla="*/ 2747475 w 2803231"/>
              <a:gd name="connsiteY9-2194" fmla="*/ 22302 h 1931750"/>
              <a:gd name="connsiteX10-2195" fmla="*/ 2691719 w 2803231"/>
              <a:gd name="connsiteY10-2196" fmla="*/ 0 h 1931750"/>
              <a:gd name="connsiteX11-2197" fmla="*/ 2680568 w 2803231"/>
              <a:gd name="connsiteY11-2198" fmla="*/ 44605 h 1931750"/>
              <a:gd name="connsiteX12-2199" fmla="*/ 2557905 w 2803231"/>
              <a:gd name="connsiteY12-2200" fmla="*/ 11151 h 1931750"/>
              <a:gd name="connsiteX13-2201" fmla="*/ 2524451 w 2803231"/>
              <a:gd name="connsiteY13-2202" fmla="*/ 100361 h 1931750"/>
              <a:gd name="connsiteX14-2203" fmla="*/ 2412939 w 2803231"/>
              <a:gd name="connsiteY14-2204" fmla="*/ 66907 h 1931750"/>
              <a:gd name="connsiteX15-2205" fmla="*/ 2368334 w 2803231"/>
              <a:gd name="connsiteY15-2206" fmla="*/ 100361 h 1931750"/>
              <a:gd name="connsiteX16-2207" fmla="*/ 2290275 w 2803231"/>
              <a:gd name="connsiteY16-2208" fmla="*/ 100361 h 1931750"/>
              <a:gd name="connsiteX17-2209" fmla="*/ 2290275 w 2803231"/>
              <a:gd name="connsiteY17-2210" fmla="*/ 100361 h 1931750"/>
              <a:gd name="connsiteX18-2211" fmla="*/ 2212217 w 2803231"/>
              <a:gd name="connsiteY18-2212" fmla="*/ 144966 h 1931750"/>
              <a:gd name="connsiteX19-2213" fmla="*/ 2134158 w 2803231"/>
              <a:gd name="connsiteY19-2214" fmla="*/ 178419 h 1931750"/>
              <a:gd name="connsiteX20-2215" fmla="*/ 2078402 w 2803231"/>
              <a:gd name="connsiteY20-2216" fmla="*/ 178419 h 1931750"/>
              <a:gd name="connsiteX21-2217" fmla="*/ 2078402 w 2803231"/>
              <a:gd name="connsiteY21-2218" fmla="*/ 178419 h 1931750"/>
              <a:gd name="connsiteX22-2219" fmla="*/ 2078402 w 2803231"/>
              <a:gd name="connsiteY22-2220" fmla="*/ 334536 h 1931750"/>
              <a:gd name="connsiteX23-2221" fmla="*/ 1944588 w 2803231"/>
              <a:gd name="connsiteY23-2222" fmla="*/ 312234 h 1931750"/>
              <a:gd name="connsiteX24-2223" fmla="*/ 1855378 w 2803231"/>
              <a:gd name="connsiteY24-2224" fmla="*/ 367990 h 1931750"/>
              <a:gd name="connsiteX25-2225" fmla="*/ 1743866 w 2803231"/>
              <a:gd name="connsiteY25-2226" fmla="*/ 401444 h 1931750"/>
              <a:gd name="connsiteX26-2227" fmla="*/ 1688110 w 2803231"/>
              <a:gd name="connsiteY26-2228" fmla="*/ 356839 h 1931750"/>
              <a:gd name="connsiteX27-2229" fmla="*/ 1654656 w 2803231"/>
              <a:gd name="connsiteY27-2230" fmla="*/ 390292 h 1931750"/>
              <a:gd name="connsiteX28-2231" fmla="*/ 1576597 w 2803231"/>
              <a:gd name="connsiteY28-2232" fmla="*/ 446048 h 1931750"/>
              <a:gd name="connsiteX29-2233" fmla="*/ 1465085 w 2803231"/>
              <a:gd name="connsiteY29-2234" fmla="*/ 434897 h 1931750"/>
              <a:gd name="connsiteX30-2235" fmla="*/ 1230910 w 2803231"/>
              <a:gd name="connsiteY30-2236" fmla="*/ 568712 h 1931750"/>
              <a:gd name="connsiteX31-2237" fmla="*/ 1108246 w 2803231"/>
              <a:gd name="connsiteY31-2238" fmla="*/ 680224 h 1931750"/>
              <a:gd name="connsiteX32-2239" fmla="*/ 639895 w 2803231"/>
              <a:gd name="connsiteY32-2240" fmla="*/ 802887 h 1931750"/>
              <a:gd name="connsiteX33-2241" fmla="*/ 572988 w 2803231"/>
              <a:gd name="connsiteY33-2242" fmla="*/ 858644 h 1931750"/>
              <a:gd name="connsiteX34-2243" fmla="*/ 439173 w 2803231"/>
              <a:gd name="connsiteY34-2244" fmla="*/ 1182029 h 1931750"/>
              <a:gd name="connsiteX35-2245" fmla="*/ 126939 w 2803231"/>
              <a:gd name="connsiteY35-2246" fmla="*/ 1349297 h 1931750"/>
              <a:gd name="connsiteX36-2247" fmla="*/ 104636 w 2803231"/>
              <a:gd name="connsiteY36-2248" fmla="*/ 1494263 h 1931750"/>
              <a:gd name="connsiteX37-2249" fmla="*/ 26578 w 2803231"/>
              <a:gd name="connsiteY37-2250" fmla="*/ 1605775 h 1931750"/>
              <a:gd name="connsiteX38-2251" fmla="*/ 4275 w 2803231"/>
              <a:gd name="connsiteY38-2252" fmla="*/ 1839951 h 1931750"/>
              <a:gd name="connsiteX39-2253" fmla="*/ 0 w 2803231"/>
              <a:gd name="connsiteY39-2254" fmla="*/ 1798862 h 1931750"/>
              <a:gd name="connsiteX40-2255" fmla="*/ 730424 w 2803231"/>
              <a:gd name="connsiteY40-2256" fmla="*/ 1852186 h 1931750"/>
              <a:gd name="connsiteX41-2257" fmla="*/ 587531 w 2803231"/>
              <a:gd name="connsiteY41-2258" fmla="*/ 1852185 h 1931750"/>
              <a:gd name="connsiteX42-2259" fmla="*/ 940656 w 2803231"/>
              <a:gd name="connsiteY42-2260" fmla="*/ 1860945 h 1931750"/>
              <a:gd name="connsiteX0-2261" fmla="*/ 940656 w 2803231"/>
              <a:gd name="connsiteY0-2262" fmla="*/ 1860945 h 2066440"/>
              <a:gd name="connsiteX1-2263" fmla="*/ 963280 w 2803231"/>
              <a:gd name="connsiteY1-2264" fmla="*/ 1427356 h 2066440"/>
              <a:gd name="connsiteX2-2265" fmla="*/ 2078402 w 2803231"/>
              <a:gd name="connsiteY2-2266" fmla="*/ 1416205 h 2066440"/>
              <a:gd name="connsiteX3-2267" fmla="*/ 2067251 w 2803231"/>
              <a:gd name="connsiteY3-2268" fmla="*/ 568712 h 2066440"/>
              <a:gd name="connsiteX4-2269" fmla="*/ 2223368 w 2803231"/>
              <a:gd name="connsiteY4-2270" fmla="*/ 468351 h 2066440"/>
              <a:gd name="connsiteX5-2271" fmla="*/ 2569056 w 2803231"/>
              <a:gd name="connsiteY5-2272" fmla="*/ 289931 h 2066440"/>
              <a:gd name="connsiteX6-2273" fmla="*/ 2803231 w 2803231"/>
              <a:gd name="connsiteY6-2274" fmla="*/ 301083 h 2066440"/>
              <a:gd name="connsiteX7-2275" fmla="*/ 2803231 w 2803231"/>
              <a:gd name="connsiteY7-2276" fmla="*/ 133814 h 2066440"/>
              <a:gd name="connsiteX8-2277" fmla="*/ 2758627 w 2803231"/>
              <a:gd name="connsiteY8-2278" fmla="*/ 55756 h 2066440"/>
              <a:gd name="connsiteX9-2279" fmla="*/ 2747475 w 2803231"/>
              <a:gd name="connsiteY9-2280" fmla="*/ 22302 h 2066440"/>
              <a:gd name="connsiteX10-2281" fmla="*/ 2691719 w 2803231"/>
              <a:gd name="connsiteY10-2282" fmla="*/ 0 h 2066440"/>
              <a:gd name="connsiteX11-2283" fmla="*/ 2680568 w 2803231"/>
              <a:gd name="connsiteY11-2284" fmla="*/ 44605 h 2066440"/>
              <a:gd name="connsiteX12-2285" fmla="*/ 2557905 w 2803231"/>
              <a:gd name="connsiteY12-2286" fmla="*/ 11151 h 2066440"/>
              <a:gd name="connsiteX13-2287" fmla="*/ 2524451 w 2803231"/>
              <a:gd name="connsiteY13-2288" fmla="*/ 100361 h 2066440"/>
              <a:gd name="connsiteX14-2289" fmla="*/ 2412939 w 2803231"/>
              <a:gd name="connsiteY14-2290" fmla="*/ 66907 h 2066440"/>
              <a:gd name="connsiteX15-2291" fmla="*/ 2368334 w 2803231"/>
              <a:gd name="connsiteY15-2292" fmla="*/ 100361 h 2066440"/>
              <a:gd name="connsiteX16-2293" fmla="*/ 2290275 w 2803231"/>
              <a:gd name="connsiteY16-2294" fmla="*/ 100361 h 2066440"/>
              <a:gd name="connsiteX17-2295" fmla="*/ 2290275 w 2803231"/>
              <a:gd name="connsiteY17-2296" fmla="*/ 100361 h 2066440"/>
              <a:gd name="connsiteX18-2297" fmla="*/ 2212217 w 2803231"/>
              <a:gd name="connsiteY18-2298" fmla="*/ 144966 h 2066440"/>
              <a:gd name="connsiteX19-2299" fmla="*/ 2134158 w 2803231"/>
              <a:gd name="connsiteY19-2300" fmla="*/ 178419 h 2066440"/>
              <a:gd name="connsiteX20-2301" fmla="*/ 2078402 w 2803231"/>
              <a:gd name="connsiteY20-2302" fmla="*/ 178419 h 2066440"/>
              <a:gd name="connsiteX21-2303" fmla="*/ 2078402 w 2803231"/>
              <a:gd name="connsiteY21-2304" fmla="*/ 178419 h 2066440"/>
              <a:gd name="connsiteX22-2305" fmla="*/ 2078402 w 2803231"/>
              <a:gd name="connsiteY22-2306" fmla="*/ 334536 h 2066440"/>
              <a:gd name="connsiteX23-2307" fmla="*/ 1944588 w 2803231"/>
              <a:gd name="connsiteY23-2308" fmla="*/ 312234 h 2066440"/>
              <a:gd name="connsiteX24-2309" fmla="*/ 1855378 w 2803231"/>
              <a:gd name="connsiteY24-2310" fmla="*/ 367990 h 2066440"/>
              <a:gd name="connsiteX25-2311" fmla="*/ 1743866 w 2803231"/>
              <a:gd name="connsiteY25-2312" fmla="*/ 401444 h 2066440"/>
              <a:gd name="connsiteX26-2313" fmla="*/ 1688110 w 2803231"/>
              <a:gd name="connsiteY26-2314" fmla="*/ 356839 h 2066440"/>
              <a:gd name="connsiteX27-2315" fmla="*/ 1654656 w 2803231"/>
              <a:gd name="connsiteY27-2316" fmla="*/ 390292 h 2066440"/>
              <a:gd name="connsiteX28-2317" fmla="*/ 1576597 w 2803231"/>
              <a:gd name="connsiteY28-2318" fmla="*/ 446048 h 2066440"/>
              <a:gd name="connsiteX29-2319" fmla="*/ 1465085 w 2803231"/>
              <a:gd name="connsiteY29-2320" fmla="*/ 434897 h 2066440"/>
              <a:gd name="connsiteX30-2321" fmla="*/ 1230910 w 2803231"/>
              <a:gd name="connsiteY30-2322" fmla="*/ 568712 h 2066440"/>
              <a:gd name="connsiteX31-2323" fmla="*/ 1108246 w 2803231"/>
              <a:gd name="connsiteY31-2324" fmla="*/ 680224 h 2066440"/>
              <a:gd name="connsiteX32-2325" fmla="*/ 639895 w 2803231"/>
              <a:gd name="connsiteY32-2326" fmla="*/ 802887 h 2066440"/>
              <a:gd name="connsiteX33-2327" fmla="*/ 572988 w 2803231"/>
              <a:gd name="connsiteY33-2328" fmla="*/ 858644 h 2066440"/>
              <a:gd name="connsiteX34-2329" fmla="*/ 439173 w 2803231"/>
              <a:gd name="connsiteY34-2330" fmla="*/ 1182029 h 2066440"/>
              <a:gd name="connsiteX35-2331" fmla="*/ 126939 w 2803231"/>
              <a:gd name="connsiteY35-2332" fmla="*/ 1349297 h 2066440"/>
              <a:gd name="connsiteX36-2333" fmla="*/ 104636 w 2803231"/>
              <a:gd name="connsiteY36-2334" fmla="*/ 1494263 h 2066440"/>
              <a:gd name="connsiteX37-2335" fmla="*/ 26578 w 2803231"/>
              <a:gd name="connsiteY37-2336" fmla="*/ 1605775 h 2066440"/>
              <a:gd name="connsiteX38-2337" fmla="*/ 4275 w 2803231"/>
              <a:gd name="connsiteY38-2338" fmla="*/ 1839951 h 2066440"/>
              <a:gd name="connsiteX39-2339" fmla="*/ 0 w 2803231"/>
              <a:gd name="connsiteY39-2340" fmla="*/ 1798862 h 2066440"/>
              <a:gd name="connsiteX40-2341" fmla="*/ 730424 w 2803231"/>
              <a:gd name="connsiteY40-2342" fmla="*/ 1852186 h 2066440"/>
              <a:gd name="connsiteX41-2343" fmla="*/ 539544 w 2803231"/>
              <a:gd name="connsiteY41-2344" fmla="*/ 2066440 h 2066440"/>
              <a:gd name="connsiteX42-2345" fmla="*/ 587531 w 2803231"/>
              <a:gd name="connsiteY42-2346" fmla="*/ 1852185 h 2066440"/>
              <a:gd name="connsiteX43-2347" fmla="*/ 940656 w 2803231"/>
              <a:gd name="connsiteY43-2348" fmla="*/ 1860945 h 2066440"/>
              <a:gd name="connsiteX0-2349" fmla="*/ 940656 w 2803231"/>
              <a:gd name="connsiteY0-2350" fmla="*/ 1860945 h 2066440"/>
              <a:gd name="connsiteX1-2351" fmla="*/ 963280 w 2803231"/>
              <a:gd name="connsiteY1-2352" fmla="*/ 1427356 h 2066440"/>
              <a:gd name="connsiteX2-2353" fmla="*/ 2078402 w 2803231"/>
              <a:gd name="connsiteY2-2354" fmla="*/ 1416205 h 2066440"/>
              <a:gd name="connsiteX3-2355" fmla="*/ 2067251 w 2803231"/>
              <a:gd name="connsiteY3-2356" fmla="*/ 568712 h 2066440"/>
              <a:gd name="connsiteX4-2357" fmla="*/ 2223368 w 2803231"/>
              <a:gd name="connsiteY4-2358" fmla="*/ 468351 h 2066440"/>
              <a:gd name="connsiteX5-2359" fmla="*/ 2569056 w 2803231"/>
              <a:gd name="connsiteY5-2360" fmla="*/ 289931 h 2066440"/>
              <a:gd name="connsiteX6-2361" fmla="*/ 2803231 w 2803231"/>
              <a:gd name="connsiteY6-2362" fmla="*/ 301083 h 2066440"/>
              <a:gd name="connsiteX7-2363" fmla="*/ 2803231 w 2803231"/>
              <a:gd name="connsiteY7-2364" fmla="*/ 133814 h 2066440"/>
              <a:gd name="connsiteX8-2365" fmla="*/ 2758627 w 2803231"/>
              <a:gd name="connsiteY8-2366" fmla="*/ 55756 h 2066440"/>
              <a:gd name="connsiteX9-2367" fmla="*/ 2747475 w 2803231"/>
              <a:gd name="connsiteY9-2368" fmla="*/ 22302 h 2066440"/>
              <a:gd name="connsiteX10-2369" fmla="*/ 2691719 w 2803231"/>
              <a:gd name="connsiteY10-2370" fmla="*/ 0 h 2066440"/>
              <a:gd name="connsiteX11-2371" fmla="*/ 2680568 w 2803231"/>
              <a:gd name="connsiteY11-2372" fmla="*/ 44605 h 2066440"/>
              <a:gd name="connsiteX12-2373" fmla="*/ 2557905 w 2803231"/>
              <a:gd name="connsiteY12-2374" fmla="*/ 11151 h 2066440"/>
              <a:gd name="connsiteX13-2375" fmla="*/ 2524451 w 2803231"/>
              <a:gd name="connsiteY13-2376" fmla="*/ 100361 h 2066440"/>
              <a:gd name="connsiteX14-2377" fmla="*/ 2412939 w 2803231"/>
              <a:gd name="connsiteY14-2378" fmla="*/ 66907 h 2066440"/>
              <a:gd name="connsiteX15-2379" fmla="*/ 2368334 w 2803231"/>
              <a:gd name="connsiteY15-2380" fmla="*/ 100361 h 2066440"/>
              <a:gd name="connsiteX16-2381" fmla="*/ 2290275 w 2803231"/>
              <a:gd name="connsiteY16-2382" fmla="*/ 100361 h 2066440"/>
              <a:gd name="connsiteX17-2383" fmla="*/ 2290275 w 2803231"/>
              <a:gd name="connsiteY17-2384" fmla="*/ 100361 h 2066440"/>
              <a:gd name="connsiteX18-2385" fmla="*/ 2212217 w 2803231"/>
              <a:gd name="connsiteY18-2386" fmla="*/ 144966 h 2066440"/>
              <a:gd name="connsiteX19-2387" fmla="*/ 2134158 w 2803231"/>
              <a:gd name="connsiteY19-2388" fmla="*/ 178419 h 2066440"/>
              <a:gd name="connsiteX20-2389" fmla="*/ 2078402 w 2803231"/>
              <a:gd name="connsiteY20-2390" fmla="*/ 178419 h 2066440"/>
              <a:gd name="connsiteX21-2391" fmla="*/ 2078402 w 2803231"/>
              <a:gd name="connsiteY21-2392" fmla="*/ 178419 h 2066440"/>
              <a:gd name="connsiteX22-2393" fmla="*/ 2078402 w 2803231"/>
              <a:gd name="connsiteY22-2394" fmla="*/ 334536 h 2066440"/>
              <a:gd name="connsiteX23-2395" fmla="*/ 1944588 w 2803231"/>
              <a:gd name="connsiteY23-2396" fmla="*/ 312234 h 2066440"/>
              <a:gd name="connsiteX24-2397" fmla="*/ 1855378 w 2803231"/>
              <a:gd name="connsiteY24-2398" fmla="*/ 367990 h 2066440"/>
              <a:gd name="connsiteX25-2399" fmla="*/ 1743866 w 2803231"/>
              <a:gd name="connsiteY25-2400" fmla="*/ 401444 h 2066440"/>
              <a:gd name="connsiteX26-2401" fmla="*/ 1688110 w 2803231"/>
              <a:gd name="connsiteY26-2402" fmla="*/ 356839 h 2066440"/>
              <a:gd name="connsiteX27-2403" fmla="*/ 1654656 w 2803231"/>
              <a:gd name="connsiteY27-2404" fmla="*/ 390292 h 2066440"/>
              <a:gd name="connsiteX28-2405" fmla="*/ 1576597 w 2803231"/>
              <a:gd name="connsiteY28-2406" fmla="*/ 446048 h 2066440"/>
              <a:gd name="connsiteX29-2407" fmla="*/ 1465085 w 2803231"/>
              <a:gd name="connsiteY29-2408" fmla="*/ 434897 h 2066440"/>
              <a:gd name="connsiteX30-2409" fmla="*/ 1230910 w 2803231"/>
              <a:gd name="connsiteY30-2410" fmla="*/ 568712 h 2066440"/>
              <a:gd name="connsiteX31-2411" fmla="*/ 1108246 w 2803231"/>
              <a:gd name="connsiteY31-2412" fmla="*/ 680224 h 2066440"/>
              <a:gd name="connsiteX32-2413" fmla="*/ 639895 w 2803231"/>
              <a:gd name="connsiteY32-2414" fmla="*/ 802887 h 2066440"/>
              <a:gd name="connsiteX33-2415" fmla="*/ 572988 w 2803231"/>
              <a:gd name="connsiteY33-2416" fmla="*/ 858644 h 2066440"/>
              <a:gd name="connsiteX34-2417" fmla="*/ 439173 w 2803231"/>
              <a:gd name="connsiteY34-2418" fmla="*/ 1182029 h 2066440"/>
              <a:gd name="connsiteX35-2419" fmla="*/ 126939 w 2803231"/>
              <a:gd name="connsiteY35-2420" fmla="*/ 1349297 h 2066440"/>
              <a:gd name="connsiteX36-2421" fmla="*/ 104636 w 2803231"/>
              <a:gd name="connsiteY36-2422" fmla="*/ 1494263 h 2066440"/>
              <a:gd name="connsiteX37-2423" fmla="*/ 26578 w 2803231"/>
              <a:gd name="connsiteY37-2424" fmla="*/ 1605775 h 2066440"/>
              <a:gd name="connsiteX38-2425" fmla="*/ 4275 w 2803231"/>
              <a:gd name="connsiteY38-2426" fmla="*/ 1839951 h 2066440"/>
              <a:gd name="connsiteX39-2427" fmla="*/ 0 w 2803231"/>
              <a:gd name="connsiteY39-2428" fmla="*/ 1798862 h 2066440"/>
              <a:gd name="connsiteX40-2429" fmla="*/ 730424 w 2803231"/>
              <a:gd name="connsiteY40-2430" fmla="*/ 1852186 h 2066440"/>
              <a:gd name="connsiteX41-2431" fmla="*/ 234288 w 2803231"/>
              <a:gd name="connsiteY41-2432" fmla="*/ 1848279 h 2066440"/>
              <a:gd name="connsiteX42-2433" fmla="*/ 539544 w 2803231"/>
              <a:gd name="connsiteY42-2434" fmla="*/ 2066440 h 2066440"/>
              <a:gd name="connsiteX43-2435" fmla="*/ 587531 w 2803231"/>
              <a:gd name="connsiteY43-2436" fmla="*/ 1852185 h 2066440"/>
              <a:gd name="connsiteX44-2437" fmla="*/ 940656 w 2803231"/>
              <a:gd name="connsiteY44-2438" fmla="*/ 1860945 h 2066440"/>
              <a:gd name="connsiteX0-2439" fmla="*/ 940656 w 2803231"/>
              <a:gd name="connsiteY0-2440" fmla="*/ 1860945 h 2066440"/>
              <a:gd name="connsiteX1-2441" fmla="*/ 963280 w 2803231"/>
              <a:gd name="connsiteY1-2442" fmla="*/ 1427356 h 2066440"/>
              <a:gd name="connsiteX2-2443" fmla="*/ 2078402 w 2803231"/>
              <a:gd name="connsiteY2-2444" fmla="*/ 1416205 h 2066440"/>
              <a:gd name="connsiteX3-2445" fmla="*/ 2067251 w 2803231"/>
              <a:gd name="connsiteY3-2446" fmla="*/ 568712 h 2066440"/>
              <a:gd name="connsiteX4-2447" fmla="*/ 2223368 w 2803231"/>
              <a:gd name="connsiteY4-2448" fmla="*/ 468351 h 2066440"/>
              <a:gd name="connsiteX5-2449" fmla="*/ 2569056 w 2803231"/>
              <a:gd name="connsiteY5-2450" fmla="*/ 289931 h 2066440"/>
              <a:gd name="connsiteX6-2451" fmla="*/ 2803231 w 2803231"/>
              <a:gd name="connsiteY6-2452" fmla="*/ 301083 h 2066440"/>
              <a:gd name="connsiteX7-2453" fmla="*/ 2803231 w 2803231"/>
              <a:gd name="connsiteY7-2454" fmla="*/ 133814 h 2066440"/>
              <a:gd name="connsiteX8-2455" fmla="*/ 2758627 w 2803231"/>
              <a:gd name="connsiteY8-2456" fmla="*/ 55756 h 2066440"/>
              <a:gd name="connsiteX9-2457" fmla="*/ 2747475 w 2803231"/>
              <a:gd name="connsiteY9-2458" fmla="*/ 22302 h 2066440"/>
              <a:gd name="connsiteX10-2459" fmla="*/ 2691719 w 2803231"/>
              <a:gd name="connsiteY10-2460" fmla="*/ 0 h 2066440"/>
              <a:gd name="connsiteX11-2461" fmla="*/ 2680568 w 2803231"/>
              <a:gd name="connsiteY11-2462" fmla="*/ 44605 h 2066440"/>
              <a:gd name="connsiteX12-2463" fmla="*/ 2557905 w 2803231"/>
              <a:gd name="connsiteY12-2464" fmla="*/ 11151 h 2066440"/>
              <a:gd name="connsiteX13-2465" fmla="*/ 2524451 w 2803231"/>
              <a:gd name="connsiteY13-2466" fmla="*/ 100361 h 2066440"/>
              <a:gd name="connsiteX14-2467" fmla="*/ 2412939 w 2803231"/>
              <a:gd name="connsiteY14-2468" fmla="*/ 66907 h 2066440"/>
              <a:gd name="connsiteX15-2469" fmla="*/ 2368334 w 2803231"/>
              <a:gd name="connsiteY15-2470" fmla="*/ 100361 h 2066440"/>
              <a:gd name="connsiteX16-2471" fmla="*/ 2290275 w 2803231"/>
              <a:gd name="connsiteY16-2472" fmla="*/ 100361 h 2066440"/>
              <a:gd name="connsiteX17-2473" fmla="*/ 2290275 w 2803231"/>
              <a:gd name="connsiteY17-2474" fmla="*/ 100361 h 2066440"/>
              <a:gd name="connsiteX18-2475" fmla="*/ 2212217 w 2803231"/>
              <a:gd name="connsiteY18-2476" fmla="*/ 144966 h 2066440"/>
              <a:gd name="connsiteX19-2477" fmla="*/ 2134158 w 2803231"/>
              <a:gd name="connsiteY19-2478" fmla="*/ 178419 h 2066440"/>
              <a:gd name="connsiteX20-2479" fmla="*/ 2078402 w 2803231"/>
              <a:gd name="connsiteY20-2480" fmla="*/ 178419 h 2066440"/>
              <a:gd name="connsiteX21-2481" fmla="*/ 2078402 w 2803231"/>
              <a:gd name="connsiteY21-2482" fmla="*/ 178419 h 2066440"/>
              <a:gd name="connsiteX22-2483" fmla="*/ 2078402 w 2803231"/>
              <a:gd name="connsiteY22-2484" fmla="*/ 334536 h 2066440"/>
              <a:gd name="connsiteX23-2485" fmla="*/ 1944588 w 2803231"/>
              <a:gd name="connsiteY23-2486" fmla="*/ 312234 h 2066440"/>
              <a:gd name="connsiteX24-2487" fmla="*/ 1855378 w 2803231"/>
              <a:gd name="connsiteY24-2488" fmla="*/ 367990 h 2066440"/>
              <a:gd name="connsiteX25-2489" fmla="*/ 1743866 w 2803231"/>
              <a:gd name="connsiteY25-2490" fmla="*/ 401444 h 2066440"/>
              <a:gd name="connsiteX26-2491" fmla="*/ 1688110 w 2803231"/>
              <a:gd name="connsiteY26-2492" fmla="*/ 356839 h 2066440"/>
              <a:gd name="connsiteX27-2493" fmla="*/ 1654656 w 2803231"/>
              <a:gd name="connsiteY27-2494" fmla="*/ 390292 h 2066440"/>
              <a:gd name="connsiteX28-2495" fmla="*/ 1576597 w 2803231"/>
              <a:gd name="connsiteY28-2496" fmla="*/ 446048 h 2066440"/>
              <a:gd name="connsiteX29-2497" fmla="*/ 1465085 w 2803231"/>
              <a:gd name="connsiteY29-2498" fmla="*/ 434897 h 2066440"/>
              <a:gd name="connsiteX30-2499" fmla="*/ 1230910 w 2803231"/>
              <a:gd name="connsiteY30-2500" fmla="*/ 568712 h 2066440"/>
              <a:gd name="connsiteX31-2501" fmla="*/ 1108246 w 2803231"/>
              <a:gd name="connsiteY31-2502" fmla="*/ 680224 h 2066440"/>
              <a:gd name="connsiteX32-2503" fmla="*/ 639895 w 2803231"/>
              <a:gd name="connsiteY32-2504" fmla="*/ 802887 h 2066440"/>
              <a:gd name="connsiteX33-2505" fmla="*/ 572988 w 2803231"/>
              <a:gd name="connsiteY33-2506" fmla="*/ 858644 h 2066440"/>
              <a:gd name="connsiteX34-2507" fmla="*/ 439173 w 2803231"/>
              <a:gd name="connsiteY34-2508" fmla="*/ 1182029 h 2066440"/>
              <a:gd name="connsiteX35-2509" fmla="*/ 126939 w 2803231"/>
              <a:gd name="connsiteY35-2510" fmla="*/ 1349297 h 2066440"/>
              <a:gd name="connsiteX36-2511" fmla="*/ 104636 w 2803231"/>
              <a:gd name="connsiteY36-2512" fmla="*/ 1494263 h 2066440"/>
              <a:gd name="connsiteX37-2513" fmla="*/ 26578 w 2803231"/>
              <a:gd name="connsiteY37-2514" fmla="*/ 1605775 h 2066440"/>
              <a:gd name="connsiteX38-2515" fmla="*/ 4275 w 2803231"/>
              <a:gd name="connsiteY38-2516" fmla="*/ 1839951 h 2066440"/>
              <a:gd name="connsiteX39-2517" fmla="*/ 0 w 2803231"/>
              <a:gd name="connsiteY39-2518" fmla="*/ 1798862 h 2066440"/>
              <a:gd name="connsiteX40-2519" fmla="*/ 301731 w 2803231"/>
              <a:gd name="connsiteY40-2520" fmla="*/ 1780430 h 2066440"/>
              <a:gd name="connsiteX41-2521" fmla="*/ 234288 w 2803231"/>
              <a:gd name="connsiteY41-2522" fmla="*/ 1848279 h 2066440"/>
              <a:gd name="connsiteX42-2523" fmla="*/ 539544 w 2803231"/>
              <a:gd name="connsiteY42-2524" fmla="*/ 2066440 h 2066440"/>
              <a:gd name="connsiteX43-2525" fmla="*/ 587531 w 2803231"/>
              <a:gd name="connsiteY43-2526" fmla="*/ 1852185 h 2066440"/>
              <a:gd name="connsiteX44-2527" fmla="*/ 940656 w 2803231"/>
              <a:gd name="connsiteY44-2528" fmla="*/ 1860945 h 2066440"/>
              <a:gd name="connsiteX0-2529" fmla="*/ 940656 w 2803231"/>
              <a:gd name="connsiteY0-2530" fmla="*/ 1860945 h 2074535"/>
              <a:gd name="connsiteX1-2531" fmla="*/ 963280 w 2803231"/>
              <a:gd name="connsiteY1-2532" fmla="*/ 1427356 h 2074535"/>
              <a:gd name="connsiteX2-2533" fmla="*/ 2078402 w 2803231"/>
              <a:gd name="connsiteY2-2534" fmla="*/ 1416205 h 2074535"/>
              <a:gd name="connsiteX3-2535" fmla="*/ 2067251 w 2803231"/>
              <a:gd name="connsiteY3-2536" fmla="*/ 568712 h 2074535"/>
              <a:gd name="connsiteX4-2537" fmla="*/ 2223368 w 2803231"/>
              <a:gd name="connsiteY4-2538" fmla="*/ 468351 h 2074535"/>
              <a:gd name="connsiteX5-2539" fmla="*/ 2569056 w 2803231"/>
              <a:gd name="connsiteY5-2540" fmla="*/ 289931 h 2074535"/>
              <a:gd name="connsiteX6-2541" fmla="*/ 2803231 w 2803231"/>
              <a:gd name="connsiteY6-2542" fmla="*/ 301083 h 2074535"/>
              <a:gd name="connsiteX7-2543" fmla="*/ 2803231 w 2803231"/>
              <a:gd name="connsiteY7-2544" fmla="*/ 133814 h 2074535"/>
              <a:gd name="connsiteX8-2545" fmla="*/ 2758627 w 2803231"/>
              <a:gd name="connsiteY8-2546" fmla="*/ 55756 h 2074535"/>
              <a:gd name="connsiteX9-2547" fmla="*/ 2747475 w 2803231"/>
              <a:gd name="connsiteY9-2548" fmla="*/ 22302 h 2074535"/>
              <a:gd name="connsiteX10-2549" fmla="*/ 2691719 w 2803231"/>
              <a:gd name="connsiteY10-2550" fmla="*/ 0 h 2074535"/>
              <a:gd name="connsiteX11-2551" fmla="*/ 2680568 w 2803231"/>
              <a:gd name="connsiteY11-2552" fmla="*/ 44605 h 2074535"/>
              <a:gd name="connsiteX12-2553" fmla="*/ 2557905 w 2803231"/>
              <a:gd name="connsiteY12-2554" fmla="*/ 11151 h 2074535"/>
              <a:gd name="connsiteX13-2555" fmla="*/ 2524451 w 2803231"/>
              <a:gd name="connsiteY13-2556" fmla="*/ 100361 h 2074535"/>
              <a:gd name="connsiteX14-2557" fmla="*/ 2412939 w 2803231"/>
              <a:gd name="connsiteY14-2558" fmla="*/ 66907 h 2074535"/>
              <a:gd name="connsiteX15-2559" fmla="*/ 2368334 w 2803231"/>
              <a:gd name="connsiteY15-2560" fmla="*/ 100361 h 2074535"/>
              <a:gd name="connsiteX16-2561" fmla="*/ 2290275 w 2803231"/>
              <a:gd name="connsiteY16-2562" fmla="*/ 100361 h 2074535"/>
              <a:gd name="connsiteX17-2563" fmla="*/ 2290275 w 2803231"/>
              <a:gd name="connsiteY17-2564" fmla="*/ 100361 h 2074535"/>
              <a:gd name="connsiteX18-2565" fmla="*/ 2212217 w 2803231"/>
              <a:gd name="connsiteY18-2566" fmla="*/ 144966 h 2074535"/>
              <a:gd name="connsiteX19-2567" fmla="*/ 2134158 w 2803231"/>
              <a:gd name="connsiteY19-2568" fmla="*/ 178419 h 2074535"/>
              <a:gd name="connsiteX20-2569" fmla="*/ 2078402 w 2803231"/>
              <a:gd name="connsiteY20-2570" fmla="*/ 178419 h 2074535"/>
              <a:gd name="connsiteX21-2571" fmla="*/ 2078402 w 2803231"/>
              <a:gd name="connsiteY21-2572" fmla="*/ 178419 h 2074535"/>
              <a:gd name="connsiteX22-2573" fmla="*/ 2078402 w 2803231"/>
              <a:gd name="connsiteY22-2574" fmla="*/ 334536 h 2074535"/>
              <a:gd name="connsiteX23-2575" fmla="*/ 1944588 w 2803231"/>
              <a:gd name="connsiteY23-2576" fmla="*/ 312234 h 2074535"/>
              <a:gd name="connsiteX24-2577" fmla="*/ 1855378 w 2803231"/>
              <a:gd name="connsiteY24-2578" fmla="*/ 367990 h 2074535"/>
              <a:gd name="connsiteX25-2579" fmla="*/ 1743866 w 2803231"/>
              <a:gd name="connsiteY25-2580" fmla="*/ 401444 h 2074535"/>
              <a:gd name="connsiteX26-2581" fmla="*/ 1688110 w 2803231"/>
              <a:gd name="connsiteY26-2582" fmla="*/ 356839 h 2074535"/>
              <a:gd name="connsiteX27-2583" fmla="*/ 1654656 w 2803231"/>
              <a:gd name="connsiteY27-2584" fmla="*/ 390292 h 2074535"/>
              <a:gd name="connsiteX28-2585" fmla="*/ 1576597 w 2803231"/>
              <a:gd name="connsiteY28-2586" fmla="*/ 446048 h 2074535"/>
              <a:gd name="connsiteX29-2587" fmla="*/ 1465085 w 2803231"/>
              <a:gd name="connsiteY29-2588" fmla="*/ 434897 h 2074535"/>
              <a:gd name="connsiteX30-2589" fmla="*/ 1230910 w 2803231"/>
              <a:gd name="connsiteY30-2590" fmla="*/ 568712 h 2074535"/>
              <a:gd name="connsiteX31-2591" fmla="*/ 1108246 w 2803231"/>
              <a:gd name="connsiteY31-2592" fmla="*/ 680224 h 2074535"/>
              <a:gd name="connsiteX32-2593" fmla="*/ 639895 w 2803231"/>
              <a:gd name="connsiteY32-2594" fmla="*/ 802887 h 2074535"/>
              <a:gd name="connsiteX33-2595" fmla="*/ 572988 w 2803231"/>
              <a:gd name="connsiteY33-2596" fmla="*/ 858644 h 2074535"/>
              <a:gd name="connsiteX34-2597" fmla="*/ 439173 w 2803231"/>
              <a:gd name="connsiteY34-2598" fmla="*/ 1182029 h 2074535"/>
              <a:gd name="connsiteX35-2599" fmla="*/ 126939 w 2803231"/>
              <a:gd name="connsiteY35-2600" fmla="*/ 1349297 h 2074535"/>
              <a:gd name="connsiteX36-2601" fmla="*/ 104636 w 2803231"/>
              <a:gd name="connsiteY36-2602" fmla="*/ 1494263 h 2074535"/>
              <a:gd name="connsiteX37-2603" fmla="*/ 26578 w 2803231"/>
              <a:gd name="connsiteY37-2604" fmla="*/ 1605775 h 2074535"/>
              <a:gd name="connsiteX38-2605" fmla="*/ 4275 w 2803231"/>
              <a:gd name="connsiteY38-2606" fmla="*/ 1839951 h 2074535"/>
              <a:gd name="connsiteX39-2607" fmla="*/ 0 w 2803231"/>
              <a:gd name="connsiteY39-2608" fmla="*/ 1798862 h 2074535"/>
              <a:gd name="connsiteX40-2609" fmla="*/ 301731 w 2803231"/>
              <a:gd name="connsiteY40-2610" fmla="*/ 1780430 h 2074535"/>
              <a:gd name="connsiteX41-2611" fmla="*/ 234288 w 2803231"/>
              <a:gd name="connsiteY41-2612" fmla="*/ 1848279 h 2074535"/>
              <a:gd name="connsiteX42-2613" fmla="*/ 539544 w 2803231"/>
              <a:gd name="connsiteY42-2614" fmla="*/ 2066440 h 2074535"/>
              <a:gd name="connsiteX43-2615" fmla="*/ 538967 w 2803231"/>
              <a:gd name="connsiteY43-2616" fmla="*/ 1896848 h 2074535"/>
              <a:gd name="connsiteX44-2617" fmla="*/ 587531 w 2803231"/>
              <a:gd name="connsiteY44-2618" fmla="*/ 1852185 h 2074535"/>
              <a:gd name="connsiteX45-2619" fmla="*/ 940656 w 2803231"/>
              <a:gd name="connsiteY45-2620" fmla="*/ 1860945 h 2074535"/>
              <a:gd name="connsiteX0-2621" fmla="*/ 940656 w 2803231"/>
              <a:gd name="connsiteY0-2622" fmla="*/ 1860945 h 2067091"/>
              <a:gd name="connsiteX1-2623" fmla="*/ 963280 w 2803231"/>
              <a:gd name="connsiteY1-2624" fmla="*/ 1427356 h 2067091"/>
              <a:gd name="connsiteX2-2625" fmla="*/ 2078402 w 2803231"/>
              <a:gd name="connsiteY2-2626" fmla="*/ 1416205 h 2067091"/>
              <a:gd name="connsiteX3-2627" fmla="*/ 2067251 w 2803231"/>
              <a:gd name="connsiteY3-2628" fmla="*/ 568712 h 2067091"/>
              <a:gd name="connsiteX4-2629" fmla="*/ 2223368 w 2803231"/>
              <a:gd name="connsiteY4-2630" fmla="*/ 468351 h 2067091"/>
              <a:gd name="connsiteX5-2631" fmla="*/ 2569056 w 2803231"/>
              <a:gd name="connsiteY5-2632" fmla="*/ 289931 h 2067091"/>
              <a:gd name="connsiteX6-2633" fmla="*/ 2803231 w 2803231"/>
              <a:gd name="connsiteY6-2634" fmla="*/ 301083 h 2067091"/>
              <a:gd name="connsiteX7-2635" fmla="*/ 2803231 w 2803231"/>
              <a:gd name="connsiteY7-2636" fmla="*/ 133814 h 2067091"/>
              <a:gd name="connsiteX8-2637" fmla="*/ 2758627 w 2803231"/>
              <a:gd name="connsiteY8-2638" fmla="*/ 55756 h 2067091"/>
              <a:gd name="connsiteX9-2639" fmla="*/ 2747475 w 2803231"/>
              <a:gd name="connsiteY9-2640" fmla="*/ 22302 h 2067091"/>
              <a:gd name="connsiteX10-2641" fmla="*/ 2691719 w 2803231"/>
              <a:gd name="connsiteY10-2642" fmla="*/ 0 h 2067091"/>
              <a:gd name="connsiteX11-2643" fmla="*/ 2680568 w 2803231"/>
              <a:gd name="connsiteY11-2644" fmla="*/ 44605 h 2067091"/>
              <a:gd name="connsiteX12-2645" fmla="*/ 2557905 w 2803231"/>
              <a:gd name="connsiteY12-2646" fmla="*/ 11151 h 2067091"/>
              <a:gd name="connsiteX13-2647" fmla="*/ 2524451 w 2803231"/>
              <a:gd name="connsiteY13-2648" fmla="*/ 100361 h 2067091"/>
              <a:gd name="connsiteX14-2649" fmla="*/ 2412939 w 2803231"/>
              <a:gd name="connsiteY14-2650" fmla="*/ 66907 h 2067091"/>
              <a:gd name="connsiteX15-2651" fmla="*/ 2368334 w 2803231"/>
              <a:gd name="connsiteY15-2652" fmla="*/ 100361 h 2067091"/>
              <a:gd name="connsiteX16-2653" fmla="*/ 2290275 w 2803231"/>
              <a:gd name="connsiteY16-2654" fmla="*/ 100361 h 2067091"/>
              <a:gd name="connsiteX17-2655" fmla="*/ 2290275 w 2803231"/>
              <a:gd name="connsiteY17-2656" fmla="*/ 100361 h 2067091"/>
              <a:gd name="connsiteX18-2657" fmla="*/ 2212217 w 2803231"/>
              <a:gd name="connsiteY18-2658" fmla="*/ 144966 h 2067091"/>
              <a:gd name="connsiteX19-2659" fmla="*/ 2134158 w 2803231"/>
              <a:gd name="connsiteY19-2660" fmla="*/ 178419 h 2067091"/>
              <a:gd name="connsiteX20-2661" fmla="*/ 2078402 w 2803231"/>
              <a:gd name="connsiteY20-2662" fmla="*/ 178419 h 2067091"/>
              <a:gd name="connsiteX21-2663" fmla="*/ 2078402 w 2803231"/>
              <a:gd name="connsiteY21-2664" fmla="*/ 178419 h 2067091"/>
              <a:gd name="connsiteX22-2665" fmla="*/ 2078402 w 2803231"/>
              <a:gd name="connsiteY22-2666" fmla="*/ 334536 h 2067091"/>
              <a:gd name="connsiteX23-2667" fmla="*/ 1944588 w 2803231"/>
              <a:gd name="connsiteY23-2668" fmla="*/ 312234 h 2067091"/>
              <a:gd name="connsiteX24-2669" fmla="*/ 1855378 w 2803231"/>
              <a:gd name="connsiteY24-2670" fmla="*/ 367990 h 2067091"/>
              <a:gd name="connsiteX25-2671" fmla="*/ 1743866 w 2803231"/>
              <a:gd name="connsiteY25-2672" fmla="*/ 401444 h 2067091"/>
              <a:gd name="connsiteX26-2673" fmla="*/ 1688110 w 2803231"/>
              <a:gd name="connsiteY26-2674" fmla="*/ 356839 h 2067091"/>
              <a:gd name="connsiteX27-2675" fmla="*/ 1654656 w 2803231"/>
              <a:gd name="connsiteY27-2676" fmla="*/ 390292 h 2067091"/>
              <a:gd name="connsiteX28-2677" fmla="*/ 1576597 w 2803231"/>
              <a:gd name="connsiteY28-2678" fmla="*/ 446048 h 2067091"/>
              <a:gd name="connsiteX29-2679" fmla="*/ 1465085 w 2803231"/>
              <a:gd name="connsiteY29-2680" fmla="*/ 434897 h 2067091"/>
              <a:gd name="connsiteX30-2681" fmla="*/ 1230910 w 2803231"/>
              <a:gd name="connsiteY30-2682" fmla="*/ 568712 h 2067091"/>
              <a:gd name="connsiteX31-2683" fmla="*/ 1108246 w 2803231"/>
              <a:gd name="connsiteY31-2684" fmla="*/ 680224 h 2067091"/>
              <a:gd name="connsiteX32-2685" fmla="*/ 639895 w 2803231"/>
              <a:gd name="connsiteY32-2686" fmla="*/ 802887 h 2067091"/>
              <a:gd name="connsiteX33-2687" fmla="*/ 572988 w 2803231"/>
              <a:gd name="connsiteY33-2688" fmla="*/ 858644 h 2067091"/>
              <a:gd name="connsiteX34-2689" fmla="*/ 439173 w 2803231"/>
              <a:gd name="connsiteY34-2690" fmla="*/ 1182029 h 2067091"/>
              <a:gd name="connsiteX35-2691" fmla="*/ 126939 w 2803231"/>
              <a:gd name="connsiteY35-2692" fmla="*/ 1349297 h 2067091"/>
              <a:gd name="connsiteX36-2693" fmla="*/ 104636 w 2803231"/>
              <a:gd name="connsiteY36-2694" fmla="*/ 1494263 h 2067091"/>
              <a:gd name="connsiteX37-2695" fmla="*/ 26578 w 2803231"/>
              <a:gd name="connsiteY37-2696" fmla="*/ 1605775 h 2067091"/>
              <a:gd name="connsiteX38-2697" fmla="*/ 4275 w 2803231"/>
              <a:gd name="connsiteY38-2698" fmla="*/ 1839951 h 2067091"/>
              <a:gd name="connsiteX39-2699" fmla="*/ 0 w 2803231"/>
              <a:gd name="connsiteY39-2700" fmla="*/ 1798862 h 2067091"/>
              <a:gd name="connsiteX40-2701" fmla="*/ 301731 w 2803231"/>
              <a:gd name="connsiteY40-2702" fmla="*/ 1780430 h 2067091"/>
              <a:gd name="connsiteX41-2703" fmla="*/ 234288 w 2803231"/>
              <a:gd name="connsiteY41-2704" fmla="*/ 1848279 h 2067091"/>
              <a:gd name="connsiteX42-2705" fmla="*/ 539544 w 2803231"/>
              <a:gd name="connsiteY42-2706" fmla="*/ 2066440 h 2067091"/>
              <a:gd name="connsiteX43-2707" fmla="*/ 587531 w 2803231"/>
              <a:gd name="connsiteY43-2708" fmla="*/ 1852185 h 2067091"/>
              <a:gd name="connsiteX44-2709" fmla="*/ 940656 w 2803231"/>
              <a:gd name="connsiteY44-2710" fmla="*/ 1860945 h 2067091"/>
              <a:gd name="connsiteX0-2711" fmla="*/ 940656 w 2803231"/>
              <a:gd name="connsiteY0-2712" fmla="*/ 1860945 h 2067040"/>
              <a:gd name="connsiteX1-2713" fmla="*/ 963280 w 2803231"/>
              <a:gd name="connsiteY1-2714" fmla="*/ 1427356 h 2067040"/>
              <a:gd name="connsiteX2-2715" fmla="*/ 2078402 w 2803231"/>
              <a:gd name="connsiteY2-2716" fmla="*/ 1416205 h 2067040"/>
              <a:gd name="connsiteX3-2717" fmla="*/ 2067251 w 2803231"/>
              <a:gd name="connsiteY3-2718" fmla="*/ 568712 h 2067040"/>
              <a:gd name="connsiteX4-2719" fmla="*/ 2223368 w 2803231"/>
              <a:gd name="connsiteY4-2720" fmla="*/ 468351 h 2067040"/>
              <a:gd name="connsiteX5-2721" fmla="*/ 2569056 w 2803231"/>
              <a:gd name="connsiteY5-2722" fmla="*/ 289931 h 2067040"/>
              <a:gd name="connsiteX6-2723" fmla="*/ 2803231 w 2803231"/>
              <a:gd name="connsiteY6-2724" fmla="*/ 301083 h 2067040"/>
              <a:gd name="connsiteX7-2725" fmla="*/ 2803231 w 2803231"/>
              <a:gd name="connsiteY7-2726" fmla="*/ 133814 h 2067040"/>
              <a:gd name="connsiteX8-2727" fmla="*/ 2758627 w 2803231"/>
              <a:gd name="connsiteY8-2728" fmla="*/ 55756 h 2067040"/>
              <a:gd name="connsiteX9-2729" fmla="*/ 2747475 w 2803231"/>
              <a:gd name="connsiteY9-2730" fmla="*/ 22302 h 2067040"/>
              <a:gd name="connsiteX10-2731" fmla="*/ 2691719 w 2803231"/>
              <a:gd name="connsiteY10-2732" fmla="*/ 0 h 2067040"/>
              <a:gd name="connsiteX11-2733" fmla="*/ 2680568 w 2803231"/>
              <a:gd name="connsiteY11-2734" fmla="*/ 44605 h 2067040"/>
              <a:gd name="connsiteX12-2735" fmla="*/ 2557905 w 2803231"/>
              <a:gd name="connsiteY12-2736" fmla="*/ 11151 h 2067040"/>
              <a:gd name="connsiteX13-2737" fmla="*/ 2524451 w 2803231"/>
              <a:gd name="connsiteY13-2738" fmla="*/ 100361 h 2067040"/>
              <a:gd name="connsiteX14-2739" fmla="*/ 2412939 w 2803231"/>
              <a:gd name="connsiteY14-2740" fmla="*/ 66907 h 2067040"/>
              <a:gd name="connsiteX15-2741" fmla="*/ 2368334 w 2803231"/>
              <a:gd name="connsiteY15-2742" fmla="*/ 100361 h 2067040"/>
              <a:gd name="connsiteX16-2743" fmla="*/ 2290275 w 2803231"/>
              <a:gd name="connsiteY16-2744" fmla="*/ 100361 h 2067040"/>
              <a:gd name="connsiteX17-2745" fmla="*/ 2290275 w 2803231"/>
              <a:gd name="connsiteY17-2746" fmla="*/ 100361 h 2067040"/>
              <a:gd name="connsiteX18-2747" fmla="*/ 2212217 w 2803231"/>
              <a:gd name="connsiteY18-2748" fmla="*/ 144966 h 2067040"/>
              <a:gd name="connsiteX19-2749" fmla="*/ 2134158 w 2803231"/>
              <a:gd name="connsiteY19-2750" fmla="*/ 178419 h 2067040"/>
              <a:gd name="connsiteX20-2751" fmla="*/ 2078402 w 2803231"/>
              <a:gd name="connsiteY20-2752" fmla="*/ 178419 h 2067040"/>
              <a:gd name="connsiteX21-2753" fmla="*/ 2078402 w 2803231"/>
              <a:gd name="connsiteY21-2754" fmla="*/ 178419 h 2067040"/>
              <a:gd name="connsiteX22-2755" fmla="*/ 2078402 w 2803231"/>
              <a:gd name="connsiteY22-2756" fmla="*/ 334536 h 2067040"/>
              <a:gd name="connsiteX23-2757" fmla="*/ 1944588 w 2803231"/>
              <a:gd name="connsiteY23-2758" fmla="*/ 312234 h 2067040"/>
              <a:gd name="connsiteX24-2759" fmla="*/ 1855378 w 2803231"/>
              <a:gd name="connsiteY24-2760" fmla="*/ 367990 h 2067040"/>
              <a:gd name="connsiteX25-2761" fmla="*/ 1743866 w 2803231"/>
              <a:gd name="connsiteY25-2762" fmla="*/ 401444 h 2067040"/>
              <a:gd name="connsiteX26-2763" fmla="*/ 1688110 w 2803231"/>
              <a:gd name="connsiteY26-2764" fmla="*/ 356839 h 2067040"/>
              <a:gd name="connsiteX27-2765" fmla="*/ 1654656 w 2803231"/>
              <a:gd name="connsiteY27-2766" fmla="*/ 390292 h 2067040"/>
              <a:gd name="connsiteX28-2767" fmla="*/ 1576597 w 2803231"/>
              <a:gd name="connsiteY28-2768" fmla="*/ 446048 h 2067040"/>
              <a:gd name="connsiteX29-2769" fmla="*/ 1465085 w 2803231"/>
              <a:gd name="connsiteY29-2770" fmla="*/ 434897 h 2067040"/>
              <a:gd name="connsiteX30-2771" fmla="*/ 1230910 w 2803231"/>
              <a:gd name="connsiteY30-2772" fmla="*/ 568712 h 2067040"/>
              <a:gd name="connsiteX31-2773" fmla="*/ 1108246 w 2803231"/>
              <a:gd name="connsiteY31-2774" fmla="*/ 680224 h 2067040"/>
              <a:gd name="connsiteX32-2775" fmla="*/ 639895 w 2803231"/>
              <a:gd name="connsiteY32-2776" fmla="*/ 802887 h 2067040"/>
              <a:gd name="connsiteX33-2777" fmla="*/ 572988 w 2803231"/>
              <a:gd name="connsiteY33-2778" fmla="*/ 858644 h 2067040"/>
              <a:gd name="connsiteX34-2779" fmla="*/ 439173 w 2803231"/>
              <a:gd name="connsiteY34-2780" fmla="*/ 1182029 h 2067040"/>
              <a:gd name="connsiteX35-2781" fmla="*/ 126939 w 2803231"/>
              <a:gd name="connsiteY35-2782" fmla="*/ 1349297 h 2067040"/>
              <a:gd name="connsiteX36-2783" fmla="*/ 104636 w 2803231"/>
              <a:gd name="connsiteY36-2784" fmla="*/ 1494263 h 2067040"/>
              <a:gd name="connsiteX37-2785" fmla="*/ 26578 w 2803231"/>
              <a:gd name="connsiteY37-2786" fmla="*/ 1605775 h 2067040"/>
              <a:gd name="connsiteX38-2787" fmla="*/ 4275 w 2803231"/>
              <a:gd name="connsiteY38-2788" fmla="*/ 1839951 h 2067040"/>
              <a:gd name="connsiteX39-2789" fmla="*/ 0 w 2803231"/>
              <a:gd name="connsiteY39-2790" fmla="*/ 1798862 h 2067040"/>
              <a:gd name="connsiteX40-2791" fmla="*/ 301731 w 2803231"/>
              <a:gd name="connsiteY40-2792" fmla="*/ 1780430 h 2067040"/>
              <a:gd name="connsiteX41-2793" fmla="*/ 234288 w 2803231"/>
              <a:gd name="connsiteY41-2794" fmla="*/ 1848279 h 2067040"/>
              <a:gd name="connsiteX42-2795" fmla="*/ 539544 w 2803231"/>
              <a:gd name="connsiteY42-2796" fmla="*/ 2066440 h 2067040"/>
              <a:gd name="connsiteX43-2797" fmla="*/ 587467 w 2803231"/>
              <a:gd name="connsiteY43-2798" fmla="*/ 1851880 h 2067040"/>
              <a:gd name="connsiteX44-2799" fmla="*/ 940656 w 2803231"/>
              <a:gd name="connsiteY44-2800" fmla="*/ 1860945 h 2067040"/>
              <a:gd name="connsiteX0-2801" fmla="*/ 587467 w 2803231"/>
              <a:gd name="connsiteY0-2802" fmla="*/ 1851880 h 2067040"/>
              <a:gd name="connsiteX1-2803" fmla="*/ 940656 w 2803231"/>
              <a:gd name="connsiteY1-2804" fmla="*/ 1860945 h 2067040"/>
              <a:gd name="connsiteX2-2805" fmla="*/ 963280 w 2803231"/>
              <a:gd name="connsiteY2-2806" fmla="*/ 1427356 h 2067040"/>
              <a:gd name="connsiteX3-2807" fmla="*/ 2078402 w 2803231"/>
              <a:gd name="connsiteY3-2808" fmla="*/ 1416205 h 2067040"/>
              <a:gd name="connsiteX4-2809" fmla="*/ 2067251 w 2803231"/>
              <a:gd name="connsiteY4-2810" fmla="*/ 568712 h 2067040"/>
              <a:gd name="connsiteX5-2811" fmla="*/ 2223368 w 2803231"/>
              <a:gd name="connsiteY5-2812" fmla="*/ 468351 h 2067040"/>
              <a:gd name="connsiteX6-2813" fmla="*/ 2569056 w 2803231"/>
              <a:gd name="connsiteY6-2814" fmla="*/ 289931 h 2067040"/>
              <a:gd name="connsiteX7-2815" fmla="*/ 2803231 w 2803231"/>
              <a:gd name="connsiteY7-2816" fmla="*/ 301083 h 2067040"/>
              <a:gd name="connsiteX8-2817" fmla="*/ 2803231 w 2803231"/>
              <a:gd name="connsiteY8-2818" fmla="*/ 133814 h 2067040"/>
              <a:gd name="connsiteX9-2819" fmla="*/ 2758627 w 2803231"/>
              <a:gd name="connsiteY9-2820" fmla="*/ 55756 h 2067040"/>
              <a:gd name="connsiteX10-2821" fmla="*/ 2747475 w 2803231"/>
              <a:gd name="connsiteY10-2822" fmla="*/ 22302 h 2067040"/>
              <a:gd name="connsiteX11-2823" fmla="*/ 2691719 w 2803231"/>
              <a:gd name="connsiteY11-2824" fmla="*/ 0 h 2067040"/>
              <a:gd name="connsiteX12-2825" fmla="*/ 2680568 w 2803231"/>
              <a:gd name="connsiteY12-2826" fmla="*/ 44605 h 2067040"/>
              <a:gd name="connsiteX13-2827" fmla="*/ 2557905 w 2803231"/>
              <a:gd name="connsiteY13-2828" fmla="*/ 11151 h 2067040"/>
              <a:gd name="connsiteX14-2829" fmla="*/ 2524451 w 2803231"/>
              <a:gd name="connsiteY14-2830" fmla="*/ 100361 h 2067040"/>
              <a:gd name="connsiteX15-2831" fmla="*/ 2412939 w 2803231"/>
              <a:gd name="connsiteY15-2832" fmla="*/ 66907 h 2067040"/>
              <a:gd name="connsiteX16-2833" fmla="*/ 2368334 w 2803231"/>
              <a:gd name="connsiteY16-2834" fmla="*/ 100361 h 2067040"/>
              <a:gd name="connsiteX17-2835" fmla="*/ 2290275 w 2803231"/>
              <a:gd name="connsiteY17-2836" fmla="*/ 100361 h 2067040"/>
              <a:gd name="connsiteX18-2837" fmla="*/ 2290275 w 2803231"/>
              <a:gd name="connsiteY18-2838" fmla="*/ 100361 h 2067040"/>
              <a:gd name="connsiteX19-2839" fmla="*/ 2212217 w 2803231"/>
              <a:gd name="connsiteY19-2840" fmla="*/ 144966 h 2067040"/>
              <a:gd name="connsiteX20-2841" fmla="*/ 2134158 w 2803231"/>
              <a:gd name="connsiteY20-2842" fmla="*/ 178419 h 2067040"/>
              <a:gd name="connsiteX21-2843" fmla="*/ 2078402 w 2803231"/>
              <a:gd name="connsiteY21-2844" fmla="*/ 178419 h 2067040"/>
              <a:gd name="connsiteX22-2845" fmla="*/ 2078402 w 2803231"/>
              <a:gd name="connsiteY22-2846" fmla="*/ 178419 h 2067040"/>
              <a:gd name="connsiteX23-2847" fmla="*/ 2078402 w 2803231"/>
              <a:gd name="connsiteY23-2848" fmla="*/ 334536 h 2067040"/>
              <a:gd name="connsiteX24-2849" fmla="*/ 1944588 w 2803231"/>
              <a:gd name="connsiteY24-2850" fmla="*/ 312234 h 2067040"/>
              <a:gd name="connsiteX25-2851" fmla="*/ 1855378 w 2803231"/>
              <a:gd name="connsiteY25-2852" fmla="*/ 367990 h 2067040"/>
              <a:gd name="connsiteX26-2853" fmla="*/ 1743866 w 2803231"/>
              <a:gd name="connsiteY26-2854" fmla="*/ 401444 h 2067040"/>
              <a:gd name="connsiteX27-2855" fmla="*/ 1688110 w 2803231"/>
              <a:gd name="connsiteY27-2856" fmla="*/ 356839 h 2067040"/>
              <a:gd name="connsiteX28-2857" fmla="*/ 1654656 w 2803231"/>
              <a:gd name="connsiteY28-2858" fmla="*/ 390292 h 2067040"/>
              <a:gd name="connsiteX29-2859" fmla="*/ 1576597 w 2803231"/>
              <a:gd name="connsiteY29-2860" fmla="*/ 446048 h 2067040"/>
              <a:gd name="connsiteX30-2861" fmla="*/ 1465085 w 2803231"/>
              <a:gd name="connsiteY30-2862" fmla="*/ 434897 h 2067040"/>
              <a:gd name="connsiteX31-2863" fmla="*/ 1230910 w 2803231"/>
              <a:gd name="connsiteY31-2864" fmla="*/ 568712 h 2067040"/>
              <a:gd name="connsiteX32-2865" fmla="*/ 1108246 w 2803231"/>
              <a:gd name="connsiteY32-2866" fmla="*/ 680224 h 2067040"/>
              <a:gd name="connsiteX33-2867" fmla="*/ 639895 w 2803231"/>
              <a:gd name="connsiteY33-2868" fmla="*/ 802887 h 2067040"/>
              <a:gd name="connsiteX34-2869" fmla="*/ 572988 w 2803231"/>
              <a:gd name="connsiteY34-2870" fmla="*/ 858644 h 2067040"/>
              <a:gd name="connsiteX35-2871" fmla="*/ 439173 w 2803231"/>
              <a:gd name="connsiteY35-2872" fmla="*/ 1182029 h 2067040"/>
              <a:gd name="connsiteX36-2873" fmla="*/ 126939 w 2803231"/>
              <a:gd name="connsiteY36-2874" fmla="*/ 1349297 h 2067040"/>
              <a:gd name="connsiteX37-2875" fmla="*/ 104636 w 2803231"/>
              <a:gd name="connsiteY37-2876" fmla="*/ 1494263 h 2067040"/>
              <a:gd name="connsiteX38-2877" fmla="*/ 26578 w 2803231"/>
              <a:gd name="connsiteY38-2878" fmla="*/ 1605775 h 2067040"/>
              <a:gd name="connsiteX39-2879" fmla="*/ 4275 w 2803231"/>
              <a:gd name="connsiteY39-2880" fmla="*/ 1839951 h 2067040"/>
              <a:gd name="connsiteX40-2881" fmla="*/ 0 w 2803231"/>
              <a:gd name="connsiteY40-2882" fmla="*/ 1798862 h 2067040"/>
              <a:gd name="connsiteX41-2883" fmla="*/ 301731 w 2803231"/>
              <a:gd name="connsiteY41-2884" fmla="*/ 1780430 h 2067040"/>
              <a:gd name="connsiteX42-2885" fmla="*/ 234288 w 2803231"/>
              <a:gd name="connsiteY42-2886" fmla="*/ 1848279 h 2067040"/>
              <a:gd name="connsiteX43-2887" fmla="*/ 539544 w 2803231"/>
              <a:gd name="connsiteY43-2888" fmla="*/ 2066440 h 2067040"/>
              <a:gd name="connsiteX44-2889" fmla="*/ 678897 w 2803231"/>
              <a:gd name="connsiteY44-2890" fmla="*/ 1943305 h 2067040"/>
              <a:gd name="connsiteX0-2891" fmla="*/ 587467 w 2803231"/>
              <a:gd name="connsiteY0-2892" fmla="*/ 1851880 h 2070316"/>
              <a:gd name="connsiteX1-2893" fmla="*/ 940656 w 2803231"/>
              <a:gd name="connsiteY1-2894" fmla="*/ 1860945 h 2070316"/>
              <a:gd name="connsiteX2-2895" fmla="*/ 963280 w 2803231"/>
              <a:gd name="connsiteY2-2896" fmla="*/ 1427356 h 2070316"/>
              <a:gd name="connsiteX3-2897" fmla="*/ 2078402 w 2803231"/>
              <a:gd name="connsiteY3-2898" fmla="*/ 1416205 h 2070316"/>
              <a:gd name="connsiteX4-2899" fmla="*/ 2067251 w 2803231"/>
              <a:gd name="connsiteY4-2900" fmla="*/ 568712 h 2070316"/>
              <a:gd name="connsiteX5-2901" fmla="*/ 2223368 w 2803231"/>
              <a:gd name="connsiteY5-2902" fmla="*/ 468351 h 2070316"/>
              <a:gd name="connsiteX6-2903" fmla="*/ 2569056 w 2803231"/>
              <a:gd name="connsiteY6-2904" fmla="*/ 289931 h 2070316"/>
              <a:gd name="connsiteX7-2905" fmla="*/ 2803231 w 2803231"/>
              <a:gd name="connsiteY7-2906" fmla="*/ 301083 h 2070316"/>
              <a:gd name="connsiteX8-2907" fmla="*/ 2803231 w 2803231"/>
              <a:gd name="connsiteY8-2908" fmla="*/ 133814 h 2070316"/>
              <a:gd name="connsiteX9-2909" fmla="*/ 2758627 w 2803231"/>
              <a:gd name="connsiteY9-2910" fmla="*/ 55756 h 2070316"/>
              <a:gd name="connsiteX10-2911" fmla="*/ 2747475 w 2803231"/>
              <a:gd name="connsiteY10-2912" fmla="*/ 22302 h 2070316"/>
              <a:gd name="connsiteX11-2913" fmla="*/ 2691719 w 2803231"/>
              <a:gd name="connsiteY11-2914" fmla="*/ 0 h 2070316"/>
              <a:gd name="connsiteX12-2915" fmla="*/ 2680568 w 2803231"/>
              <a:gd name="connsiteY12-2916" fmla="*/ 44605 h 2070316"/>
              <a:gd name="connsiteX13-2917" fmla="*/ 2557905 w 2803231"/>
              <a:gd name="connsiteY13-2918" fmla="*/ 11151 h 2070316"/>
              <a:gd name="connsiteX14-2919" fmla="*/ 2524451 w 2803231"/>
              <a:gd name="connsiteY14-2920" fmla="*/ 100361 h 2070316"/>
              <a:gd name="connsiteX15-2921" fmla="*/ 2412939 w 2803231"/>
              <a:gd name="connsiteY15-2922" fmla="*/ 66907 h 2070316"/>
              <a:gd name="connsiteX16-2923" fmla="*/ 2368334 w 2803231"/>
              <a:gd name="connsiteY16-2924" fmla="*/ 100361 h 2070316"/>
              <a:gd name="connsiteX17-2925" fmla="*/ 2290275 w 2803231"/>
              <a:gd name="connsiteY17-2926" fmla="*/ 100361 h 2070316"/>
              <a:gd name="connsiteX18-2927" fmla="*/ 2290275 w 2803231"/>
              <a:gd name="connsiteY18-2928" fmla="*/ 100361 h 2070316"/>
              <a:gd name="connsiteX19-2929" fmla="*/ 2212217 w 2803231"/>
              <a:gd name="connsiteY19-2930" fmla="*/ 144966 h 2070316"/>
              <a:gd name="connsiteX20-2931" fmla="*/ 2134158 w 2803231"/>
              <a:gd name="connsiteY20-2932" fmla="*/ 178419 h 2070316"/>
              <a:gd name="connsiteX21-2933" fmla="*/ 2078402 w 2803231"/>
              <a:gd name="connsiteY21-2934" fmla="*/ 178419 h 2070316"/>
              <a:gd name="connsiteX22-2935" fmla="*/ 2078402 w 2803231"/>
              <a:gd name="connsiteY22-2936" fmla="*/ 178419 h 2070316"/>
              <a:gd name="connsiteX23-2937" fmla="*/ 2078402 w 2803231"/>
              <a:gd name="connsiteY23-2938" fmla="*/ 334536 h 2070316"/>
              <a:gd name="connsiteX24-2939" fmla="*/ 1944588 w 2803231"/>
              <a:gd name="connsiteY24-2940" fmla="*/ 312234 h 2070316"/>
              <a:gd name="connsiteX25-2941" fmla="*/ 1855378 w 2803231"/>
              <a:gd name="connsiteY25-2942" fmla="*/ 367990 h 2070316"/>
              <a:gd name="connsiteX26-2943" fmla="*/ 1743866 w 2803231"/>
              <a:gd name="connsiteY26-2944" fmla="*/ 401444 h 2070316"/>
              <a:gd name="connsiteX27-2945" fmla="*/ 1688110 w 2803231"/>
              <a:gd name="connsiteY27-2946" fmla="*/ 356839 h 2070316"/>
              <a:gd name="connsiteX28-2947" fmla="*/ 1654656 w 2803231"/>
              <a:gd name="connsiteY28-2948" fmla="*/ 390292 h 2070316"/>
              <a:gd name="connsiteX29-2949" fmla="*/ 1576597 w 2803231"/>
              <a:gd name="connsiteY29-2950" fmla="*/ 446048 h 2070316"/>
              <a:gd name="connsiteX30-2951" fmla="*/ 1465085 w 2803231"/>
              <a:gd name="connsiteY30-2952" fmla="*/ 434897 h 2070316"/>
              <a:gd name="connsiteX31-2953" fmla="*/ 1230910 w 2803231"/>
              <a:gd name="connsiteY31-2954" fmla="*/ 568712 h 2070316"/>
              <a:gd name="connsiteX32-2955" fmla="*/ 1108246 w 2803231"/>
              <a:gd name="connsiteY32-2956" fmla="*/ 680224 h 2070316"/>
              <a:gd name="connsiteX33-2957" fmla="*/ 639895 w 2803231"/>
              <a:gd name="connsiteY33-2958" fmla="*/ 802887 h 2070316"/>
              <a:gd name="connsiteX34-2959" fmla="*/ 572988 w 2803231"/>
              <a:gd name="connsiteY34-2960" fmla="*/ 858644 h 2070316"/>
              <a:gd name="connsiteX35-2961" fmla="*/ 439173 w 2803231"/>
              <a:gd name="connsiteY35-2962" fmla="*/ 1182029 h 2070316"/>
              <a:gd name="connsiteX36-2963" fmla="*/ 126939 w 2803231"/>
              <a:gd name="connsiteY36-2964" fmla="*/ 1349297 h 2070316"/>
              <a:gd name="connsiteX37-2965" fmla="*/ 104636 w 2803231"/>
              <a:gd name="connsiteY37-2966" fmla="*/ 1494263 h 2070316"/>
              <a:gd name="connsiteX38-2967" fmla="*/ 26578 w 2803231"/>
              <a:gd name="connsiteY38-2968" fmla="*/ 1605775 h 2070316"/>
              <a:gd name="connsiteX39-2969" fmla="*/ 4275 w 2803231"/>
              <a:gd name="connsiteY39-2970" fmla="*/ 1839951 h 2070316"/>
              <a:gd name="connsiteX40-2971" fmla="*/ 0 w 2803231"/>
              <a:gd name="connsiteY40-2972" fmla="*/ 1798862 h 2070316"/>
              <a:gd name="connsiteX41-2973" fmla="*/ 301731 w 2803231"/>
              <a:gd name="connsiteY41-2974" fmla="*/ 1780430 h 2070316"/>
              <a:gd name="connsiteX42-2975" fmla="*/ 234288 w 2803231"/>
              <a:gd name="connsiteY42-2976" fmla="*/ 1848279 h 2070316"/>
              <a:gd name="connsiteX43-2977" fmla="*/ 539544 w 2803231"/>
              <a:gd name="connsiteY43-2978" fmla="*/ 2066440 h 2070316"/>
              <a:gd name="connsiteX44-2979" fmla="*/ 535931 w 2803231"/>
              <a:gd name="connsiteY44-2980" fmla="*/ 1871534 h 2070316"/>
              <a:gd name="connsiteX0-2981" fmla="*/ 587467 w 2803231"/>
              <a:gd name="connsiteY0-2982" fmla="*/ 1851880 h 2077596"/>
              <a:gd name="connsiteX1-2983" fmla="*/ 940656 w 2803231"/>
              <a:gd name="connsiteY1-2984" fmla="*/ 1860945 h 2077596"/>
              <a:gd name="connsiteX2-2985" fmla="*/ 963280 w 2803231"/>
              <a:gd name="connsiteY2-2986" fmla="*/ 1427356 h 2077596"/>
              <a:gd name="connsiteX3-2987" fmla="*/ 2078402 w 2803231"/>
              <a:gd name="connsiteY3-2988" fmla="*/ 1416205 h 2077596"/>
              <a:gd name="connsiteX4-2989" fmla="*/ 2067251 w 2803231"/>
              <a:gd name="connsiteY4-2990" fmla="*/ 568712 h 2077596"/>
              <a:gd name="connsiteX5-2991" fmla="*/ 2223368 w 2803231"/>
              <a:gd name="connsiteY5-2992" fmla="*/ 468351 h 2077596"/>
              <a:gd name="connsiteX6-2993" fmla="*/ 2569056 w 2803231"/>
              <a:gd name="connsiteY6-2994" fmla="*/ 289931 h 2077596"/>
              <a:gd name="connsiteX7-2995" fmla="*/ 2803231 w 2803231"/>
              <a:gd name="connsiteY7-2996" fmla="*/ 301083 h 2077596"/>
              <a:gd name="connsiteX8-2997" fmla="*/ 2803231 w 2803231"/>
              <a:gd name="connsiteY8-2998" fmla="*/ 133814 h 2077596"/>
              <a:gd name="connsiteX9-2999" fmla="*/ 2758627 w 2803231"/>
              <a:gd name="connsiteY9-3000" fmla="*/ 55756 h 2077596"/>
              <a:gd name="connsiteX10-3001" fmla="*/ 2747475 w 2803231"/>
              <a:gd name="connsiteY10-3002" fmla="*/ 22302 h 2077596"/>
              <a:gd name="connsiteX11-3003" fmla="*/ 2691719 w 2803231"/>
              <a:gd name="connsiteY11-3004" fmla="*/ 0 h 2077596"/>
              <a:gd name="connsiteX12-3005" fmla="*/ 2680568 w 2803231"/>
              <a:gd name="connsiteY12-3006" fmla="*/ 44605 h 2077596"/>
              <a:gd name="connsiteX13-3007" fmla="*/ 2557905 w 2803231"/>
              <a:gd name="connsiteY13-3008" fmla="*/ 11151 h 2077596"/>
              <a:gd name="connsiteX14-3009" fmla="*/ 2524451 w 2803231"/>
              <a:gd name="connsiteY14-3010" fmla="*/ 100361 h 2077596"/>
              <a:gd name="connsiteX15-3011" fmla="*/ 2412939 w 2803231"/>
              <a:gd name="connsiteY15-3012" fmla="*/ 66907 h 2077596"/>
              <a:gd name="connsiteX16-3013" fmla="*/ 2368334 w 2803231"/>
              <a:gd name="connsiteY16-3014" fmla="*/ 100361 h 2077596"/>
              <a:gd name="connsiteX17-3015" fmla="*/ 2290275 w 2803231"/>
              <a:gd name="connsiteY17-3016" fmla="*/ 100361 h 2077596"/>
              <a:gd name="connsiteX18-3017" fmla="*/ 2290275 w 2803231"/>
              <a:gd name="connsiteY18-3018" fmla="*/ 100361 h 2077596"/>
              <a:gd name="connsiteX19-3019" fmla="*/ 2212217 w 2803231"/>
              <a:gd name="connsiteY19-3020" fmla="*/ 144966 h 2077596"/>
              <a:gd name="connsiteX20-3021" fmla="*/ 2134158 w 2803231"/>
              <a:gd name="connsiteY20-3022" fmla="*/ 178419 h 2077596"/>
              <a:gd name="connsiteX21-3023" fmla="*/ 2078402 w 2803231"/>
              <a:gd name="connsiteY21-3024" fmla="*/ 178419 h 2077596"/>
              <a:gd name="connsiteX22-3025" fmla="*/ 2078402 w 2803231"/>
              <a:gd name="connsiteY22-3026" fmla="*/ 178419 h 2077596"/>
              <a:gd name="connsiteX23-3027" fmla="*/ 2078402 w 2803231"/>
              <a:gd name="connsiteY23-3028" fmla="*/ 334536 h 2077596"/>
              <a:gd name="connsiteX24-3029" fmla="*/ 1944588 w 2803231"/>
              <a:gd name="connsiteY24-3030" fmla="*/ 312234 h 2077596"/>
              <a:gd name="connsiteX25-3031" fmla="*/ 1855378 w 2803231"/>
              <a:gd name="connsiteY25-3032" fmla="*/ 367990 h 2077596"/>
              <a:gd name="connsiteX26-3033" fmla="*/ 1743866 w 2803231"/>
              <a:gd name="connsiteY26-3034" fmla="*/ 401444 h 2077596"/>
              <a:gd name="connsiteX27-3035" fmla="*/ 1688110 w 2803231"/>
              <a:gd name="connsiteY27-3036" fmla="*/ 356839 h 2077596"/>
              <a:gd name="connsiteX28-3037" fmla="*/ 1654656 w 2803231"/>
              <a:gd name="connsiteY28-3038" fmla="*/ 390292 h 2077596"/>
              <a:gd name="connsiteX29-3039" fmla="*/ 1576597 w 2803231"/>
              <a:gd name="connsiteY29-3040" fmla="*/ 446048 h 2077596"/>
              <a:gd name="connsiteX30-3041" fmla="*/ 1465085 w 2803231"/>
              <a:gd name="connsiteY30-3042" fmla="*/ 434897 h 2077596"/>
              <a:gd name="connsiteX31-3043" fmla="*/ 1230910 w 2803231"/>
              <a:gd name="connsiteY31-3044" fmla="*/ 568712 h 2077596"/>
              <a:gd name="connsiteX32-3045" fmla="*/ 1108246 w 2803231"/>
              <a:gd name="connsiteY32-3046" fmla="*/ 680224 h 2077596"/>
              <a:gd name="connsiteX33-3047" fmla="*/ 639895 w 2803231"/>
              <a:gd name="connsiteY33-3048" fmla="*/ 802887 h 2077596"/>
              <a:gd name="connsiteX34-3049" fmla="*/ 572988 w 2803231"/>
              <a:gd name="connsiteY34-3050" fmla="*/ 858644 h 2077596"/>
              <a:gd name="connsiteX35-3051" fmla="*/ 439173 w 2803231"/>
              <a:gd name="connsiteY35-3052" fmla="*/ 1182029 h 2077596"/>
              <a:gd name="connsiteX36-3053" fmla="*/ 126939 w 2803231"/>
              <a:gd name="connsiteY36-3054" fmla="*/ 1349297 h 2077596"/>
              <a:gd name="connsiteX37-3055" fmla="*/ 104636 w 2803231"/>
              <a:gd name="connsiteY37-3056" fmla="*/ 1494263 h 2077596"/>
              <a:gd name="connsiteX38-3057" fmla="*/ 26578 w 2803231"/>
              <a:gd name="connsiteY38-3058" fmla="*/ 1605775 h 2077596"/>
              <a:gd name="connsiteX39-3059" fmla="*/ 4275 w 2803231"/>
              <a:gd name="connsiteY39-3060" fmla="*/ 1839951 h 2077596"/>
              <a:gd name="connsiteX40-3061" fmla="*/ 0 w 2803231"/>
              <a:gd name="connsiteY40-3062" fmla="*/ 1798862 h 2077596"/>
              <a:gd name="connsiteX41-3063" fmla="*/ 301731 w 2803231"/>
              <a:gd name="connsiteY41-3064" fmla="*/ 1780430 h 2077596"/>
              <a:gd name="connsiteX42-3065" fmla="*/ 234288 w 2803231"/>
              <a:gd name="connsiteY42-3066" fmla="*/ 1848279 h 2077596"/>
              <a:gd name="connsiteX43-3067" fmla="*/ 539544 w 2803231"/>
              <a:gd name="connsiteY43-3068" fmla="*/ 2066440 h 2077596"/>
              <a:gd name="connsiteX44-3069" fmla="*/ 403890 w 2803231"/>
              <a:gd name="connsiteY44-3070" fmla="*/ 1781344 h 2077596"/>
              <a:gd name="connsiteX45-3071" fmla="*/ 535931 w 2803231"/>
              <a:gd name="connsiteY45-3072" fmla="*/ 1871534 h 2077596"/>
              <a:gd name="connsiteX0-3073" fmla="*/ 587467 w 2803231"/>
              <a:gd name="connsiteY0-3074" fmla="*/ 1851880 h 2077596"/>
              <a:gd name="connsiteX1-3075" fmla="*/ 940656 w 2803231"/>
              <a:gd name="connsiteY1-3076" fmla="*/ 1860945 h 2077596"/>
              <a:gd name="connsiteX2-3077" fmla="*/ 963280 w 2803231"/>
              <a:gd name="connsiteY2-3078" fmla="*/ 1427356 h 2077596"/>
              <a:gd name="connsiteX3-3079" fmla="*/ 2078402 w 2803231"/>
              <a:gd name="connsiteY3-3080" fmla="*/ 1416205 h 2077596"/>
              <a:gd name="connsiteX4-3081" fmla="*/ 2067251 w 2803231"/>
              <a:gd name="connsiteY4-3082" fmla="*/ 568712 h 2077596"/>
              <a:gd name="connsiteX5-3083" fmla="*/ 2223368 w 2803231"/>
              <a:gd name="connsiteY5-3084" fmla="*/ 468351 h 2077596"/>
              <a:gd name="connsiteX6-3085" fmla="*/ 2569056 w 2803231"/>
              <a:gd name="connsiteY6-3086" fmla="*/ 289931 h 2077596"/>
              <a:gd name="connsiteX7-3087" fmla="*/ 2803231 w 2803231"/>
              <a:gd name="connsiteY7-3088" fmla="*/ 301083 h 2077596"/>
              <a:gd name="connsiteX8-3089" fmla="*/ 2803231 w 2803231"/>
              <a:gd name="connsiteY8-3090" fmla="*/ 133814 h 2077596"/>
              <a:gd name="connsiteX9-3091" fmla="*/ 2758627 w 2803231"/>
              <a:gd name="connsiteY9-3092" fmla="*/ 55756 h 2077596"/>
              <a:gd name="connsiteX10-3093" fmla="*/ 2747475 w 2803231"/>
              <a:gd name="connsiteY10-3094" fmla="*/ 22302 h 2077596"/>
              <a:gd name="connsiteX11-3095" fmla="*/ 2691719 w 2803231"/>
              <a:gd name="connsiteY11-3096" fmla="*/ 0 h 2077596"/>
              <a:gd name="connsiteX12-3097" fmla="*/ 2680568 w 2803231"/>
              <a:gd name="connsiteY12-3098" fmla="*/ 44605 h 2077596"/>
              <a:gd name="connsiteX13-3099" fmla="*/ 2557905 w 2803231"/>
              <a:gd name="connsiteY13-3100" fmla="*/ 11151 h 2077596"/>
              <a:gd name="connsiteX14-3101" fmla="*/ 2524451 w 2803231"/>
              <a:gd name="connsiteY14-3102" fmla="*/ 100361 h 2077596"/>
              <a:gd name="connsiteX15-3103" fmla="*/ 2412939 w 2803231"/>
              <a:gd name="connsiteY15-3104" fmla="*/ 66907 h 2077596"/>
              <a:gd name="connsiteX16-3105" fmla="*/ 2368334 w 2803231"/>
              <a:gd name="connsiteY16-3106" fmla="*/ 100361 h 2077596"/>
              <a:gd name="connsiteX17-3107" fmla="*/ 2290275 w 2803231"/>
              <a:gd name="connsiteY17-3108" fmla="*/ 100361 h 2077596"/>
              <a:gd name="connsiteX18-3109" fmla="*/ 2290275 w 2803231"/>
              <a:gd name="connsiteY18-3110" fmla="*/ 100361 h 2077596"/>
              <a:gd name="connsiteX19-3111" fmla="*/ 2212217 w 2803231"/>
              <a:gd name="connsiteY19-3112" fmla="*/ 144966 h 2077596"/>
              <a:gd name="connsiteX20-3113" fmla="*/ 2134158 w 2803231"/>
              <a:gd name="connsiteY20-3114" fmla="*/ 178419 h 2077596"/>
              <a:gd name="connsiteX21-3115" fmla="*/ 2078402 w 2803231"/>
              <a:gd name="connsiteY21-3116" fmla="*/ 178419 h 2077596"/>
              <a:gd name="connsiteX22-3117" fmla="*/ 2078402 w 2803231"/>
              <a:gd name="connsiteY22-3118" fmla="*/ 178419 h 2077596"/>
              <a:gd name="connsiteX23-3119" fmla="*/ 2078402 w 2803231"/>
              <a:gd name="connsiteY23-3120" fmla="*/ 334536 h 2077596"/>
              <a:gd name="connsiteX24-3121" fmla="*/ 1944588 w 2803231"/>
              <a:gd name="connsiteY24-3122" fmla="*/ 312234 h 2077596"/>
              <a:gd name="connsiteX25-3123" fmla="*/ 1855378 w 2803231"/>
              <a:gd name="connsiteY25-3124" fmla="*/ 367990 h 2077596"/>
              <a:gd name="connsiteX26-3125" fmla="*/ 1743866 w 2803231"/>
              <a:gd name="connsiteY26-3126" fmla="*/ 401444 h 2077596"/>
              <a:gd name="connsiteX27-3127" fmla="*/ 1688110 w 2803231"/>
              <a:gd name="connsiteY27-3128" fmla="*/ 356839 h 2077596"/>
              <a:gd name="connsiteX28-3129" fmla="*/ 1654656 w 2803231"/>
              <a:gd name="connsiteY28-3130" fmla="*/ 390292 h 2077596"/>
              <a:gd name="connsiteX29-3131" fmla="*/ 1576597 w 2803231"/>
              <a:gd name="connsiteY29-3132" fmla="*/ 446048 h 2077596"/>
              <a:gd name="connsiteX30-3133" fmla="*/ 1465085 w 2803231"/>
              <a:gd name="connsiteY30-3134" fmla="*/ 434897 h 2077596"/>
              <a:gd name="connsiteX31-3135" fmla="*/ 1230910 w 2803231"/>
              <a:gd name="connsiteY31-3136" fmla="*/ 568712 h 2077596"/>
              <a:gd name="connsiteX32-3137" fmla="*/ 1108246 w 2803231"/>
              <a:gd name="connsiteY32-3138" fmla="*/ 680224 h 2077596"/>
              <a:gd name="connsiteX33-3139" fmla="*/ 639895 w 2803231"/>
              <a:gd name="connsiteY33-3140" fmla="*/ 802887 h 2077596"/>
              <a:gd name="connsiteX34-3141" fmla="*/ 572988 w 2803231"/>
              <a:gd name="connsiteY34-3142" fmla="*/ 858644 h 2077596"/>
              <a:gd name="connsiteX35-3143" fmla="*/ 439173 w 2803231"/>
              <a:gd name="connsiteY35-3144" fmla="*/ 1182029 h 2077596"/>
              <a:gd name="connsiteX36-3145" fmla="*/ 126939 w 2803231"/>
              <a:gd name="connsiteY36-3146" fmla="*/ 1349297 h 2077596"/>
              <a:gd name="connsiteX37-3147" fmla="*/ 104636 w 2803231"/>
              <a:gd name="connsiteY37-3148" fmla="*/ 1494263 h 2077596"/>
              <a:gd name="connsiteX38-3149" fmla="*/ 26578 w 2803231"/>
              <a:gd name="connsiteY38-3150" fmla="*/ 1605775 h 2077596"/>
              <a:gd name="connsiteX39-3151" fmla="*/ 4275 w 2803231"/>
              <a:gd name="connsiteY39-3152" fmla="*/ 1839951 h 2077596"/>
              <a:gd name="connsiteX40-3153" fmla="*/ 0 w 2803231"/>
              <a:gd name="connsiteY40-3154" fmla="*/ 1798862 h 2077596"/>
              <a:gd name="connsiteX41-3155" fmla="*/ 301731 w 2803231"/>
              <a:gd name="connsiteY41-3156" fmla="*/ 1780430 h 2077596"/>
              <a:gd name="connsiteX42-3157" fmla="*/ 234288 w 2803231"/>
              <a:gd name="connsiteY42-3158" fmla="*/ 1848279 h 2077596"/>
              <a:gd name="connsiteX43-3159" fmla="*/ 539544 w 2803231"/>
              <a:gd name="connsiteY43-3160" fmla="*/ 2066440 h 2077596"/>
              <a:gd name="connsiteX44-3161" fmla="*/ 403890 w 2803231"/>
              <a:gd name="connsiteY44-3162" fmla="*/ 1781344 h 2077596"/>
              <a:gd name="connsiteX45-3163" fmla="*/ 607271 w 2803231"/>
              <a:gd name="connsiteY45-3164" fmla="*/ 1871225 h 2077596"/>
              <a:gd name="connsiteX0-3165" fmla="*/ 587467 w 2803231"/>
              <a:gd name="connsiteY0-3166" fmla="*/ 1851880 h 2077596"/>
              <a:gd name="connsiteX1-3167" fmla="*/ 940656 w 2803231"/>
              <a:gd name="connsiteY1-3168" fmla="*/ 1860945 h 2077596"/>
              <a:gd name="connsiteX2-3169" fmla="*/ 963280 w 2803231"/>
              <a:gd name="connsiteY2-3170" fmla="*/ 1427356 h 2077596"/>
              <a:gd name="connsiteX3-3171" fmla="*/ 2078402 w 2803231"/>
              <a:gd name="connsiteY3-3172" fmla="*/ 1416205 h 2077596"/>
              <a:gd name="connsiteX4-3173" fmla="*/ 2067251 w 2803231"/>
              <a:gd name="connsiteY4-3174" fmla="*/ 568712 h 2077596"/>
              <a:gd name="connsiteX5-3175" fmla="*/ 2223368 w 2803231"/>
              <a:gd name="connsiteY5-3176" fmla="*/ 468351 h 2077596"/>
              <a:gd name="connsiteX6-3177" fmla="*/ 2569056 w 2803231"/>
              <a:gd name="connsiteY6-3178" fmla="*/ 289931 h 2077596"/>
              <a:gd name="connsiteX7-3179" fmla="*/ 2803231 w 2803231"/>
              <a:gd name="connsiteY7-3180" fmla="*/ 301083 h 2077596"/>
              <a:gd name="connsiteX8-3181" fmla="*/ 2803231 w 2803231"/>
              <a:gd name="connsiteY8-3182" fmla="*/ 133814 h 2077596"/>
              <a:gd name="connsiteX9-3183" fmla="*/ 2758627 w 2803231"/>
              <a:gd name="connsiteY9-3184" fmla="*/ 55756 h 2077596"/>
              <a:gd name="connsiteX10-3185" fmla="*/ 2747475 w 2803231"/>
              <a:gd name="connsiteY10-3186" fmla="*/ 22302 h 2077596"/>
              <a:gd name="connsiteX11-3187" fmla="*/ 2691719 w 2803231"/>
              <a:gd name="connsiteY11-3188" fmla="*/ 0 h 2077596"/>
              <a:gd name="connsiteX12-3189" fmla="*/ 2680568 w 2803231"/>
              <a:gd name="connsiteY12-3190" fmla="*/ 44605 h 2077596"/>
              <a:gd name="connsiteX13-3191" fmla="*/ 2557905 w 2803231"/>
              <a:gd name="connsiteY13-3192" fmla="*/ 11151 h 2077596"/>
              <a:gd name="connsiteX14-3193" fmla="*/ 2524451 w 2803231"/>
              <a:gd name="connsiteY14-3194" fmla="*/ 100361 h 2077596"/>
              <a:gd name="connsiteX15-3195" fmla="*/ 2412939 w 2803231"/>
              <a:gd name="connsiteY15-3196" fmla="*/ 66907 h 2077596"/>
              <a:gd name="connsiteX16-3197" fmla="*/ 2368334 w 2803231"/>
              <a:gd name="connsiteY16-3198" fmla="*/ 100361 h 2077596"/>
              <a:gd name="connsiteX17-3199" fmla="*/ 2290275 w 2803231"/>
              <a:gd name="connsiteY17-3200" fmla="*/ 100361 h 2077596"/>
              <a:gd name="connsiteX18-3201" fmla="*/ 2290275 w 2803231"/>
              <a:gd name="connsiteY18-3202" fmla="*/ 100361 h 2077596"/>
              <a:gd name="connsiteX19-3203" fmla="*/ 2212217 w 2803231"/>
              <a:gd name="connsiteY19-3204" fmla="*/ 144966 h 2077596"/>
              <a:gd name="connsiteX20-3205" fmla="*/ 2134158 w 2803231"/>
              <a:gd name="connsiteY20-3206" fmla="*/ 178419 h 2077596"/>
              <a:gd name="connsiteX21-3207" fmla="*/ 2078402 w 2803231"/>
              <a:gd name="connsiteY21-3208" fmla="*/ 178419 h 2077596"/>
              <a:gd name="connsiteX22-3209" fmla="*/ 2078402 w 2803231"/>
              <a:gd name="connsiteY22-3210" fmla="*/ 178419 h 2077596"/>
              <a:gd name="connsiteX23-3211" fmla="*/ 2078402 w 2803231"/>
              <a:gd name="connsiteY23-3212" fmla="*/ 334536 h 2077596"/>
              <a:gd name="connsiteX24-3213" fmla="*/ 1944588 w 2803231"/>
              <a:gd name="connsiteY24-3214" fmla="*/ 312234 h 2077596"/>
              <a:gd name="connsiteX25-3215" fmla="*/ 1855378 w 2803231"/>
              <a:gd name="connsiteY25-3216" fmla="*/ 367990 h 2077596"/>
              <a:gd name="connsiteX26-3217" fmla="*/ 1743866 w 2803231"/>
              <a:gd name="connsiteY26-3218" fmla="*/ 401444 h 2077596"/>
              <a:gd name="connsiteX27-3219" fmla="*/ 1688110 w 2803231"/>
              <a:gd name="connsiteY27-3220" fmla="*/ 356839 h 2077596"/>
              <a:gd name="connsiteX28-3221" fmla="*/ 1654656 w 2803231"/>
              <a:gd name="connsiteY28-3222" fmla="*/ 390292 h 2077596"/>
              <a:gd name="connsiteX29-3223" fmla="*/ 1576597 w 2803231"/>
              <a:gd name="connsiteY29-3224" fmla="*/ 446048 h 2077596"/>
              <a:gd name="connsiteX30-3225" fmla="*/ 1465085 w 2803231"/>
              <a:gd name="connsiteY30-3226" fmla="*/ 434897 h 2077596"/>
              <a:gd name="connsiteX31-3227" fmla="*/ 1230910 w 2803231"/>
              <a:gd name="connsiteY31-3228" fmla="*/ 568712 h 2077596"/>
              <a:gd name="connsiteX32-3229" fmla="*/ 1108246 w 2803231"/>
              <a:gd name="connsiteY32-3230" fmla="*/ 680224 h 2077596"/>
              <a:gd name="connsiteX33-3231" fmla="*/ 639895 w 2803231"/>
              <a:gd name="connsiteY33-3232" fmla="*/ 802887 h 2077596"/>
              <a:gd name="connsiteX34-3233" fmla="*/ 572988 w 2803231"/>
              <a:gd name="connsiteY34-3234" fmla="*/ 858644 h 2077596"/>
              <a:gd name="connsiteX35-3235" fmla="*/ 439173 w 2803231"/>
              <a:gd name="connsiteY35-3236" fmla="*/ 1182029 h 2077596"/>
              <a:gd name="connsiteX36-3237" fmla="*/ 126939 w 2803231"/>
              <a:gd name="connsiteY36-3238" fmla="*/ 1349297 h 2077596"/>
              <a:gd name="connsiteX37-3239" fmla="*/ 104636 w 2803231"/>
              <a:gd name="connsiteY37-3240" fmla="*/ 1494263 h 2077596"/>
              <a:gd name="connsiteX38-3241" fmla="*/ 26578 w 2803231"/>
              <a:gd name="connsiteY38-3242" fmla="*/ 1605775 h 2077596"/>
              <a:gd name="connsiteX39-3243" fmla="*/ 4275 w 2803231"/>
              <a:gd name="connsiteY39-3244" fmla="*/ 1839951 h 2077596"/>
              <a:gd name="connsiteX40-3245" fmla="*/ 0 w 2803231"/>
              <a:gd name="connsiteY40-3246" fmla="*/ 1798862 h 2077596"/>
              <a:gd name="connsiteX41-3247" fmla="*/ 301731 w 2803231"/>
              <a:gd name="connsiteY41-3248" fmla="*/ 1780430 h 2077596"/>
              <a:gd name="connsiteX42-3249" fmla="*/ 234288 w 2803231"/>
              <a:gd name="connsiteY42-3250" fmla="*/ 1848279 h 2077596"/>
              <a:gd name="connsiteX43-3251" fmla="*/ 539544 w 2803231"/>
              <a:gd name="connsiteY43-3252" fmla="*/ 2066440 h 2077596"/>
              <a:gd name="connsiteX44-3253" fmla="*/ 403890 w 2803231"/>
              <a:gd name="connsiteY44-3254" fmla="*/ 1781344 h 2077596"/>
              <a:gd name="connsiteX45-3255" fmla="*/ 607271 w 2803231"/>
              <a:gd name="connsiteY45-3256" fmla="*/ 1871225 h 2077596"/>
              <a:gd name="connsiteX46-3257" fmla="*/ 587467 w 2803231"/>
              <a:gd name="connsiteY46-3258" fmla="*/ 1851880 h 2077596"/>
              <a:gd name="connsiteX0-3259" fmla="*/ 587467 w 2803231"/>
              <a:gd name="connsiteY0-3260" fmla="*/ 1851880 h 1931750"/>
              <a:gd name="connsiteX1-3261" fmla="*/ 940656 w 2803231"/>
              <a:gd name="connsiteY1-3262" fmla="*/ 1860945 h 1931750"/>
              <a:gd name="connsiteX2-3263" fmla="*/ 963280 w 2803231"/>
              <a:gd name="connsiteY2-3264" fmla="*/ 1427356 h 1931750"/>
              <a:gd name="connsiteX3-3265" fmla="*/ 2078402 w 2803231"/>
              <a:gd name="connsiteY3-3266" fmla="*/ 1416205 h 1931750"/>
              <a:gd name="connsiteX4-3267" fmla="*/ 2067251 w 2803231"/>
              <a:gd name="connsiteY4-3268" fmla="*/ 568712 h 1931750"/>
              <a:gd name="connsiteX5-3269" fmla="*/ 2223368 w 2803231"/>
              <a:gd name="connsiteY5-3270" fmla="*/ 468351 h 1931750"/>
              <a:gd name="connsiteX6-3271" fmla="*/ 2569056 w 2803231"/>
              <a:gd name="connsiteY6-3272" fmla="*/ 289931 h 1931750"/>
              <a:gd name="connsiteX7-3273" fmla="*/ 2803231 w 2803231"/>
              <a:gd name="connsiteY7-3274" fmla="*/ 301083 h 1931750"/>
              <a:gd name="connsiteX8-3275" fmla="*/ 2803231 w 2803231"/>
              <a:gd name="connsiteY8-3276" fmla="*/ 133814 h 1931750"/>
              <a:gd name="connsiteX9-3277" fmla="*/ 2758627 w 2803231"/>
              <a:gd name="connsiteY9-3278" fmla="*/ 55756 h 1931750"/>
              <a:gd name="connsiteX10-3279" fmla="*/ 2747475 w 2803231"/>
              <a:gd name="connsiteY10-3280" fmla="*/ 22302 h 1931750"/>
              <a:gd name="connsiteX11-3281" fmla="*/ 2691719 w 2803231"/>
              <a:gd name="connsiteY11-3282" fmla="*/ 0 h 1931750"/>
              <a:gd name="connsiteX12-3283" fmla="*/ 2680568 w 2803231"/>
              <a:gd name="connsiteY12-3284" fmla="*/ 44605 h 1931750"/>
              <a:gd name="connsiteX13-3285" fmla="*/ 2557905 w 2803231"/>
              <a:gd name="connsiteY13-3286" fmla="*/ 11151 h 1931750"/>
              <a:gd name="connsiteX14-3287" fmla="*/ 2524451 w 2803231"/>
              <a:gd name="connsiteY14-3288" fmla="*/ 100361 h 1931750"/>
              <a:gd name="connsiteX15-3289" fmla="*/ 2412939 w 2803231"/>
              <a:gd name="connsiteY15-3290" fmla="*/ 66907 h 1931750"/>
              <a:gd name="connsiteX16-3291" fmla="*/ 2368334 w 2803231"/>
              <a:gd name="connsiteY16-3292" fmla="*/ 100361 h 1931750"/>
              <a:gd name="connsiteX17-3293" fmla="*/ 2290275 w 2803231"/>
              <a:gd name="connsiteY17-3294" fmla="*/ 100361 h 1931750"/>
              <a:gd name="connsiteX18-3295" fmla="*/ 2290275 w 2803231"/>
              <a:gd name="connsiteY18-3296" fmla="*/ 100361 h 1931750"/>
              <a:gd name="connsiteX19-3297" fmla="*/ 2212217 w 2803231"/>
              <a:gd name="connsiteY19-3298" fmla="*/ 144966 h 1931750"/>
              <a:gd name="connsiteX20-3299" fmla="*/ 2134158 w 2803231"/>
              <a:gd name="connsiteY20-3300" fmla="*/ 178419 h 1931750"/>
              <a:gd name="connsiteX21-3301" fmla="*/ 2078402 w 2803231"/>
              <a:gd name="connsiteY21-3302" fmla="*/ 178419 h 1931750"/>
              <a:gd name="connsiteX22-3303" fmla="*/ 2078402 w 2803231"/>
              <a:gd name="connsiteY22-3304" fmla="*/ 178419 h 1931750"/>
              <a:gd name="connsiteX23-3305" fmla="*/ 2078402 w 2803231"/>
              <a:gd name="connsiteY23-3306" fmla="*/ 334536 h 1931750"/>
              <a:gd name="connsiteX24-3307" fmla="*/ 1944588 w 2803231"/>
              <a:gd name="connsiteY24-3308" fmla="*/ 312234 h 1931750"/>
              <a:gd name="connsiteX25-3309" fmla="*/ 1855378 w 2803231"/>
              <a:gd name="connsiteY25-3310" fmla="*/ 367990 h 1931750"/>
              <a:gd name="connsiteX26-3311" fmla="*/ 1743866 w 2803231"/>
              <a:gd name="connsiteY26-3312" fmla="*/ 401444 h 1931750"/>
              <a:gd name="connsiteX27-3313" fmla="*/ 1688110 w 2803231"/>
              <a:gd name="connsiteY27-3314" fmla="*/ 356839 h 1931750"/>
              <a:gd name="connsiteX28-3315" fmla="*/ 1654656 w 2803231"/>
              <a:gd name="connsiteY28-3316" fmla="*/ 390292 h 1931750"/>
              <a:gd name="connsiteX29-3317" fmla="*/ 1576597 w 2803231"/>
              <a:gd name="connsiteY29-3318" fmla="*/ 446048 h 1931750"/>
              <a:gd name="connsiteX30-3319" fmla="*/ 1465085 w 2803231"/>
              <a:gd name="connsiteY30-3320" fmla="*/ 434897 h 1931750"/>
              <a:gd name="connsiteX31-3321" fmla="*/ 1230910 w 2803231"/>
              <a:gd name="connsiteY31-3322" fmla="*/ 568712 h 1931750"/>
              <a:gd name="connsiteX32-3323" fmla="*/ 1108246 w 2803231"/>
              <a:gd name="connsiteY32-3324" fmla="*/ 680224 h 1931750"/>
              <a:gd name="connsiteX33-3325" fmla="*/ 639895 w 2803231"/>
              <a:gd name="connsiteY33-3326" fmla="*/ 802887 h 1931750"/>
              <a:gd name="connsiteX34-3327" fmla="*/ 572988 w 2803231"/>
              <a:gd name="connsiteY34-3328" fmla="*/ 858644 h 1931750"/>
              <a:gd name="connsiteX35-3329" fmla="*/ 439173 w 2803231"/>
              <a:gd name="connsiteY35-3330" fmla="*/ 1182029 h 1931750"/>
              <a:gd name="connsiteX36-3331" fmla="*/ 126939 w 2803231"/>
              <a:gd name="connsiteY36-3332" fmla="*/ 1349297 h 1931750"/>
              <a:gd name="connsiteX37-3333" fmla="*/ 104636 w 2803231"/>
              <a:gd name="connsiteY37-3334" fmla="*/ 1494263 h 1931750"/>
              <a:gd name="connsiteX38-3335" fmla="*/ 26578 w 2803231"/>
              <a:gd name="connsiteY38-3336" fmla="*/ 1605775 h 1931750"/>
              <a:gd name="connsiteX39-3337" fmla="*/ 4275 w 2803231"/>
              <a:gd name="connsiteY39-3338" fmla="*/ 1839951 h 1931750"/>
              <a:gd name="connsiteX40-3339" fmla="*/ 0 w 2803231"/>
              <a:gd name="connsiteY40-3340" fmla="*/ 1798862 h 1931750"/>
              <a:gd name="connsiteX41-3341" fmla="*/ 301731 w 2803231"/>
              <a:gd name="connsiteY41-3342" fmla="*/ 1780430 h 1931750"/>
              <a:gd name="connsiteX42-3343" fmla="*/ 234288 w 2803231"/>
              <a:gd name="connsiteY42-3344" fmla="*/ 1848279 h 1931750"/>
              <a:gd name="connsiteX43-3345" fmla="*/ 396593 w 2803231"/>
              <a:gd name="connsiteY43-3346" fmla="*/ 1780370 h 1931750"/>
              <a:gd name="connsiteX44-3347" fmla="*/ 403890 w 2803231"/>
              <a:gd name="connsiteY44-3348" fmla="*/ 1781344 h 1931750"/>
              <a:gd name="connsiteX45-3349" fmla="*/ 607271 w 2803231"/>
              <a:gd name="connsiteY45-3350" fmla="*/ 1871225 h 1931750"/>
              <a:gd name="connsiteX46-3351" fmla="*/ 587467 w 2803231"/>
              <a:gd name="connsiteY46-3352" fmla="*/ 1851880 h 1931750"/>
              <a:gd name="connsiteX0-3353" fmla="*/ 587467 w 2803231"/>
              <a:gd name="connsiteY0-3354" fmla="*/ 1851880 h 1931750"/>
              <a:gd name="connsiteX1-3355" fmla="*/ 940656 w 2803231"/>
              <a:gd name="connsiteY1-3356" fmla="*/ 1860945 h 1931750"/>
              <a:gd name="connsiteX2-3357" fmla="*/ 963280 w 2803231"/>
              <a:gd name="connsiteY2-3358" fmla="*/ 1427356 h 1931750"/>
              <a:gd name="connsiteX3-3359" fmla="*/ 2078402 w 2803231"/>
              <a:gd name="connsiteY3-3360" fmla="*/ 1416205 h 1931750"/>
              <a:gd name="connsiteX4-3361" fmla="*/ 2067251 w 2803231"/>
              <a:gd name="connsiteY4-3362" fmla="*/ 568712 h 1931750"/>
              <a:gd name="connsiteX5-3363" fmla="*/ 2223368 w 2803231"/>
              <a:gd name="connsiteY5-3364" fmla="*/ 468351 h 1931750"/>
              <a:gd name="connsiteX6-3365" fmla="*/ 2569056 w 2803231"/>
              <a:gd name="connsiteY6-3366" fmla="*/ 289931 h 1931750"/>
              <a:gd name="connsiteX7-3367" fmla="*/ 2803231 w 2803231"/>
              <a:gd name="connsiteY7-3368" fmla="*/ 301083 h 1931750"/>
              <a:gd name="connsiteX8-3369" fmla="*/ 2803231 w 2803231"/>
              <a:gd name="connsiteY8-3370" fmla="*/ 133814 h 1931750"/>
              <a:gd name="connsiteX9-3371" fmla="*/ 2758627 w 2803231"/>
              <a:gd name="connsiteY9-3372" fmla="*/ 55756 h 1931750"/>
              <a:gd name="connsiteX10-3373" fmla="*/ 2747475 w 2803231"/>
              <a:gd name="connsiteY10-3374" fmla="*/ 22302 h 1931750"/>
              <a:gd name="connsiteX11-3375" fmla="*/ 2691719 w 2803231"/>
              <a:gd name="connsiteY11-3376" fmla="*/ 0 h 1931750"/>
              <a:gd name="connsiteX12-3377" fmla="*/ 2680568 w 2803231"/>
              <a:gd name="connsiteY12-3378" fmla="*/ 44605 h 1931750"/>
              <a:gd name="connsiteX13-3379" fmla="*/ 2557905 w 2803231"/>
              <a:gd name="connsiteY13-3380" fmla="*/ 11151 h 1931750"/>
              <a:gd name="connsiteX14-3381" fmla="*/ 2524451 w 2803231"/>
              <a:gd name="connsiteY14-3382" fmla="*/ 100361 h 1931750"/>
              <a:gd name="connsiteX15-3383" fmla="*/ 2412939 w 2803231"/>
              <a:gd name="connsiteY15-3384" fmla="*/ 66907 h 1931750"/>
              <a:gd name="connsiteX16-3385" fmla="*/ 2368334 w 2803231"/>
              <a:gd name="connsiteY16-3386" fmla="*/ 100361 h 1931750"/>
              <a:gd name="connsiteX17-3387" fmla="*/ 2290275 w 2803231"/>
              <a:gd name="connsiteY17-3388" fmla="*/ 100361 h 1931750"/>
              <a:gd name="connsiteX18-3389" fmla="*/ 2290275 w 2803231"/>
              <a:gd name="connsiteY18-3390" fmla="*/ 100361 h 1931750"/>
              <a:gd name="connsiteX19-3391" fmla="*/ 2212217 w 2803231"/>
              <a:gd name="connsiteY19-3392" fmla="*/ 144966 h 1931750"/>
              <a:gd name="connsiteX20-3393" fmla="*/ 2134158 w 2803231"/>
              <a:gd name="connsiteY20-3394" fmla="*/ 178419 h 1931750"/>
              <a:gd name="connsiteX21-3395" fmla="*/ 2078402 w 2803231"/>
              <a:gd name="connsiteY21-3396" fmla="*/ 178419 h 1931750"/>
              <a:gd name="connsiteX22-3397" fmla="*/ 2078402 w 2803231"/>
              <a:gd name="connsiteY22-3398" fmla="*/ 178419 h 1931750"/>
              <a:gd name="connsiteX23-3399" fmla="*/ 2078402 w 2803231"/>
              <a:gd name="connsiteY23-3400" fmla="*/ 334536 h 1931750"/>
              <a:gd name="connsiteX24-3401" fmla="*/ 1944588 w 2803231"/>
              <a:gd name="connsiteY24-3402" fmla="*/ 312234 h 1931750"/>
              <a:gd name="connsiteX25-3403" fmla="*/ 1855378 w 2803231"/>
              <a:gd name="connsiteY25-3404" fmla="*/ 367990 h 1931750"/>
              <a:gd name="connsiteX26-3405" fmla="*/ 1743866 w 2803231"/>
              <a:gd name="connsiteY26-3406" fmla="*/ 401444 h 1931750"/>
              <a:gd name="connsiteX27-3407" fmla="*/ 1688110 w 2803231"/>
              <a:gd name="connsiteY27-3408" fmla="*/ 356839 h 1931750"/>
              <a:gd name="connsiteX28-3409" fmla="*/ 1654656 w 2803231"/>
              <a:gd name="connsiteY28-3410" fmla="*/ 390292 h 1931750"/>
              <a:gd name="connsiteX29-3411" fmla="*/ 1576597 w 2803231"/>
              <a:gd name="connsiteY29-3412" fmla="*/ 446048 h 1931750"/>
              <a:gd name="connsiteX30-3413" fmla="*/ 1465085 w 2803231"/>
              <a:gd name="connsiteY30-3414" fmla="*/ 434897 h 1931750"/>
              <a:gd name="connsiteX31-3415" fmla="*/ 1230910 w 2803231"/>
              <a:gd name="connsiteY31-3416" fmla="*/ 568712 h 1931750"/>
              <a:gd name="connsiteX32-3417" fmla="*/ 1108246 w 2803231"/>
              <a:gd name="connsiteY32-3418" fmla="*/ 680224 h 1931750"/>
              <a:gd name="connsiteX33-3419" fmla="*/ 639895 w 2803231"/>
              <a:gd name="connsiteY33-3420" fmla="*/ 802887 h 1931750"/>
              <a:gd name="connsiteX34-3421" fmla="*/ 572988 w 2803231"/>
              <a:gd name="connsiteY34-3422" fmla="*/ 858644 h 1931750"/>
              <a:gd name="connsiteX35-3423" fmla="*/ 439173 w 2803231"/>
              <a:gd name="connsiteY35-3424" fmla="*/ 1182029 h 1931750"/>
              <a:gd name="connsiteX36-3425" fmla="*/ 126939 w 2803231"/>
              <a:gd name="connsiteY36-3426" fmla="*/ 1349297 h 1931750"/>
              <a:gd name="connsiteX37-3427" fmla="*/ 104636 w 2803231"/>
              <a:gd name="connsiteY37-3428" fmla="*/ 1494263 h 1931750"/>
              <a:gd name="connsiteX38-3429" fmla="*/ 26578 w 2803231"/>
              <a:gd name="connsiteY38-3430" fmla="*/ 1605775 h 1931750"/>
              <a:gd name="connsiteX39-3431" fmla="*/ 4275 w 2803231"/>
              <a:gd name="connsiteY39-3432" fmla="*/ 1839951 h 1931750"/>
              <a:gd name="connsiteX40-3433" fmla="*/ 0 w 2803231"/>
              <a:gd name="connsiteY40-3434" fmla="*/ 1798862 h 1931750"/>
              <a:gd name="connsiteX41-3435" fmla="*/ 15945 w 2803231"/>
              <a:gd name="connsiteY41-3436" fmla="*/ 1851538 h 1931750"/>
              <a:gd name="connsiteX42-3437" fmla="*/ 234288 w 2803231"/>
              <a:gd name="connsiteY42-3438" fmla="*/ 1848279 h 1931750"/>
              <a:gd name="connsiteX43-3439" fmla="*/ 396593 w 2803231"/>
              <a:gd name="connsiteY43-3440" fmla="*/ 1780370 h 1931750"/>
              <a:gd name="connsiteX44-3441" fmla="*/ 403890 w 2803231"/>
              <a:gd name="connsiteY44-3442" fmla="*/ 1781344 h 1931750"/>
              <a:gd name="connsiteX45-3443" fmla="*/ 607271 w 2803231"/>
              <a:gd name="connsiteY45-3444" fmla="*/ 1871225 h 1931750"/>
              <a:gd name="connsiteX46-3445" fmla="*/ 587467 w 2803231"/>
              <a:gd name="connsiteY46-3446" fmla="*/ 1851880 h 1931750"/>
              <a:gd name="connsiteX0-3447" fmla="*/ 587467 w 2803231"/>
              <a:gd name="connsiteY0-3448" fmla="*/ 1851880 h 1931750"/>
              <a:gd name="connsiteX1-3449" fmla="*/ 940656 w 2803231"/>
              <a:gd name="connsiteY1-3450" fmla="*/ 1860945 h 1931750"/>
              <a:gd name="connsiteX2-3451" fmla="*/ 963280 w 2803231"/>
              <a:gd name="connsiteY2-3452" fmla="*/ 1427356 h 1931750"/>
              <a:gd name="connsiteX3-3453" fmla="*/ 2078402 w 2803231"/>
              <a:gd name="connsiteY3-3454" fmla="*/ 1416205 h 1931750"/>
              <a:gd name="connsiteX4-3455" fmla="*/ 2067251 w 2803231"/>
              <a:gd name="connsiteY4-3456" fmla="*/ 568712 h 1931750"/>
              <a:gd name="connsiteX5-3457" fmla="*/ 2223368 w 2803231"/>
              <a:gd name="connsiteY5-3458" fmla="*/ 468351 h 1931750"/>
              <a:gd name="connsiteX6-3459" fmla="*/ 2569056 w 2803231"/>
              <a:gd name="connsiteY6-3460" fmla="*/ 289931 h 1931750"/>
              <a:gd name="connsiteX7-3461" fmla="*/ 2803231 w 2803231"/>
              <a:gd name="connsiteY7-3462" fmla="*/ 301083 h 1931750"/>
              <a:gd name="connsiteX8-3463" fmla="*/ 2803231 w 2803231"/>
              <a:gd name="connsiteY8-3464" fmla="*/ 133814 h 1931750"/>
              <a:gd name="connsiteX9-3465" fmla="*/ 2758627 w 2803231"/>
              <a:gd name="connsiteY9-3466" fmla="*/ 55756 h 1931750"/>
              <a:gd name="connsiteX10-3467" fmla="*/ 2747475 w 2803231"/>
              <a:gd name="connsiteY10-3468" fmla="*/ 22302 h 1931750"/>
              <a:gd name="connsiteX11-3469" fmla="*/ 2691719 w 2803231"/>
              <a:gd name="connsiteY11-3470" fmla="*/ 0 h 1931750"/>
              <a:gd name="connsiteX12-3471" fmla="*/ 2680568 w 2803231"/>
              <a:gd name="connsiteY12-3472" fmla="*/ 44605 h 1931750"/>
              <a:gd name="connsiteX13-3473" fmla="*/ 2557905 w 2803231"/>
              <a:gd name="connsiteY13-3474" fmla="*/ 11151 h 1931750"/>
              <a:gd name="connsiteX14-3475" fmla="*/ 2524451 w 2803231"/>
              <a:gd name="connsiteY14-3476" fmla="*/ 100361 h 1931750"/>
              <a:gd name="connsiteX15-3477" fmla="*/ 2412939 w 2803231"/>
              <a:gd name="connsiteY15-3478" fmla="*/ 66907 h 1931750"/>
              <a:gd name="connsiteX16-3479" fmla="*/ 2368334 w 2803231"/>
              <a:gd name="connsiteY16-3480" fmla="*/ 100361 h 1931750"/>
              <a:gd name="connsiteX17-3481" fmla="*/ 2290275 w 2803231"/>
              <a:gd name="connsiteY17-3482" fmla="*/ 100361 h 1931750"/>
              <a:gd name="connsiteX18-3483" fmla="*/ 2290275 w 2803231"/>
              <a:gd name="connsiteY18-3484" fmla="*/ 100361 h 1931750"/>
              <a:gd name="connsiteX19-3485" fmla="*/ 2212217 w 2803231"/>
              <a:gd name="connsiteY19-3486" fmla="*/ 144966 h 1931750"/>
              <a:gd name="connsiteX20-3487" fmla="*/ 2134158 w 2803231"/>
              <a:gd name="connsiteY20-3488" fmla="*/ 178419 h 1931750"/>
              <a:gd name="connsiteX21-3489" fmla="*/ 2078402 w 2803231"/>
              <a:gd name="connsiteY21-3490" fmla="*/ 178419 h 1931750"/>
              <a:gd name="connsiteX22-3491" fmla="*/ 2078402 w 2803231"/>
              <a:gd name="connsiteY22-3492" fmla="*/ 178419 h 1931750"/>
              <a:gd name="connsiteX23-3493" fmla="*/ 2078402 w 2803231"/>
              <a:gd name="connsiteY23-3494" fmla="*/ 334536 h 1931750"/>
              <a:gd name="connsiteX24-3495" fmla="*/ 1944588 w 2803231"/>
              <a:gd name="connsiteY24-3496" fmla="*/ 312234 h 1931750"/>
              <a:gd name="connsiteX25-3497" fmla="*/ 1855378 w 2803231"/>
              <a:gd name="connsiteY25-3498" fmla="*/ 367990 h 1931750"/>
              <a:gd name="connsiteX26-3499" fmla="*/ 1743866 w 2803231"/>
              <a:gd name="connsiteY26-3500" fmla="*/ 401444 h 1931750"/>
              <a:gd name="connsiteX27-3501" fmla="*/ 1688110 w 2803231"/>
              <a:gd name="connsiteY27-3502" fmla="*/ 356839 h 1931750"/>
              <a:gd name="connsiteX28-3503" fmla="*/ 1654656 w 2803231"/>
              <a:gd name="connsiteY28-3504" fmla="*/ 390292 h 1931750"/>
              <a:gd name="connsiteX29-3505" fmla="*/ 1576597 w 2803231"/>
              <a:gd name="connsiteY29-3506" fmla="*/ 446048 h 1931750"/>
              <a:gd name="connsiteX30-3507" fmla="*/ 1465085 w 2803231"/>
              <a:gd name="connsiteY30-3508" fmla="*/ 434897 h 1931750"/>
              <a:gd name="connsiteX31-3509" fmla="*/ 1230910 w 2803231"/>
              <a:gd name="connsiteY31-3510" fmla="*/ 568712 h 1931750"/>
              <a:gd name="connsiteX32-3511" fmla="*/ 1108246 w 2803231"/>
              <a:gd name="connsiteY32-3512" fmla="*/ 680224 h 1931750"/>
              <a:gd name="connsiteX33-3513" fmla="*/ 639895 w 2803231"/>
              <a:gd name="connsiteY33-3514" fmla="*/ 802887 h 1931750"/>
              <a:gd name="connsiteX34-3515" fmla="*/ 572988 w 2803231"/>
              <a:gd name="connsiteY34-3516" fmla="*/ 858644 h 1931750"/>
              <a:gd name="connsiteX35-3517" fmla="*/ 439173 w 2803231"/>
              <a:gd name="connsiteY35-3518" fmla="*/ 1182029 h 1931750"/>
              <a:gd name="connsiteX36-3519" fmla="*/ 126939 w 2803231"/>
              <a:gd name="connsiteY36-3520" fmla="*/ 1349297 h 1931750"/>
              <a:gd name="connsiteX37-3521" fmla="*/ 104636 w 2803231"/>
              <a:gd name="connsiteY37-3522" fmla="*/ 1494263 h 1931750"/>
              <a:gd name="connsiteX38-3523" fmla="*/ 26578 w 2803231"/>
              <a:gd name="connsiteY38-3524" fmla="*/ 1605775 h 1931750"/>
              <a:gd name="connsiteX39-3525" fmla="*/ 4275 w 2803231"/>
              <a:gd name="connsiteY39-3526" fmla="*/ 1839951 h 1931750"/>
              <a:gd name="connsiteX40-3527" fmla="*/ 0 w 2803231"/>
              <a:gd name="connsiteY40-3528" fmla="*/ 1798862 h 1931750"/>
              <a:gd name="connsiteX41-3529" fmla="*/ 15945 w 2803231"/>
              <a:gd name="connsiteY41-3530" fmla="*/ 1851538 h 1931750"/>
              <a:gd name="connsiteX42-3531" fmla="*/ 234288 w 2803231"/>
              <a:gd name="connsiteY42-3532" fmla="*/ 1848279 h 1931750"/>
              <a:gd name="connsiteX43-3533" fmla="*/ 396593 w 2803231"/>
              <a:gd name="connsiteY43-3534" fmla="*/ 1780370 h 1931750"/>
              <a:gd name="connsiteX44-3535" fmla="*/ 403846 w 2803231"/>
              <a:gd name="connsiteY44-3536" fmla="*/ 1852452 h 1931750"/>
              <a:gd name="connsiteX45-3537" fmla="*/ 607271 w 2803231"/>
              <a:gd name="connsiteY45-3538" fmla="*/ 1871225 h 1931750"/>
              <a:gd name="connsiteX46-3539" fmla="*/ 587467 w 2803231"/>
              <a:gd name="connsiteY46-3540" fmla="*/ 1851880 h 1931750"/>
              <a:gd name="connsiteX0-3541" fmla="*/ 587467 w 2803231"/>
              <a:gd name="connsiteY0-3542" fmla="*/ 1851880 h 1931750"/>
              <a:gd name="connsiteX1-3543" fmla="*/ 940656 w 2803231"/>
              <a:gd name="connsiteY1-3544" fmla="*/ 1860945 h 1931750"/>
              <a:gd name="connsiteX2-3545" fmla="*/ 963280 w 2803231"/>
              <a:gd name="connsiteY2-3546" fmla="*/ 1427356 h 1931750"/>
              <a:gd name="connsiteX3-3547" fmla="*/ 2078402 w 2803231"/>
              <a:gd name="connsiteY3-3548" fmla="*/ 1416205 h 1931750"/>
              <a:gd name="connsiteX4-3549" fmla="*/ 2067251 w 2803231"/>
              <a:gd name="connsiteY4-3550" fmla="*/ 568712 h 1931750"/>
              <a:gd name="connsiteX5-3551" fmla="*/ 2223368 w 2803231"/>
              <a:gd name="connsiteY5-3552" fmla="*/ 468351 h 1931750"/>
              <a:gd name="connsiteX6-3553" fmla="*/ 2569056 w 2803231"/>
              <a:gd name="connsiteY6-3554" fmla="*/ 289931 h 1931750"/>
              <a:gd name="connsiteX7-3555" fmla="*/ 2803231 w 2803231"/>
              <a:gd name="connsiteY7-3556" fmla="*/ 301083 h 1931750"/>
              <a:gd name="connsiteX8-3557" fmla="*/ 2803231 w 2803231"/>
              <a:gd name="connsiteY8-3558" fmla="*/ 133814 h 1931750"/>
              <a:gd name="connsiteX9-3559" fmla="*/ 2758627 w 2803231"/>
              <a:gd name="connsiteY9-3560" fmla="*/ 55756 h 1931750"/>
              <a:gd name="connsiteX10-3561" fmla="*/ 2747475 w 2803231"/>
              <a:gd name="connsiteY10-3562" fmla="*/ 22302 h 1931750"/>
              <a:gd name="connsiteX11-3563" fmla="*/ 2691719 w 2803231"/>
              <a:gd name="connsiteY11-3564" fmla="*/ 0 h 1931750"/>
              <a:gd name="connsiteX12-3565" fmla="*/ 2680568 w 2803231"/>
              <a:gd name="connsiteY12-3566" fmla="*/ 44605 h 1931750"/>
              <a:gd name="connsiteX13-3567" fmla="*/ 2557905 w 2803231"/>
              <a:gd name="connsiteY13-3568" fmla="*/ 11151 h 1931750"/>
              <a:gd name="connsiteX14-3569" fmla="*/ 2524451 w 2803231"/>
              <a:gd name="connsiteY14-3570" fmla="*/ 100361 h 1931750"/>
              <a:gd name="connsiteX15-3571" fmla="*/ 2412939 w 2803231"/>
              <a:gd name="connsiteY15-3572" fmla="*/ 66907 h 1931750"/>
              <a:gd name="connsiteX16-3573" fmla="*/ 2368334 w 2803231"/>
              <a:gd name="connsiteY16-3574" fmla="*/ 100361 h 1931750"/>
              <a:gd name="connsiteX17-3575" fmla="*/ 2290275 w 2803231"/>
              <a:gd name="connsiteY17-3576" fmla="*/ 100361 h 1931750"/>
              <a:gd name="connsiteX18-3577" fmla="*/ 2290275 w 2803231"/>
              <a:gd name="connsiteY18-3578" fmla="*/ 100361 h 1931750"/>
              <a:gd name="connsiteX19-3579" fmla="*/ 2212217 w 2803231"/>
              <a:gd name="connsiteY19-3580" fmla="*/ 144966 h 1931750"/>
              <a:gd name="connsiteX20-3581" fmla="*/ 2134158 w 2803231"/>
              <a:gd name="connsiteY20-3582" fmla="*/ 178419 h 1931750"/>
              <a:gd name="connsiteX21-3583" fmla="*/ 2078402 w 2803231"/>
              <a:gd name="connsiteY21-3584" fmla="*/ 178419 h 1931750"/>
              <a:gd name="connsiteX22-3585" fmla="*/ 2078402 w 2803231"/>
              <a:gd name="connsiteY22-3586" fmla="*/ 178419 h 1931750"/>
              <a:gd name="connsiteX23-3587" fmla="*/ 2078402 w 2803231"/>
              <a:gd name="connsiteY23-3588" fmla="*/ 334536 h 1931750"/>
              <a:gd name="connsiteX24-3589" fmla="*/ 1944588 w 2803231"/>
              <a:gd name="connsiteY24-3590" fmla="*/ 312234 h 1931750"/>
              <a:gd name="connsiteX25-3591" fmla="*/ 1855378 w 2803231"/>
              <a:gd name="connsiteY25-3592" fmla="*/ 367990 h 1931750"/>
              <a:gd name="connsiteX26-3593" fmla="*/ 1743866 w 2803231"/>
              <a:gd name="connsiteY26-3594" fmla="*/ 401444 h 1931750"/>
              <a:gd name="connsiteX27-3595" fmla="*/ 1688110 w 2803231"/>
              <a:gd name="connsiteY27-3596" fmla="*/ 356839 h 1931750"/>
              <a:gd name="connsiteX28-3597" fmla="*/ 1654656 w 2803231"/>
              <a:gd name="connsiteY28-3598" fmla="*/ 390292 h 1931750"/>
              <a:gd name="connsiteX29-3599" fmla="*/ 1576597 w 2803231"/>
              <a:gd name="connsiteY29-3600" fmla="*/ 446048 h 1931750"/>
              <a:gd name="connsiteX30-3601" fmla="*/ 1465085 w 2803231"/>
              <a:gd name="connsiteY30-3602" fmla="*/ 434897 h 1931750"/>
              <a:gd name="connsiteX31-3603" fmla="*/ 1230910 w 2803231"/>
              <a:gd name="connsiteY31-3604" fmla="*/ 568712 h 1931750"/>
              <a:gd name="connsiteX32-3605" fmla="*/ 1108246 w 2803231"/>
              <a:gd name="connsiteY32-3606" fmla="*/ 680224 h 1931750"/>
              <a:gd name="connsiteX33-3607" fmla="*/ 639895 w 2803231"/>
              <a:gd name="connsiteY33-3608" fmla="*/ 802887 h 1931750"/>
              <a:gd name="connsiteX34-3609" fmla="*/ 572988 w 2803231"/>
              <a:gd name="connsiteY34-3610" fmla="*/ 858644 h 1931750"/>
              <a:gd name="connsiteX35-3611" fmla="*/ 439173 w 2803231"/>
              <a:gd name="connsiteY35-3612" fmla="*/ 1182029 h 1931750"/>
              <a:gd name="connsiteX36-3613" fmla="*/ 126939 w 2803231"/>
              <a:gd name="connsiteY36-3614" fmla="*/ 1349297 h 1931750"/>
              <a:gd name="connsiteX37-3615" fmla="*/ 104636 w 2803231"/>
              <a:gd name="connsiteY37-3616" fmla="*/ 1494263 h 1931750"/>
              <a:gd name="connsiteX38-3617" fmla="*/ 26578 w 2803231"/>
              <a:gd name="connsiteY38-3618" fmla="*/ 1605775 h 1931750"/>
              <a:gd name="connsiteX39-3619" fmla="*/ 4275 w 2803231"/>
              <a:gd name="connsiteY39-3620" fmla="*/ 1839951 h 1931750"/>
              <a:gd name="connsiteX40-3621" fmla="*/ 0 w 2803231"/>
              <a:gd name="connsiteY40-3622" fmla="*/ 1798862 h 1931750"/>
              <a:gd name="connsiteX41-3623" fmla="*/ 15945 w 2803231"/>
              <a:gd name="connsiteY41-3624" fmla="*/ 1851538 h 1931750"/>
              <a:gd name="connsiteX42-3625" fmla="*/ 234288 w 2803231"/>
              <a:gd name="connsiteY42-3626" fmla="*/ 1848279 h 1931750"/>
              <a:gd name="connsiteX43-3627" fmla="*/ 325088 w 2803231"/>
              <a:gd name="connsiteY43-3628" fmla="*/ 1851478 h 1931750"/>
              <a:gd name="connsiteX44-3629" fmla="*/ 403846 w 2803231"/>
              <a:gd name="connsiteY44-3630" fmla="*/ 1852452 h 1931750"/>
              <a:gd name="connsiteX45-3631" fmla="*/ 607271 w 2803231"/>
              <a:gd name="connsiteY45-3632" fmla="*/ 1871225 h 1931750"/>
              <a:gd name="connsiteX46-3633" fmla="*/ 587467 w 2803231"/>
              <a:gd name="connsiteY46-3634" fmla="*/ 1851880 h 1931750"/>
              <a:gd name="connsiteX0-3635" fmla="*/ 587467 w 2803231"/>
              <a:gd name="connsiteY0-3636" fmla="*/ 1851880 h 1931750"/>
              <a:gd name="connsiteX1-3637" fmla="*/ 940656 w 2803231"/>
              <a:gd name="connsiteY1-3638" fmla="*/ 1860945 h 1931750"/>
              <a:gd name="connsiteX2-3639" fmla="*/ 963280 w 2803231"/>
              <a:gd name="connsiteY2-3640" fmla="*/ 1427356 h 1931750"/>
              <a:gd name="connsiteX3-3641" fmla="*/ 2078402 w 2803231"/>
              <a:gd name="connsiteY3-3642" fmla="*/ 1416205 h 1931750"/>
              <a:gd name="connsiteX4-3643" fmla="*/ 2067251 w 2803231"/>
              <a:gd name="connsiteY4-3644" fmla="*/ 568712 h 1931750"/>
              <a:gd name="connsiteX5-3645" fmla="*/ 2223368 w 2803231"/>
              <a:gd name="connsiteY5-3646" fmla="*/ 468351 h 1931750"/>
              <a:gd name="connsiteX6-3647" fmla="*/ 2569056 w 2803231"/>
              <a:gd name="connsiteY6-3648" fmla="*/ 289931 h 1931750"/>
              <a:gd name="connsiteX7-3649" fmla="*/ 2803231 w 2803231"/>
              <a:gd name="connsiteY7-3650" fmla="*/ 301083 h 1931750"/>
              <a:gd name="connsiteX8-3651" fmla="*/ 2803231 w 2803231"/>
              <a:gd name="connsiteY8-3652" fmla="*/ 133814 h 1931750"/>
              <a:gd name="connsiteX9-3653" fmla="*/ 2758627 w 2803231"/>
              <a:gd name="connsiteY9-3654" fmla="*/ 55756 h 1931750"/>
              <a:gd name="connsiteX10-3655" fmla="*/ 2747475 w 2803231"/>
              <a:gd name="connsiteY10-3656" fmla="*/ 22302 h 1931750"/>
              <a:gd name="connsiteX11-3657" fmla="*/ 2691719 w 2803231"/>
              <a:gd name="connsiteY11-3658" fmla="*/ 0 h 1931750"/>
              <a:gd name="connsiteX12-3659" fmla="*/ 2680568 w 2803231"/>
              <a:gd name="connsiteY12-3660" fmla="*/ 44605 h 1931750"/>
              <a:gd name="connsiteX13-3661" fmla="*/ 2557905 w 2803231"/>
              <a:gd name="connsiteY13-3662" fmla="*/ 11151 h 1931750"/>
              <a:gd name="connsiteX14-3663" fmla="*/ 2524451 w 2803231"/>
              <a:gd name="connsiteY14-3664" fmla="*/ 100361 h 1931750"/>
              <a:gd name="connsiteX15-3665" fmla="*/ 2412939 w 2803231"/>
              <a:gd name="connsiteY15-3666" fmla="*/ 66907 h 1931750"/>
              <a:gd name="connsiteX16-3667" fmla="*/ 2368334 w 2803231"/>
              <a:gd name="connsiteY16-3668" fmla="*/ 100361 h 1931750"/>
              <a:gd name="connsiteX17-3669" fmla="*/ 2290275 w 2803231"/>
              <a:gd name="connsiteY17-3670" fmla="*/ 100361 h 1931750"/>
              <a:gd name="connsiteX18-3671" fmla="*/ 2290275 w 2803231"/>
              <a:gd name="connsiteY18-3672" fmla="*/ 100361 h 1931750"/>
              <a:gd name="connsiteX19-3673" fmla="*/ 2212217 w 2803231"/>
              <a:gd name="connsiteY19-3674" fmla="*/ 144966 h 1931750"/>
              <a:gd name="connsiteX20-3675" fmla="*/ 2134158 w 2803231"/>
              <a:gd name="connsiteY20-3676" fmla="*/ 178419 h 1931750"/>
              <a:gd name="connsiteX21-3677" fmla="*/ 2078402 w 2803231"/>
              <a:gd name="connsiteY21-3678" fmla="*/ 178419 h 1931750"/>
              <a:gd name="connsiteX22-3679" fmla="*/ 2078402 w 2803231"/>
              <a:gd name="connsiteY22-3680" fmla="*/ 178419 h 1931750"/>
              <a:gd name="connsiteX23-3681" fmla="*/ 2078402 w 2803231"/>
              <a:gd name="connsiteY23-3682" fmla="*/ 334536 h 1931750"/>
              <a:gd name="connsiteX24-3683" fmla="*/ 1944588 w 2803231"/>
              <a:gd name="connsiteY24-3684" fmla="*/ 312234 h 1931750"/>
              <a:gd name="connsiteX25-3685" fmla="*/ 1855378 w 2803231"/>
              <a:gd name="connsiteY25-3686" fmla="*/ 367990 h 1931750"/>
              <a:gd name="connsiteX26-3687" fmla="*/ 1743866 w 2803231"/>
              <a:gd name="connsiteY26-3688" fmla="*/ 401444 h 1931750"/>
              <a:gd name="connsiteX27-3689" fmla="*/ 1688110 w 2803231"/>
              <a:gd name="connsiteY27-3690" fmla="*/ 356839 h 1931750"/>
              <a:gd name="connsiteX28-3691" fmla="*/ 1654656 w 2803231"/>
              <a:gd name="connsiteY28-3692" fmla="*/ 390292 h 1931750"/>
              <a:gd name="connsiteX29-3693" fmla="*/ 1576597 w 2803231"/>
              <a:gd name="connsiteY29-3694" fmla="*/ 446048 h 1931750"/>
              <a:gd name="connsiteX30-3695" fmla="*/ 1465085 w 2803231"/>
              <a:gd name="connsiteY30-3696" fmla="*/ 434897 h 1931750"/>
              <a:gd name="connsiteX31-3697" fmla="*/ 1230910 w 2803231"/>
              <a:gd name="connsiteY31-3698" fmla="*/ 568712 h 1931750"/>
              <a:gd name="connsiteX32-3699" fmla="*/ 1108246 w 2803231"/>
              <a:gd name="connsiteY32-3700" fmla="*/ 680224 h 1931750"/>
              <a:gd name="connsiteX33-3701" fmla="*/ 639895 w 2803231"/>
              <a:gd name="connsiteY33-3702" fmla="*/ 802887 h 1931750"/>
              <a:gd name="connsiteX34-3703" fmla="*/ 572988 w 2803231"/>
              <a:gd name="connsiteY34-3704" fmla="*/ 858644 h 1931750"/>
              <a:gd name="connsiteX35-3705" fmla="*/ 439173 w 2803231"/>
              <a:gd name="connsiteY35-3706" fmla="*/ 1182029 h 1931750"/>
              <a:gd name="connsiteX36-3707" fmla="*/ 126939 w 2803231"/>
              <a:gd name="connsiteY36-3708" fmla="*/ 1349297 h 1931750"/>
              <a:gd name="connsiteX37-3709" fmla="*/ 104636 w 2803231"/>
              <a:gd name="connsiteY37-3710" fmla="*/ 1494263 h 1931750"/>
              <a:gd name="connsiteX38-3711" fmla="*/ 26578 w 2803231"/>
              <a:gd name="connsiteY38-3712" fmla="*/ 1605775 h 1931750"/>
              <a:gd name="connsiteX39-3713" fmla="*/ 4275 w 2803231"/>
              <a:gd name="connsiteY39-3714" fmla="*/ 1839951 h 1931750"/>
              <a:gd name="connsiteX40-3715" fmla="*/ 0 w 2803231"/>
              <a:gd name="connsiteY40-3716" fmla="*/ 1798862 h 1931750"/>
              <a:gd name="connsiteX41-3717" fmla="*/ 15945 w 2803231"/>
              <a:gd name="connsiteY41-3718" fmla="*/ 1851538 h 1931750"/>
              <a:gd name="connsiteX42-3719" fmla="*/ 234288 w 2803231"/>
              <a:gd name="connsiteY42-3720" fmla="*/ 1848279 h 1931750"/>
              <a:gd name="connsiteX43-3721" fmla="*/ 253590 w 2803231"/>
              <a:gd name="connsiteY43-3722" fmla="*/ 1851172 h 1931750"/>
              <a:gd name="connsiteX44-3723" fmla="*/ 403846 w 2803231"/>
              <a:gd name="connsiteY44-3724" fmla="*/ 1852452 h 1931750"/>
              <a:gd name="connsiteX45-3725" fmla="*/ 607271 w 2803231"/>
              <a:gd name="connsiteY45-3726" fmla="*/ 1871225 h 1931750"/>
              <a:gd name="connsiteX46-3727" fmla="*/ 587467 w 2803231"/>
              <a:gd name="connsiteY46-3728" fmla="*/ 1851880 h 1931750"/>
              <a:gd name="connsiteX0-3729" fmla="*/ 587467 w 2803231"/>
              <a:gd name="connsiteY0-3730" fmla="*/ 1851880 h 1931750"/>
              <a:gd name="connsiteX1-3731" fmla="*/ 940656 w 2803231"/>
              <a:gd name="connsiteY1-3732" fmla="*/ 1860945 h 1931750"/>
              <a:gd name="connsiteX2-3733" fmla="*/ 963280 w 2803231"/>
              <a:gd name="connsiteY2-3734" fmla="*/ 1427356 h 1931750"/>
              <a:gd name="connsiteX3-3735" fmla="*/ 2078402 w 2803231"/>
              <a:gd name="connsiteY3-3736" fmla="*/ 1416205 h 1931750"/>
              <a:gd name="connsiteX4-3737" fmla="*/ 2067251 w 2803231"/>
              <a:gd name="connsiteY4-3738" fmla="*/ 568712 h 1931750"/>
              <a:gd name="connsiteX5-3739" fmla="*/ 2223368 w 2803231"/>
              <a:gd name="connsiteY5-3740" fmla="*/ 468351 h 1931750"/>
              <a:gd name="connsiteX6-3741" fmla="*/ 2569056 w 2803231"/>
              <a:gd name="connsiteY6-3742" fmla="*/ 289931 h 1931750"/>
              <a:gd name="connsiteX7-3743" fmla="*/ 2803231 w 2803231"/>
              <a:gd name="connsiteY7-3744" fmla="*/ 301083 h 1931750"/>
              <a:gd name="connsiteX8-3745" fmla="*/ 2803231 w 2803231"/>
              <a:gd name="connsiteY8-3746" fmla="*/ 133814 h 1931750"/>
              <a:gd name="connsiteX9-3747" fmla="*/ 2758627 w 2803231"/>
              <a:gd name="connsiteY9-3748" fmla="*/ 55756 h 1931750"/>
              <a:gd name="connsiteX10-3749" fmla="*/ 2747475 w 2803231"/>
              <a:gd name="connsiteY10-3750" fmla="*/ 22302 h 1931750"/>
              <a:gd name="connsiteX11-3751" fmla="*/ 2691719 w 2803231"/>
              <a:gd name="connsiteY11-3752" fmla="*/ 0 h 1931750"/>
              <a:gd name="connsiteX12-3753" fmla="*/ 2680568 w 2803231"/>
              <a:gd name="connsiteY12-3754" fmla="*/ 44605 h 1931750"/>
              <a:gd name="connsiteX13-3755" fmla="*/ 2557905 w 2803231"/>
              <a:gd name="connsiteY13-3756" fmla="*/ 11151 h 1931750"/>
              <a:gd name="connsiteX14-3757" fmla="*/ 2524451 w 2803231"/>
              <a:gd name="connsiteY14-3758" fmla="*/ 100361 h 1931750"/>
              <a:gd name="connsiteX15-3759" fmla="*/ 2412939 w 2803231"/>
              <a:gd name="connsiteY15-3760" fmla="*/ 66907 h 1931750"/>
              <a:gd name="connsiteX16-3761" fmla="*/ 2368334 w 2803231"/>
              <a:gd name="connsiteY16-3762" fmla="*/ 100361 h 1931750"/>
              <a:gd name="connsiteX17-3763" fmla="*/ 2290275 w 2803231"/>
              <a:gd name="connsiteY17-3764" fmla="*/ 100361 h 1931750"/>
              <a:gd name="connsiteX18-3765" fmla="*/ 2290275 w 2803231"/>
              <a:gd name="connsiteY18-3766" fmla="*/ 100361 h 1931750"/>
              <a:gd name="connsiteX19-3767" fmla="*/ 2212217 w 2803231"/>
              <a:gd name="connsiteY19-3768" fmla="*/ 144966 h 1931750"/>
              <a:gd name="connsiteX20-3769" fmla="*/ 2134158 w 2803231"/>
              <a:gd name="connsiteY20-3770" fmla="*/ 178419 h 1931750"/>
              <a:gd name="connsiteX21-3771" fmla="*/ 2078402 w 2803231"/>
              <a:gd name="connsiteY21-3772" fmla="*/ 178419 h 1931750"/>
              <a:gd name="connsiteX22-3773" fmla="*/ 2078402 w 2803231"/>
              <a:gd name="connsiteY22-3774" fmla="*/ 178419 h 1931750"/>
              <a:gd name="connsiteX23-3775" fmla="*/ 2078402 w 2803231"/>
              <a:gd name="connsiteY23-3776" fmla="*/ 334536 h 1931750"/>
              <a:gd name="connsiteX24-3777" fmla="*/ 1944588 w 2803231"/>
              <a:gd name="connsiteY24-3778" fmla="*/ 312234 h 1931750"/>
              <a:gd name="connsiteX25-3779" fmla="*/ 1855378 w 2803231"/>
              <a:gd name="connsiteY25-3780" fmla="*/ 367990 h 1931750"/>
              <a:gd name="connsiteX26-3781" fmla="*/ 1743866 w 2803231"/>
              <a:gd name="connsiteY26-3782" fmla="*/ 401444 h 1931750"/>
              <a:gd name="connsiteX27-3783" fmla="*/ 1688110 w 2803231"/>
              <a:gd name="connsiteY27-3784" fmla="*/ 356839 h 1931750"/>
              <a:gd name="connsiteX28-3785" fmla="*/ 1654656 w 2803231"/>
              <a:gd name="connsiteY28-3786" fmla="*/ 390292 h 1931750"/>
              <a:gd name="connsiteX29-3787" fmla="*/ 1576597 w 2803231"/>
              <a:gd name="connsiteY29-3788" fmla="*/ 446048 h 1931750"/>
              <a:gd name="connsiteX30-3789" fmla="*/ 1465085 w 2803231"/>
              <a:gd name="connsiteY30-3790" fmla="*/ 434897 h 1931750"/>
              <a:gd name="connsiteX31-3791" fmla="*/ 1230910 w 2803231"/>
              <a:gd name="connsiteY31-3792" fmla="*/ 568712 h 1931750"/>
              <a:gd name="connsiteX32-3793" fmla="*/ 1108246 w 2803231"/>
              <a:gd name="connsiteY32-3794" fmla="*/ 680224 h 1931750"/>
              <a:gd name="connsiteX33-3795" fmla="*/ 639895 w 2803231"/>
              <a:gd name="connsiteY33-3796" fmla="*/ 802887 h 1931750"/>
              <a:gd name="connsiteX34-3797" fmla="*/ 572988 w 2803231"/>
              <a:gd name="connsiteY34-3798" fmla="*/ 858644 h 1931750"/>
              <a:gd name="connsiteX35-3799" fmla="*/ 439173 w 2803231"/>
              <a:gd name="connsiteY35-3800" fmla="*/ 1182029 h 1931750"/>
              <a:gd name="connsiteX36-3801" fmla="*/ 126939 w 2803231"/>
              <a:gd name="connsiteY36-3802" fmla="*/ 1349297 h 1931750"/>
              <a:gd name="connsiteX37-3803" fmla="*/ 104636 w 2803231"/>
              <a:gd name="connsiteY37-3804" fmla="*/ 1494263 h 1931750"/>
              <a:gd name="connsiteX38-3805" fmla="*/ 26578 w 2803231"/>
              <a:gd name="connsiteY38-3806" fmla="*/ 1605775 h 1931750"/>
              <a:gd name="connsiteX39-3807" fmla="*/ 4275 w 2803231"/>
              <a:gd name="connsiteY39-3808" fmla="*/ 1839951 h 1931750"/>
              <a:gd name="connsiteX40-3809" fmla="*/ 0 w 2803231"/>
              <a:gd name="connsiteY40-3810" fmla="*/ 1798862 h 1931750"/>
              <a:gd name="connsiteX41-3811" fmla="*/ 15945 w 2803231"/>
              <a:gd name="connsiteY41-3812" fmla="*/ 1851538 h 1931750"/>
              <a:gd name="connsiteX42-3813" fmla="*/ 127573 w 2803231"/>
              <a:gd name="connsiteY42-3814" fmla="*/ 1852185 h 1931750"/>
              <a:gd name="connsiteX43-3815" fmla="*/ 234288 w 2803231"/>
              <a:gd name="connsiteY43-3816" fmla="*/ 1848279 h 1931750"/>
              <a:gd name="connsiteX44-3817" fmla="*/ 253590 w 2803231"/>
              <a:gd name="connsiteY44-3818" fmla="*/ 1851172 h 1931750"/>
              <a:gd name="connsiteX45-3819" fmla="*/ 403846 w 2803231"/>
              <a:gd name="connsiteY45-3820" fmla="*/ 1852452 h 1931750"/>
              <a:gd name="connsiteX46-3821" fmla="*/ 607271 w 2803231"/>
              <a:gd name="connsiteY46-3822" fmla="*/ 1871225 h 1931750"/>
              <a:gd name="connsiteX47-3823" fmla="*/ 587467 w 2803231"/>
              <a:gd name="connsiteY47-3824" fmla="*/ 1851880 h 1931750"/>
              <a:gd name="connsiteX0-3825" fmla="*/ 587467 w 2803231"/>
              <a:gd name="connsiteY0-3826" fmla="*/ 1851880 h 1931750"/>
              <a:gd name="connsiteX1-3827" fmla="*/ 940656 w 2803231"/>
              <a:gd name="connsiteY1-3828" fmla="*/ 1860945 h 1931750"/>
              <a:gd name="connsiteX2-3829" fmla="*/ 963280 w 2803231"/>
              <a:gd name="connsiteY2-3830" fmla="*/ 1427356 h 1931750"/>
              <a:gd name="connsiteX3-3831" fmla="*/ 2078402 w 2803231"/>
              <a:gd name="connsiteY3-3832" fmla="*/ 1416205 h 1931750"/>
              <a:gd name="connsiteX4-3833" fmla="*/ 2067251 w 2803231"/>
              <a:gd name="connsiteY4-3834" fmla="*/ 568712 h 1931750"/>
              <a:gd name="connsiteX5-3835" fmla="*/ 2223368 w 2803231"/>
              <a:gd name="connsiteY5-3836" fmla="*/ 468351 h 1931750"/>
              <a:gd name="connsiteX6-3837" fmla="*/ 2569056 w 2803231"/>
              <a:gd name="connsiteY6-3838" fmla="*/ 289931 h 1931750"/>
              <a:gd name="connsiteX7-3839" fmla="*/ 2803231 w 2803231"/>
              <a:gd name="connsiteY7-3840" fmla="*/ 301083 h 1931750"/>
              <a:gd name="connsiteX8-3841" fmla="*/ 2803231 w 2803231"/>
              <a:gd name="connsiteY8-3842" fmla="*/ 133814 h 1931750"/>
              <a:gd name="connsiteX9-3843" fmla="*/ 2758627 w 2803231"/>
              <a:gd name="connsiteY9-3844" fmla="*/ 55756 h 1931750"/>
              <a:gd name="connsiteX10-3845" fmla="*/ 2747475 w 2803231"/>
              <a:gd name="connsiteY10-3846" fmla="*/ 22302 h 1931750"/>
              <a:gd name="connsiteX11-3847" fmla="*/ 2691719 w 2803231"/>
              <a:gd name="connsiteY11-3848" fmla="*/ 0 h 1931750"/>
              <a:gd name="connsiteX12-3849" fmla="*/ 2680568 w 2803231"/>
              <a:gd name="connsiteY12-3850" fmla="*/ 44605 h 1931750"/>
              <a:gd name="connsiteX13-3851" fmla="*/ 2557905 w 2803231"/>
              <a:gd name="connsiteY13-3852" fmla="*/ 11151 h 1931750"/>
              <a:gd name="connsiteX14-3853" fmla="*/ 2524451 w 2803231"/>
              <a:gd name="connsiteY14-3854" fmla="*/ 100361 h 1931750"/>
              <a:gd name="connsiteX15-3855" fmla="*/ 2412939 w 2803231"/>
              <a:gd name="connsiteY15-3856" fmla="*/ 66907 h 1931750"/>
              <a:gd name="connsiteX16-3857" fmla="*/ 2368334 w 2803231"/>
              <a:gd name="connsiteY16-3858" fmla="*/ 100361 h 1931750"/>
              <a:gd name="connsiteX17-3859" fmla="*/ 2290275 w 2803231"/>
              <a:gd name="connsiteY17-3860" fmla="*/ 100361 h 1931750"/>
              <a:gd name="connsiteX18-3861" fmla="*/ 2290275 w 2803231"/>
              <a:gd name="connsiteY18-3862" fmla="*/ 100361 h 1931750"/>
              <a:gd name="connsiteX19-3863" fmla="*/ 2212217 w 2803231"/>
              <a:gd name="connsiteY19-3864" fmla="*/ 144966 h 1931750"/>
              <a:gd name="connsiteX20-3865" fmla="*/ 2134158 w 2803231"/>
              <a:gd name="connsiteY20-3866" fmla="*/ 178419 h 1931750"/>
              <a:gd name="connsiteX21-3867" fmla="*/ 2078402 w 2803231"/>
              <a:gd name="connsiteY21-3868" fmla="*/ 178419 h 1931750"/>
              <a:gd name="connsiteX22-3869" fmla="*/ 2078402 w 2803231"/>
              <a:gd name="connsiteY22-3870" fmla="*/ 178419 h 1931750"/>
              <a:gd name="connsiteX23-3871" fmla="*/ 2078402 w 2803231"/>
              <a:gd name="connsiteY23-3872" fmla="*/ 334536 h 1931750"/>
              <a:gd name="connsiteX24-3873" fmla="*/ 1944588 w 2803231"/>
              <a:gd name="connsiteY24-3874" fmla="*/ 312234 h 1931750"/>
              <a:gd name="connsiteX25-3875" fmla="*/ 1855378 w 2803231"/>
              <a:gd name="connsiteY25-3876" fmla="*/ 367990 h 1931750"/>
              <a:gd name="connsiteX26-3877" fmla="*/ 1743866 w 2803231"/>
              <a:gd name="connsiteY26-3878" fmla="*/ 401444 h 1931750"/>
              <a:gd name="connsiteX27-3879" fmla="*/ 1688110 w 2803231"/>
              <a:gd name="connsiteY27-3880" fmla="*/ 356839 h 1931750"/>
              <a:gd name="connsiteX28-3881" fmla="*/ 1654656 w 2803231"/>
              <a:gd name="connsiteY28-3882" fmla="*/ 390292 h 1931750"/>
              <a:gd name="connsiteX29-3883" fmla="*/ 1576597 w 2803231"/>
              <a:gd name="connsiteY29-3884" fmla="*/ 446048 h 1931750"/>
              <a:gd name="connsiteX30-3885" fmla="*/ 1465085 w 2803231"/>
              <a:gd name="connsiteY30-3886" fmla="*/ 434897 h 1931750"/>
              <a:gd name="connsiteX31-3887" fmla="*/ 1230910 w 2803231"/>
              <a:gd name="connsiteY31-3888" fmla="*/ 568712 h 1931750"/>
              <a:gd name="connsiteX32-3889" fmla="*/ 1108246 w 2803231"/>
              <a:gd name="connsiteY32-3890" fmla="*/ 680224 h 1931750"/>
              <a:gd name="connsiteX33-3891" fmla="*/ 639895 w 2803231"/>
              <a:gd name="connsiteY33-3892" fmla="*/ 802887 h 1931750"/>
              <a:gd name="connsiteX34-3893" fmla="*/ 572988 w 2803231"/>
              <a:gd name="connsiteY34-3894" fmla="*/ 858644 h 1931750"/>
              <a:gd name="connsiteX35-3895" fmla="*/ 439173 w 2803231"/>
              <a:gd name="connsiteY35-3896" fmla="*/ 1182029 h 1931750"/>
              <a:gd name="connsiteX36-3897" fmla="*/ 126939 w 2803231"/>
              <a:gd name="connsiteY36-3898" fmla="*/ 1349297 h 1931750"/>
              <a:gd name="connsiteX37-3899" fmla="*/ 104636 w 2803231"/>
              <a:gd name="connsiteY37-3900" fmla="*/ 1494263 h 1931750"/>
              <a:gd name="connsiteX38-3901" fmla="*/ 26578 w 2803231"/>
              <a:gd name="connsiteY38-3902" fmla="*/ 1605775 h 1931750"/>
              <a:gd name="connsiteX39-3903" fmla="*/ 4275 w 2803231"/>
              <a:gd name="connsiteY39-3904" fmla="*/ 1839951 h 1931750"/>
              <a:gd name="connsiteX40-3905" fmla="*/ 0 w 2803231"/>
              <a:gd name="connsiteY40-3906" fmla="*/ 1798862 h 1931750"/>
              <a:gd name="connsiteX41-3907" fmla="*/ 15945 w 2803231"/>
              <a:gd name="connsiteY41-3908" fmla="*/ 1851538 h 1931750"/>
              <a:gd name="connsiteX42-3909" fmla="*/ 127573 w 2803231"/>
              <a:gd name="connsiteY42-3910" fmla="*/ 1852185 h 1931750"/>
              <a:gd name="connsiteX43-3911" fmla="*/ 234288 w 2803231"/>
              <a:gd name="connsiteY43-3912" fmla="*/ 1848279 h 1931750"/>
              <a:gd name="connsiteX44-3913" fmla="*/ 253590 w 2803231"/>
              <a:gd name="connsiteY44-3914" fmla="*/ 1851172 h 1931750"/>
              <a:gd name="connsiteX45-3915" fmla="*/ 403846 w 2803231"/>
              <a:gd name="connsiteY45-3916" fmla="*/ 1852452 h 1931750"/>
              <a:gd name="connsiteX46-3917" fmla="*/ 464312 w 2803231"/>
              <a:gd name="connsiteY46-3918" fmla="*/ 1870916 h 1931750"/>
              <a:gd name="connsiteX47-3919" fmla="*/ 587467 w 2803231"/>
              <a:gd name="connsiteY47-3920" fmla="*/ 1851880 h 1931750"/>
              <a:gd name="connsiteX0-3921" fmla="*/ 587467 w 2803231"/>
              <a:gd name="connsiteY0-3922" fmla="*/ 1851880 h 1931750"/>
              <a:gd name="connsiteX1-3923" fmla="*/ 940656 w 2803231"/>
              <a:gd name="connsiteY1-3924" fmla="*/ 1860945 h 1931750"/>
              <a:gd name="connsiteX2-3925" fmla="*/ 963280 w 2803231"/>
              <a:gd name="connsiteY2-3926" fmla="*/ 1427356 h 1931750"/>
              <a:gd name="connsiteX3-3927" fmla="*/ 2078402 w 2803231"/>
              <a:gd name="connsiteY3-3928" fmla="*/ 1416205 h 1931750"/>
              <a:gd name="connsiteX4-3929" fmla="*/ 2067251 w 2803231"/>
              <a:gd name="connsiteY4-3930" fmla="*/ 568712 h 1931750"/>
              <a:gd name="connsiteX5-3931" fmla="*/ 2223368 w 2803231"/>
              <a:gd name="connsiteY5-3932" fmla="*/ 468351 h 1931750"/>
              <a:gd name="connsiteX6-3933" fmla="*/ 2569056 w 2803231"/>
              <a:gd name="connsiteY6-3934" fmla="*/ 289931 h 1931750"/>
              <a:gd name="connsiteX7-3935" fmla="*/ 2803231 w 2803231"/>
              <a:gd name="connsiteY7-3936" fmla="*/ 301083 h 1931750"/>
              <a:gd name="connsiteX8-3937" fmla="*/ 2803231 w 2803231"/>
              <a:gd name="connsiteY8-3938" fmla="*/ 133814 h 1931750"/>
              <a:gd name="connsiteX9-3939" fmla="*/ 2758627 w 2803231"/>
              <a:gd name="connsiteY9-3940" fmla="*/ 55756 h 1931750"/>
              <a:gd name="connsiteX10-3941" fmla="*/ 2747475 w 2803231"/>
              <a:gd name="connsiteY10-3942" fmla="*/ 22302 h 1931750"/>
              <a:gd name="connsiteX11-3943" fmla="*/ 2691719 w 2803231"/>
              <a:gd name="connsiteY11-3944" fmla="*/ 0 h 1931750"/>
              <a:gd name="connsiteX12-3945" fmla="*/ 2680568 w 2803231"/>
              <a:gd name="connsiteY12-3946" fmla="*/ 44605 h 1931750"/>
              <a:gd name="connsiteX13-3947" fmla="*/ 2557905 w 2803231"/>
              <a:gd name="connsiteY13-3948" fmla="*/ 11151 h 1931750"/>
              <a:gd name="connsiteX14-3949" fmla="*/ 2524451 w 2803231"/>
              <a:gd name="connsiteY14-3950" fmla="*/ 100361 h 1931750"/>
              <a:gd name="connsiteX15-3951" fmla="*/ 2412939 w 2803231"/>
              <a:gd name="connsiteY15-3952" fmla="*/ 66907 h 1931750"/>
              <a:gd name="connsiteX16-3953" fmla="*/ 2368334 w 2803231"/>
              <a:gd name="connsiteY16-3954" fmla="*/ 100361 h 1931750"/>
              <a:gd name="connsiteX17-3955" fmla="*/ 2290275 w 2803231"/>
              <a:gd name="connsiteY17-3956" fmla="*/ 100361 h 1931750"/>
              <a:gd name="connsiteX18-3957" fmla="*/ 2290275 w 2803231"/>
              <a:gd name="connsiteY18-3958" fmla="*/ 100361 h 1931750"/>
              <a:gd name="connsiteX19-3959" fmla="*/ 2212217 w 2803231"/>
              <a:gd name="connsiteY19-3960" fmla="*/ 144966 h 1931750"/>
              <a:gd name="connsiteX20-3961" fmla="*/ 2134158 w 2803231"/>
              <a:gd name="connsiteY20-3962" fmla="*/ 178419 h 1931750"/>
              <a:gd name="connsiteX21-3963" fmla="*/ 2078402 w 2803231"/>
              <a:gd name="connsiteY21-3964" fmla="*/ 178419 h 1931750"/>
              <a:gd name="connsiteX22-3965" fmla="*/ 2078402 w 2803231"/>
              <a:gd name="connsiteY22-3966" fmla="*/ 178419 h 1931750"/>
              <a:gd name="connsiteX23-3967" fmla="*/ 2078402 w 2803231"/>
              <a:gd name="connsiteY23-3968" fmla="*/ 334536 h 1931750"/>
              <a:gd name="connsiteX24-3969" fmla="*/ 1944588 w 2803231"/>
              <a:gd name="connsiteY24-3970" fmla="*/ 312234 h 1931750"/>
              <a:gd name="connsiteX25-3971" fmla="*/ 1855378 w 2803231"/>
              <a:gd name="connsiteY25-3972" fmla="*/ 367990 h 1931750"/>
              <a:gd name="connsiteX26-3973" fmla="*/ 1743866 w 2803231"/>
              <a:gd name="connsiteY26-3974" fmla="*/ 401444 h 1931750"/>
              <a:gd name="connsiteX27-3975" fmla="*/ 1688110 w 2803231"/>
              <a:gd name="connsiteY27-3976" fmla="*/ 356839 h 1931750"/>
              <a:gd name="connsiteX28-3977" fmla="*/ 1654656 w 2803231"/>
              <a:gd name="connsiteY28-3978" fmla="*/ 390292 h 1931750"/>
              <a:gd name="connsiteX29-3979" fmla="*/ 1576597 w 2803231"/>
              <a:gd name="connsiteY29-3980" fmla="*/ 446048 h 1931750"/>
              <a:gd name="connsiteX30-3981" fmla="*/ 1465085 w 2803231"/>
              <a:gd name="connsiteY30-3982" fmla="*/ 434897 h 1931750"/>
              <a:gd name="connsiteX31-3983" fmla="*/ 1230910 w 2803231"/>
              <a:gd name="connsiteY31-3984" fmla="*/ 568712 h 1931750"/>
              <a:gd name="connsiteX32-3985" fmla="*/ 1108246 w 2803231"/>
              <a:gd name="connsiteY32-3986" fmla="*/ 680224 h 1931750"/>
              <a:gd name="connsiteX33-3987" fmla="*/ 639895 w 2803231"/>
              <a:gd name="connsiteY33-3988" fmla="*/ 802887 h 1931750"/>
              <a:gd name="connsiteX34-3989" fmla="*/ 572988 w 2803231"/>
              <a:gd name="connsiteY34-3990" fmla="*/ 858644 h 1931750"/>
              <a:gd name="connsiteX35-3991" fmla="*/ 439173 w 2803231"/>
              <a:gd name="connsiteY35-3992" fmla="*/ 1182029 h 1931750"/>
              <a:gd name="connsiteX36-3993" fmla="*/ 126939 w 2803231"/>
              <a:gd name="connsiteY36-3994" fmla="*/ 1349297 h 1931750"/>
              <a:gd name="connsiteX37-3995" fmla="*/ 104636 w 2803231"/>
              <a:gd name="connsiteY37-3996" fmla="*/ 1494263 h 1931750"/>
              <a:gd name="connsiteX38-3997" fmla="*/ 26578 w 2803231"/>
              <a:gd name="connsiteY38-3998" fmla="*/ 1605775 h 1931750"/>
              <a:gd name="connsiteX39-3999" fmla="*/ 4275 w 2803231"/>
              <a:gd name="connsiteY39-4000" fmla="*/ 1839951 h 1931750"/>
              <a:gd name="connsiteX40-4001" fmla="*/ 0 w 2803231"/>
              <a:gd name="connsiteY40-4002" fmla="*/ 1798862 h 1931750"/>
              <a:gd name="connsiteX41-4003" fmla="*/ 15945 w 2803231"/>
              <a:gd name="connsiteY41-4004" fmla="*/ 1851538 h 1931750"/>
              <a:gd name="connsiteX42-4005" fmla="*/ 127573 w 2803231"/>
              <a:gd name="connsiteY42-4006" fmla="*/ 1852185 h 1931750"/>
              <a:gd name="connsiteX43-4007" fmla="*/ 234288 w 2803231"/>
              <a:gd name="connsiteY43-4008" fmla="*/ 1848279 h 1931750"/>
              <a:gd name="connsiteX44-4009" fmla="*/ 253590 w 2803231"/>
              <a:gd name="connsiteY44-4010" fmla="*/ 1851172 h 1931750"/>
              <a:gd name="connsiteX45-4011" fmla="*/ 260910 w 2803231"/>
              <a:gd name="connsiteY45-4012" fmla="*/ 1852146 h 1931750"/>
              <a:gd name="connsiteX46-4013" fmla="*/ 464312 w 2803231"/>
              <a:gd name="connsiteY46-4014" fmla="*/ 1870916 h 1931750"/>
              <a:gd name="connsiteX47-4015" fmla="*/ 587467 w 2803231"/>
              <a:gd name="connsiteY47-4016" fmla="*/ 1851880 h 1931750"/>
              <a:gd name="connsiteX0-4017" fmla="*/ 587467 w 2803231"/>
              <a:gd name="connsiteY0-4018" fmla="*/ 1851880 h 1931750"/>
              <a:gd name="connsiteX1-4019" fmla="*/ 940656 w 2803231"/>
              <a:gd name="connsiteY1-4020" fmla="*/ 1860945 h 1931750"/>
              <a:gd name="connsiteX2-4021" fmla="*/ 963280 w 2803231"/>
              <a:gd name="connsiteY2-4022" fmla="*/ 1427356 h 1931750"/>
              <a:gd name="connsiteX3-4023" fmla="*/ 2078402 w 2803231"/>
              <a:gd name="connsiteY3-4024" fmla="*/ 1416205 h 1931750"/>
              <a:gd name="connsiteX4-4025" fmla="*/ 2067251 w 2803231"/>
              <a:gd name="connsiteY4-4026" fmla="*/ 568712 h 1931750"/>
              <a:gd name="connsiteX5-4027" fmla="*/ 2223368 w 2803231"/>
              <a:gd name="connsiteY5-4028" fmla="*/ 468351 h 1931750"/>
              <a:gd name="connsiteX6-4029" fmla="*/ 2569056 w 2803231"/>
              <a:gd name="connsiteY6-4030" fmla="*/ 289931 h 1931750"/>
              <a:gd name="connsiteX7-4031" fmla="*/ 2803231 w 2803231"/>
              <a:gd name="connsiteY7-4032" fmla="*/ 301083 h 1931750"/>
              <a:gd name="connsiteX8-4033" fmla="*/ 2803231 w 2803231"/>
              <a:gd name="connsiteY8-4034" fmla="*/ 133814 h 1931750"/>
              <a:gd name="connsiteX9-4035" fmla="*/ 2758627 w 2803231"/>
              <a:gd name="connsiteY9-4036" fmla="*/ 55756 h 1931750"/>
              <a:gd name="connsiteX10-4037" fmla="*/ 2747475 w 2803231"/>
              <a:gd name="connsiteY10-4038" fmla="*/ 22302 h 1931750"/>
              <a:gd name="connsiteX11-4039" fmla="*/ 2691719 w 2803231"/>
              <a:gd name="connsiteY11-4040" fmla="*/ 0 h 1931750"/>
              <a:gd name="connsiteX12-4041" fmla="*/ 2680568 w 2803231"/>
              <a:gd name="connsiteY12-4042" fmla="*/ 44605 h 1931750"/>
              <a:gd name="connsiteX13-4043" fmla="*/ 2557905 w 2803231"/>
              <a:gd name="connsiteY13-4044" fmla="*/ 11151 h 1931750"/>
              <a:gd name="connsiteX14-4045" fmla="*/ 2524451 w 2803231"/>
              <a:gd name="connsiteY14-4046" fmla="*/ 100361 h 1931750"/>
              <a:gd name="connsiteX15-4047" fmla="*/ 2412939 w 2803231"/>
              <a:gd name="connsiteY15-4048" fmla="*/ 66907 h 1931750"/>
              <a:gd name="connsiteX16-4049" fmla="*/ 2368334 w 2803231"/>
              <a:gd name="connsiteY16-4050" fmla="*/ 100361 h 1931750"/>
              <a:gd name="connsiteX17-4051" fmla="*/ 2290275 w 2803231"/>
              <a:gd name="connsiteY17-4052" fmla="*/ 100361 h 1931750"/>
              <a:gd name="connsiteX18-4053" fmla="*/ 2290275 w 2803231"/>
              <a:gd name="connsiteY18-4054" fmla="*/ 100361 h 1931750"/>
              <a:gd name="connsiteX19-4055" fmla="*/ 2212217 w 2803231"/>
              <a:gd name="connsiteY19-4056" fmla="*/ 144966 h 1931750"/>
              <a:gd name="connsiteX20-4057" fmla="*/ 2134158 w 2803231"/>
              <a:gd name="connsiteY20-4058" fmla="*/ 178419 h 1931750"/>
              <a:gd name="connsiteX21-4059" fmla="*/ 2078402 w 2803231"/>
              <a:gd name="connsiteY21-4060" fmla="*/ 178419 h 1931750"/>
              <a:gd name="connsiteX22-4061" fmla="*/ 2078402 w 2803231"/>
              <a:gd name="connsiteY22-4062" fmla="*/ 178419 h 1931750"/>
              <a:gd name="connsiteX23-4063" fmla="*/ 2078402 w 2803231"/>
              <a:gd name="connsiteY23-4064" fmla="*/ 334536 h 1931750"/>
              <a:gd name="connsiteX24-4065" fmla="*/ 1944588 w 2803231"/>
              <a:gd name="connsiteY24-4066" fmla="*/ 312234 h 1931750"/>
              <a:gd name="connsiteX25-4067" fmla="*/ 1855378 w 2803231"/>
              <a:gd name="connsiteY25-4068" fmla="*/ 367990 h 1931750"/>
              <a:gd name="connsiteX26-4069" fmla="*/ 1743866 w 2803231"/>
              <a:gd name="connsiteY26-4070" fmla="*/ 401444 h 1931750"/>
              <a:gd name="connsiteX27-4071" fmla="*/ 1688110 w 2803231"/>
              <a:gd name="connsiteY27-4072" fmla="*/ 356839 h 1931750"/>
              <a:gd name="connsiteX28-4073" fmla="*/ 1654656 w 2803231"/>
              <a:gd name="connsiteY28-4074" fmla="*/ 390292 h 1931750"/>
              <a:gd name="connsiteX29-4075" fmla="*/ 1576597 w 2803231"/>
              <a:gd name="connsiteY29-4076" fmla="*/ 446048 h 1931750"/>
              <a:gd name="connsiteX30-4077" fmla="*/ 1465085 w 2803231"/>
              <a:gd name="connsiteY30-4078" fmla="*/ 434897 h 1931750"/>
              <a:gd name="connsiteX31-4079" fmla="*/ 1230910 w 2803231"/>
              <a:gd name="connsiteY31-4080" fmla="*/ 568712 h 1931750"/>
              <a:gd name="connsiteX32-4081" fmla="*/ 1108246 w 2803231"/>
              <a:gd name="connsiteY32-4082" fmla="*/ 680224 h 1931750"/>
              <a:gd name="connsiteX33-4083" fmla="*/ 639895 w 2803231"/>
              <a:gd name="connsiteY33-4084" fmla="*/ 802887 h 1931750"/>
              <a:gd name="connsiteX34-4085" fmla="*/ 572988 w 2803231"/>
              <a:gd name="connsiteY34-4086" fmla="*/ 858644 h 1931750"/>
              <a:gd name="connsiteX35-4087" fmla="*/ 439173 w 2803231"/>
              <a:gd name="connsiteY35-4088" fmla="*/ 1182029 h 1931750"/>
              <a:gd name="connsiteX36-4089" fmla="*/ 126939 w 2803231"/>
              <a:gd name="connsiteY36-4090" fmla="*/ 1349297 h 1931750"/>
              <a:gd name="connsiteX37-4091" fmla="*/ 104636 w 2803231"/>
              <a:gd name="connsiteY37-4092" fmla="*/ 1494263 h 1931750"/>
              <a:gd name="connsiteX38-4093" fmla="*/ 26578 w 2803231"/>
              <a:gd name="connsiteY38-4094" fmla="*/ 1605775 h 1931750"/>
              <a:gd name="connsiteX39-4095" fmla="*/ 4275 w 2803231"/>
              <a:gd name="connsiteY39-4096" fmla="*/ 1839951 h 1931750"/>
              <a:gd name="connsiteX40-4097" fmla="*/ 0 w 2803231"/>
              <a:gd name="connsiteY40-4098" fmla="*/ 1798862 h 1931750"/>
              <a:gd name="connsiteX41-4099" fmla="*/ 15945 w 2803231"/>
              <a:gd name="connsiteY41-4100" fmla="*/ 1851538 h 1931750"/>
              <a:gd name="connsiteX42-4101" fmla="*/ 127573 w 2803231"/>
              <a:gd name="connsiteY42-4102" fmla="*/ 1852185 h 1931750"/>
              <a:gd name="connsiteX43-4103" fmla="*/ 234288 w 2803231"/>
              <a:gd name="connsiteY43-4104" fmla="*/ 1848279 h 1931750"/>
              <a:gd name="connsiteX44-4105" fmla="*/ 253590 w 2803231"/>
              <a:gd name="connsiteY44-4106" fmla="*/ 1851172 h 1931750"/>
              <a:gd name="connsiteX45-4107" fmla="*/ 260910 w 2803231"/>
              <a:gd name="connsiteY45-4108" fmla="*/ 1852146 h 1931750"/>
              <a:gd name="connsiteX46-4109" fmla="*/ 464312 w 2803231"/>
              <a:gd name="connsiteY46-4110" fmla="*/ 1870916 h 1931750"/>
              <a:gd name="connsiteX47-4111" fmla="*/ 587467 w 2803231"/>
              <a:gd name="connsiteY47-4112" fmla="*/ 1851880 h 1931750"/>
              <a:gd name="connsiteX0-4113" fmla="*/ 588530 w 2804294"/>
              <a:gd name="connsiteY0-4114" fmla="*/ 1851880 h 1931750"/>
              <a:gd name="connsiteX1-4115" fmla="*/ 941719 w 2804294"/>
              <a:gd name="connsiteY1-4116" fmla="*/ 1860945 h 1931750"/>
              <a:gd name="connsiteX2-4117" fmla="*/ 964343 w 2804294"/>
              <a:gd name="connsiteY2-4118" fmla="*/ 1427356 h 1931750"/>
              <a:gd name="connsiteX3-4119" fmla="*/ 2079465 w 2804294"/>
              <a:gd name="connsiteY3-4120" fmla="*/ 1416205 h 1931750"/>
              <a:gd name="connsiteX4-4121" fmla="*/ 2068314 w 2804294"/>
              <a:gd name="connsiteY4-4122" fmla="*/ 568712 h 1931750"/>
              <a:gd name="connsiteX5-4123" fmla="*/ 2224431 w 2804294"/>
              <a:gd name="connsiteY5-4124" fmla="*/ 468351 h 1931750"/>
              <a:gd name="connsiteX6-4125" fmla="*/ 2570119 w 2804294"/>
              <a:gd name="connsiteY6-4126" fmla="*/ 289931 h 1931750"/>
              <a:gd name="connsiteX7-4127" fmla="*/ 2804294 w 2804294"/>
              <a:gd name="connsiteY7-4128" fmla="*/ 301083 h 1931750"/>
              <a:gd name="connsiteX8-4129" fmla="*/ 2804294 w 2804294"/>
              <a:gd name="connsiteY8-4130" fmla="*/ 133814 h 1931750"/>
              <a:gd name="connsiteX9-4131" fmla="*/ 2759690 w 2804294"/>
              <a:gd name="connsiteY9-4132" fmla="*/ 55756 h 1931750"/>
              <a:gd name="connsiteX10-4133" fmla="*/ 2748538 w 2804294"/>
              <a:gd name="connsiteY10-4134" fmla="*/ 22302 h 1931750"/>
              <a:gd name="connsiteX11-4135" fmla="*/ 2692782 w 2804294"/>
              <a:gd name="connsiteY11-4136" fmla="*/ 0 h 1931750"/>
              <a:gd name="connsiteX12-4137" fmla="*/ 2681631 w 2804294"/>
              <a:gd name="connsiteY12-4138" fmla="*/ 44605 h 1931750"/>
              <a:gd name="connsiteX13-4139" fmla="*/ 2558968 w 2804294"/>
              <a:gd name="connsiteY13-4140" fmla="*/ 11151 h 1931750"/>
              <a:gd name="connsiteX14-4141" fmla="*/ 2525514 w 2804294"/>
              <a:gd name="connsiteY14-4142" fmla="*/ 100361 h 1931750"/>
              <a:gd name="connsiteX15-4143" fmla="*/ 2414002 w 2804294"/>
              <a:gd name="connsiteY15-4144" fmla="*/ 66907 h 1931750"/>
              <a:gd name="connsiteX16-4145" fmla="*/ 2369397 w 2804294"/>
              <a:gd name="connsiteY16-4146" fmla="*/ 100361 h 1931750"/>
              <a:gd name="connsiteX17-4147" fmla="*/ 2291338 w 2804294"/>
              <a:gd name="connsiteY17-4148" fmla="*/ 100361 h 1931750"/>
              <a:gd name="connsiteX18-4149" fmla="*/ 2291338 w 2804294"/>
              <a:gd name="connsiteY18-4150" fmla="*/ 100361 h 1931750"/>
              <a:gd name="connsiteX19-4151" fmla="*/ 2213280 w 2804294"/>
              <a:gd name="connsiteY19-4152" fmla="*/ 144966 h 1931750"/>
              <a:gd name="connsiteX20-4153" fmla="*/ 2135221 w 2804294"/>
              <a:gd name="connsiteY20-4154" fmla="*/ 178419 h 1931750"/>
              <a:gd name="connsiteX21-4155" fmla="*/ 2079465 w 2804294"/>
              <a:gd name="connsiteY21-4156" fmla="*/ 178419 h 1931750"/>
              <a:gd name="connsiteX22-4157" fmla="*/ 2079465 w 2804294"/>
              <a:gd name="connsiteY22-4158" fmla="*/ 178419 h 1931750"/>
              <a:gd name="connsiteX23-4159" fmla="*/ 2079465 w 2804294"/>
              <a:gd name="connsiteY23-4160" fmla="*/ 334536 h 1931750"/>
              <a:gd name="connsiteX24-4161" fmla="*/ 1945651 w 2804294"/>
              <a:gd name="connsiteY24-4162" fmla="*/ 312234 h 1931750"/>
              <a:gd name="connsiteX25-4163" fmla="*/ 1856441 w 2804294"/>
              <a:gd name="connsiteY25-4164" fmla="*/ 367990 h 1931750"/>
              <a:gd name="connsiteX26-4165" fmla="*/ 1744929 w 2804294"/>
              <a:gd name="connsiteY26-4166" fmla="*/ 401444 h 1931750"/>
              <a:gd name="connsiteX27-4167" fmla="*/ 1689173 w 2804294"/>
              <a:gd name="connsiteY27-4168" fmla="*/ 356839 h 1931750"/>
              <a:gd name="connsiteX28-4169" fmla="*/ 1655719 w 2804294"/>
              <a:gd name="connsiteY28-4170" fmla="*/ 390292 h 1931750"/>
              <a:gd name="connsiteX29-4171" fmla="*/ 1577660 w 2804294"/>
              <a:gd name="connsiteY29-4172" fmla="*/ 446048 h 1931750"/>
              <a:gd name="connsiteX30-4173" fmla="*/ 1466148 w 2804294"/>
              <a:gd name="connsiteY30-4174" fmla="*/ 434897 h 1931750"/>
              <a:gd name="connsiteX31-4175" fmla="*/ 1231973 w 2804294"/>
              <a:gd name="connsiteY31-4176" fmla="*/ 568712 h 1931750"/>
              <a:gd name="connsiteX32-4177" fmla="*/ 1109309 w 2804294"/>
              <a:gd name="connsiteY32-4178" fmla="*/ 680224 h 1931750"/>
              <a:gd name="connsiteX33-4179" fmla="*/ 640958 w 2804294"/>
              <a:gd name="connsiteY33-4180" fmla="*/ 802887 h 1931750"/>
              <a:gd name="connsiteX34-4181" fmla="*/ 574051 w 2804294"/>
              <a:gd name="connsiteY34-4182" fmla="*/ 858644 h 1931750"/>
              <a:gd name="connsiteX35-4183" fmla="*/ 440236 w 2804294"/>
              <a:gd name="connsiteY35-4184" fmla="*/ 1182029 h 1931750"/>
              <a:gd name="connsiteX36-4185" fmla="*/ 128002 w 2804294"/>
              <a:gd name="connsiteY36-4186" fmla="*/ 1349297 h 1931750"/>
              <a:gd name="connsiteX37-4187" fmla="*/ 105699 w 2804294"/>
              <a:gd name="connsiteY37-4188" fmla="*/ 1494263 h 1931750"/>
              <a:gd name="connsiteX38-4189" fmla="*/ 27641 w 2804294"/>
              <a:gd name="connsiteY38-4190" fmla="*/ 1605775 h 1931750"/>
              <a:gd name="connsiteX39-4191" fmla="*/ 5338 w 2804294"/>
              <a:gd name="connsiteY39-4192" fmla="*/ 1839951 h 1931750"/>
              <a:gd name="connsiteX40-4193" fmla="*/ 1063 w 2804294"/>
              <a:gd name="connsiteY40-4194" fmla="*/ 1798862 h 1931750"/>
              <a:gd name="connsiteX41-4195" fmla="*/ 17008 w 2804294"/>
              <a:gd name="connsiteY41-4196" fmla="*/ 1851538 h 1931750"/>
              <a:gd name="connsiteX42-4197" fmla="*/ 128636 w 2804294"/>
              <a:gd name="connsiteY42-4198" fmla="*/ 1852185 h 1931750"/>
              <a:gd name="connsiteX43-4199" fmla="*/ 21003 w 2804294"/>
              <a:gd name="connsiteY43-4200" fmla="*/ 1847974 h 1931750"/>
              <a:gd name="connsiteX44-4201" fmla="*/ 254653 w 2804294"/>
              <a:gd name="connsiteY44-4202" fmla="*/ 1851172 h 1931750"/>
              <a:gd name="connsiteX45-4203" fmla="*/ 261973 w 2804294"/>
              <a:gd name="connsiteY45-4204" fmla="*/ 1852146 h 1931750"/>
              <a:gd name="connsiteX46-4205" fmla="*/ 465375 w 2804294"/>
              <a:gd name="connsiteY46-4206" fmla="*/ 1870916 h 1931750"/>
              <a:gd name="connsiteX47-4207" fmla="*/ 588530 w 2804294"/>
              <a:gd name="connsiteY47-4208" fmla="*/ 1851880 h 1931750"/>
              <a:gd name="connsiteX0-4209" fmla="*/ 588530 w 2804294"/>
              <a:gd name="connsiteY0-4210" fmla="*/ 1851880 h 1931750"/>
              <a:gd name="connsiteX1-4211" fmla="*/ 941719 w 2804294"/>
              <a:gd name="connsiteY1-4212" fmla="*/ 1860945 h 1931750"/>
              <a:gd name="connsiteX2-4213" fmla="*/ 964343 w 2804294"/>
              <a:gd name="connsiteY2-4214" fmla="*/ 1427356 h 1931750"/>
              <a:gd name="connsiteX3-4215" fmla="*/ 2079465 w 2804294"/>
              <a:gd name="connsiteY3-4216" fmla="*/ 1416205 h 1931750"/>
              <a:gd name="connsiteX4-4217" fmla="*/ 2068314 w 2804294"/>
              <a:gd name="connsiteY4-4218" fmla="*/ 568712 h 1931750"/>
              <a:gd name="connsiteX5-4219" fmla="*/ 2224431 w 2804294"/>
              <a:gd name="connsiteY5-4220" fmla="*/ 468351 h 1931750"/>
              <a:gd name="connsiteX6-4221" fmla="*/ 2570119 w 2804294"/>
              <a:gd name="connsiteY6-4222" fmla="*/ 289931 h 1931750"/>
              <a:gd name="connsiteX7-4223" fmla="*/ 2804294 w 2804294"/>
              <a:gd name="connsiteY7-4224" fmla="*/ 301083 h 1931750"/>
              <a:gd name="connsiteX8-4225" fmla="*/ 2804294 w 2804294"/>
              <a:gd name="connsiteY8-4226" fmla="*/ 133814 h 1931750"/>
              <a:gd name="connsiteX9-4227" fmla="*/ 2759690 w 2804294"/>
              <a:gd name="connsiteY9-4228" fmla="*/ 55756 h 1931750"/>
              <a:gd name="connsiteX10-4229" fmla="*/ 2748538 w 2804294"/>
              <a:gd name="connsiteY10-4230" fmla="*/ 22302 h 1931750"/>
              <a:gd name="connsiteX11-4231" fmla="*/ 2692782 w 2804294"/>
              <a:gd name="connsiteY11-4232" fmla="*/ 0 h 1931750"/>
              <a:gd name="connsiteX12-4233" fmla="*/ 2681631 w 2804294"/>
              <a:gd name="connsiteY12-4234" fmla="*/ 44605 h 1931750"/>
              <a:gd name="connsiteX13-4235" fmla="*/ 2558968 w 2804294"/>
              <a:gd name="connsiteY13-4236" fmla="*/ 11151 h 1931750"/>
              <a:gd name="connsiteX14-4237" fmla="*/ 2525514 w 2804294"/>
              <a:gd name="connsiteY14-4238" fmla="*/ 100361 h 1931750"/>
              <a:gd name="connsiteX15-4239" fmla="*/ 2414002 w 2804294"/>
              <a:gd name="connsiteY15-4240" fmla="*/ 66907 h 1931750"/>
              <a:gd name="connsiteX16-4241" fmla="*/ 2369397 w 2804294"/>
              <a:gd name="connsiteY16-4242" fmla="*/ 100361 h 1931750"/>
              <a:gd name="connsiteX17-4243" fmla="*/ 2291338 w 2804294"/>
              <a:gd name="connsiteY17-4244" fmla="*/ 100361 h 1931750"/>
              <a:gd name="connsiteX18-4245" fmla="*/ 2291338 w 2804294"/>
              <a:gd name="connsiteY18-4246" fmla="*/ 100361 h 1931750"/>
              <a:gd name="connsiteX19-4247" fmla="*/ 2213280 w 2804294"/>
              <a:gd name="connsiteY19-4248" fmla="*/ 144966 h 1931750"/>
              <a:gd name="connsiteX20-4249" fmla="*/ 2135221 w 2804294"/>
              <a:gd name="connsiteY20-4250" fmla="*/ 178419 h 1931750"/>
              <a:gd name="connsiteX21-4251" fmla="*/ 2079465 w 2804294"/>
              <a:gd name="connsiteY21-4252" fmla="*/ 178419 h 1931750"/>
              <a:gd name="connsiteX22-4253" fmla="*/ 2079465 w 2804294"/>
              <a:gd name="connsiteY22-4254" fmla="*/ 178419 h 1931750"/>
              <a:gd name="connsiteX23-4255" fmla="*/ 2079465 w 2804294"/>
              <a:gd name="connsiteY23-4256" fmla="*/ 334536 h 1931750"/>
              <a:gd name="connsiteX24-4257" fmla="*/ 1945651 w 2804294"/>
              <a:gd name="connsiteY24-4258" fmla="*/ 312234 h 1931750"/>
              <a:gd name="connsiteX25-4259" fmla="*/ 1856441 w 2804294"/>
              <a:gd name="connsiteY25-4260" fmla="*/ 367990 h 1931750"/>
              <a:gd name="connsiteX26-4261" fmla="*/ 1744929 w 2804294"/>
              <a:gd name="connsiteY26-4262" fmla="*/ 401444 h 1931750"/>
              <a:gd name="connsiteX27-4263" fmla="*/ 1689173 w 2804294"/>
              <a:gd name="connsiteY27-4264" fmla="*/ 356839 h 1931750"/>
              <a:gd name="connsiteX28-4265" fmla="*/ 1655719 w 2804294"/>
              <a:gd name="connsiteY28-4266" fmla="*/ 390292 h 1931750"/>
              <a:gd name="connsiteX29-4267" fmla="*/ 1577660 w 2804294"/>
              <a:gd name="connsiteY29-4268" fmla="*/ 446048 h 1931750"/>
              <a:gd name="connsiteX30-4269" fmla="*/ 1466148 w 2804294"/>
              <a:gd name="connsiteY30-4270" fmla="*/ 434897 h 1931750"/>
              <a:gd name="connsiteX31-4271" fmla="*/ 1231973 w 2804294"/>
              <a:gd name="connsiteY31-4272" fmla="*/ 568712 h 1931750"/>
              <a:gd name="connsiteX32-4273" fmla="*/ 1109309 w 2804294"/>
              <a:gd name="connsiteY32-4274" fmla="*/ 680224 h 1931750"/>
              <a:gd name="connsiteX33-4275" fmla="*/ 640958 w 2804294"/>
              <a:gd name="connsiteY33-4276" fmla="*/ 802887 h 1931750"/>
              <a:gd name="connsiteX34-4277" fmla="*/ 574051 w 2804294"/>
              <a:gd name="connsiteY34-4278" fmla="*/ 858644 h 1931750"/>
              <a:gd name="connsiteX35-4279" fmla="*/ 440236 w 2804294"/>
              <a:gd name="connsiteY35-4280" fmla="*/ 1182029 h 1931750"/>
              <a:gd name="connsiteX36-4281" fmla="*/ 128002 w 2804294"/>
              <a:gd name="connsiteY36-4282" fmla="*/ 1349297 h 1931750"/>
              <a:gd name="connsiteX37-4283" fmla="*/ 105699 w 2804294"/>
              <a:gd name="connsiteY37-4284" fmla="*/ 1494263 h 1931750"/>
              <a:gd name="connsiteX38-4285" fmla="*/ 27641 w 2804294"/>
              <a:gd name="connsiteY38-4286" fmla="*/ 1605775 h 1931750"/>
              <a:gd name="connsiteX39-4287" fmla="*/ 5338 w 2804294"/>
              <a:gd name="connsiteY39-4288" fmla="*/ 1839951 h 1931750"/>
              <a:gd name="connsiteX40-4289" fmla="*/ 1063 w 2804294"/>
              <a:gd name="connsiteY40-4290" fmla="*/ 1798862 h 1931750"/>
              <a:gd name="connsiteX41-4291" fmla="*/ 17008 w 2804294"/>
              <a:gd name="connsiteY41-4292" fmla="*/ 1851538 h 1931750"/>
              <a:gd name="connsiteX42-4293" fmla="*/ 128636 w 2804294"/>
              <a:gd name="connsiteY42-4294" fmla="*/ 1852185 h 1931750"/>
              <a:gd name="connsiteX43-4295" fmla="*/ 21003 w 2804294"/>
              <a:gd name="connsiteY43-4296" fmla="*/ 1847974 h 1931750"/>
              <a:gd name="connsiteX44-4297" fmla="*/ 254653 w 2804294"/>
              <a:gd name="connsiteY44-4298" fmla="*/ 1851172 h 1931750"/>
              <a:gd name="connsiteX45-4299" fmla="*/ 261973 w 2804294"/>
              <a:gd name="connsiteY45-4300" fmla="*/ 1852146 h 1931750"/>
              <a:gd name="connsiteX46-4301" fmla="*/ 465375 w 2804294"/>
              <a:gd name="connsiteY46-4302" fmla="*/ 1870916 h 1931750"/>
              <a:gd name="connsiteX47-4303" fmla="*/ 588530 w 2804294"/>
              <a:gd name="connsiteY47-4304" fmla="*/ 1851880 h 1931750"/>
              <a:gd name="connsiteX0-4305" fmla="*/ 588466 w 2804294"/>
              <a:gd name="connsiteY0-4306" fmla="*/ 1922976 h 1931750"/>
              <a:gd name="connsiteX1-4307" fmla="*/ 941719 w 2804294"/>
              <a:gd name="connsiteY1-4308" fmla="*/ 1860945 h 1931750"/>
              <a:gd name="connsiteX2-4309" fmla="*/ 964343 w 2804294"/>
              <a:gd name="connsiteY2-4310" fmla="*/ 1427356 h 1931750"/>
              <a:gd name="connsiteX3-4311" fmla="*/ 2079465 w 2804294"/>
              <a:gd name="connsiteY3-4312" fmla="*/ 1416205 h 1931750"/>
              <a:gd name="connsiteX4-4313" fmla="*/ 2068314 w 2804294"/>
              <a:gd name="connsiteY4-4314" fmla="*/ 568712 h 1931750"/>
              <a:gd name="connsiteX5-4315" fmla="*/ 2224431 w 2804294"/>
              <a:gd name="connsiteY5-4316" fmla="*/ 468351 h 1931750"/>
              <a:gd name="connsiteX6-4317" fmla="*/ 2570119 w 2804294"/>
              <a:gd name="connsiteY6-4318" fmla="*/ 289931 h 1931750"/>
              <a:gd name="connsiteX7-4319" fmla="*/ 2804294 w 2804294"/>
              <a:gd name="connsiteY7-4320" fmla="*/ 301083 h 1931750"/>
              <a:gd name="connsiteX8-4321" fmla="*/ 2804294 w 2804294"/>
              <a:gd name="connsiteY8-4322" fmla="*/ 133814 h 1931750"/>
              <a:gd name="connsiteX9-4323" fmla="*/ 2759690 w 2804294"/>
              <a:gd name="connsiteY9-4324" fmla="*/ 55756 h 1931750"/>
              <a:gd name="connsiteX10-4325" fmla="*/ 2748538 w 2804294"/>
              <a:gd name="connsiteY10-4326" fmla="*/ 22302 h 1931750"/>
              <a:gd name="connsiteX11-4327" fmla="*/ 2692782 w 2804294"/>
              <a:gd name="connsiteY11-4328" fmla="*/ 0 h 1931750"/>
              <a:gd name="connsiteX12-4329" fmla="*/ 2681631 w 2804294"/>
              <a:gd name="connsiteY12-4330" fmla="*/ 44605 h 1931750"/>
              <a:gd name="connsiteX13-4331" fmla="*/ 2558968 w 2804294"/>
              <a:gd name="connsiteY13-4332" fmla="*/ 11151 h 1931750"/>
              <a:gd name="connsiteX14-4333" fmla="*/ 2525514 w 2804294"/>
              <a:gd name="connsiteY14-4334" fmla="*/ 100361 h 1931750"/>
              <a:gd name="connsiteX15-4335" fmla="*/ 2414002 w 2804294"/>
              <a:gd name="connsiteY15-4336" fmla="*/ 66907 h 1931750"/>
              <a:gd name="connsiteX16-4337" fmla="*/ 2369397 w 2804294"/>
              <a:gd name="connsiteY16-4338" fmla="*/ 100361 h 1931750"/>
              <a:gd name="connsiteX17-4339" fmla="*/ 2291338 w 2804294"/>
              <a:gd name="connsiteY17-4340" fmla="*/ 100361 h 1931750"/>
              <a:gd name="connsiteX18-4341" fmla="*/ 2291338 w 2804294"/>
              <a:gd name="connsiteY18-4342" fmla="*/ 100361 h 1931750"/>
              <a:gd name="connsiteX19-4343" fmla="*/ 2213280 w 2804294"/>
              <a:gd name="connsiteY19-4344" fmla="*/ 144966 h 1931750"/>
              <a:gd name="connsiteX20-4345" fmla="*/ 2135221 w 2804294"/>
              <a:gd name="connsiteY20-4346" fmla="*/ 178419 h 1931750"/>
              <a:gd name="connsiteX21-4347" fmla="*/ 2079465 w 2804294"/>
              <a:gd name="connsiteY21-4348" fmla="*/ 178419 h 1931750"/>
              <a:gd name="connsiteX22-4349" fmla="*/ 2079465 w 2804294"/>
              <a:gd name="connsiteY22-4350" fmla="*/ 178419 h 1931750"/>
              <a:gd name="connsiteX23-4351" fmla="*/ 2079465 w 2804294"/>
              <a:gd name="connsiteY23-4352" fmla="*/ 334536 h 1931750"/>
              <a:gd name="connsiteX24-4353" fmla="*/ 1945651 w 2804294"/>
              <a:gd name="connsiteY24-4354" fmla="*/ 312234 h 1931750"/>
              <a:gd name="connsiteX25-4355" fmla="*/ 1856441 w 2804294"/>
              <a:gd name="connsiteY25-4356" fmla="*/ 367990 h 1931750"/>
              <a:gd name="connsiteX26-4357" fmla="*/ 1744929 w 2804294"/>
              <a:gd name="connsiteY26-4358" fmla="*/ 401444 h 1931750"/>
              <a:gd name="connsiteX27-4359" fmla="*/ 1689173 w 2804294"/>
              <a:gd name="connsiteY27-4360" fmla="*/ 356839 h 1931750"/>
              <a:gd name="connsiteX28-4361" fmla="*/ 1655719 w 2804294"/>
              <a:gd name="connsiteY28-4362" fmla="*/ 390292 h 1931750"/>
              <a:gd name="connsiteX29-4363" fmla="*/ 1577660 w 2804294"/>
              <a:gd name="connsiteY29-4364" fmla="*/ 446048 h 1931750"/>
              <a:gd name="connsiteX30-4365" fmla="*/ 1466148 w 2804294"/>
              <a:gd name="connsiteY30-4366" fmla="*/ 434897 h 1931750"/>
              <a:gd name="connsiteX31-4367" fmla="*/ 1231973 w 2804294"/>
              <a:gd name="connsiteY31-4368" fmla="*/ 568712 h 1931750"/>
              <a:gd name="connsiteX32-4369" fmla="*/ 1109309 w 2804294"/>
              <a:gd name="connsiteY32-4370" fmla="*/ 680224 h 1931750"/>
              <a:gd name="connsiteX33-4371" fmla="*/ 640958 w 2804294"/>
              <a:gd name="connsiteY33-4372" fmla="*/ 802887 h 1931750"/>
              <a:gd name="connsiteX34-4373" fmla="*/ 574051 w 2804294"/>
              <a:gd name="connsiteY34-4374" fmla="*/ 858644 h 1931750"/>
              <a:gd name="connsiteX35-4375" fmla="*/ 440236 w 2804294"/>
              <a:gd name="connsiteY35-4376" fmla="*/ 1182029 h 1931750"/>
              <a:gd name="connsiteX36-4377" fmla="*/ 128002 w 2804294"/>
              <a:gd name="connsiteY36-4378" fmla="*/ 1349297 h 1931750"/>
              <a:gd name="connsiteX37-4379" fmla="*/ 105699 w 2804294"/>
              <a:gd name="connsiteY37-4380" fmla="*/ 1494263 h 1931750"/>
              <a:gd name="connsiteX38-4381" fmla="*/ 27641 w 2804294"/>
              <a:gd name="connsiteY38-4382" fmla="*/ 1605775 h 1931750"/>
              <a:gd name="connsiteX39-4383" fmla="*/ 5338 w 2804294"/>
              <a:gd name="connsiteY39-4384" fmla="*/ 1839951 h 1931750"/>
              <a:gd name="connsiteX40-4385" fmla="*/ 1063 w 2804294"/>
              <a:gd name="connsiteY40-4386" fmla="*/ 1798862 h 1931750"/>
              <a:gd name="connsiteX41-4387" fmla="*/ 17008 w 2804294"/>
              <a:gd name="connsiteY41-4388" fmla="*/ 1851538 h 1931750"/>
              <a:gd name="connsiteX42-4389" fmla="*/ 128636 w 2804294"/>
              <a:gd name="connsiteY42-4390" fmla="*/ 1852185 h 1931750"/>
              <a:gd name="connsiteX43-4391" fmla="*/ 21003 w 2804294"/>
              <a:gd name="connsiteY43-4392" fmla="*/ 1847974 h 1931750"/>
              <a:gd name="connsiteX44-4393" fmla="*/ 254653 w 2804294"/>
              <a:gd name="connsiteY44-4394" fmla="*/ 1851172 h 1931750"/>
              <a:gd name="connsiteX45-4395" fmla="*/ 261973 w 2804294"/>
              <a:gd name="connsiteY45-4396" fmla="*/ 1852146 h 1931750"/>
              <a:gd name="connsiteX46-4397" fmla="*/ 465375 w 2804294"/>
              <a:gd name="connsiteY46-4398" fmla="*/ 1870916 h 1931750"/>
              <a:gd name="connsiteX47-4399" fmla="*/ 588466 w 2804294"/>
              <a:gd name="connsiteY47-4400" fmla="*/ 1922976 h 1931750"/>
              <a:gd name="connsiteX0-4401" fmla="*/ 588466 w 2804294"/>
              <a:gd name="connsiteY0-4402" fmla="*/ 1922976 h 1974599"/>
              <a:gd name="connsiteX1-4403" fmla="*/ 941719 w 2804294"/>
              <a:gd name="connsiteY1-4404" fmla="*/ 1860945 h 1974599"/>
              <a:gd name="connsiteX2-4405" fmla="*/ 964343 w 2804294"/>
              <a:gd name="connsiteY2-4406" fmla="*/ 1427356 h 1974599"/>
              <a:gd name="connsiteX3-4407" fmla="*/ 2079465 w 2804294"/>
              <a:gd name="connsiteY3-4408" fmla="*/ 1416205 h 1974599"/>
              <a:gd name="connsiteX4-4409" fmla="*/ 2068314 w 2804294"/>
              <a:gd name="connsiteY4-4410" fmla="*/ 568712 h 1974599"/>
              <a:gd name="connsiteX5-4411" fmla="*/ 2224431 w 2804294"/>
              <a:gd name="connsiteY5-4412" fmla="*/ 468351 h 1974599"/>
              <a:gd name="connsiteX6-4413" fmla="*/ 2570119 w 2804294"/>
              <a:gd name="connsiteY6-4414" fmla="*/ 289931 h 1974599"/>
              <a:gd name="connsiteX7-4415" fmla="*/ 2804294 w 2804294"/>
              <a:gd name="connsiteY7-4416" fmla="*/ 301083 h 1974599"/>
              <a:gd name="connsiteX8-4417" fmla="*/ 2804294 w 2804294"/>
              <a:gd name="connsiteY8-4418" fmla="*/ 133814 h 1974599"/>
              <a:gd name="connsiteX9-4419" fmla="*/ 2759690 w 2804294"/>
              <a:gd name="connsiteY9-4420" fmla="*/ 55756 h 1974599"/>
              <a:gd name="connsiteX10-4421" fmla="*/ 2748538 w 2804294"/>
              <a:gd name="connsiteY10-4422" fmla="*/ 22302 h 1974599"/>
              <a:gd name="connsiteX11-4423" fmla="*/ 2692782 w 2804294"/>
              <a:gd name="connsiteY11-4424" fmla="*/ 0 h 1974599"/>
              <a:gd name="connsiteX12-4425" fmla="*/ 2681631 w 2804294"/>
              <a:gd name="connsiteY12-4426" fmla="*/ 44605 h 1974599"/>
              <a:gd name="connsiteX13-4427" fmla="*/ 2558968 w 2804294"/>
              <a:gd name="connsiteY13-4428" fmla="*/ 11151 h 1974599"/>
              <a:gd name="connsiteX14-4429" fmla="*/ 2525514 w 2804294"/>
              <a:gd name="connsiteY14-4430" fmla="*/ 100361 h 1974599"/>
              <a:gd name="connsiteX15-4431" fmla="*/ 2414002 w 2804294"/>
              <a:gd name="connsiteY15-4432" fmla="*/ 66907 h 1974599"/>
              <a:gd name="connsiteX16-4433" fmla="*/ 2369397 w 2804294"/>
              <a:gd name="connsiteY16-4434" fmla="*/ 100361 h 1974599"/>
              <a:gd name="connsiteX17-4435" fmla="*/ 2291338 w 2804294"/>
              <a:gd name="connsiteY17-4436" fmla="*/ 100361 h 1974599"/>
              <a:gd name="connsiteX18-4437" fmla="*/ 2291338 w 2804294"/>
              <a:gd name="connsiteY18-4438" fmla="*/ 100361 h 1974599"/>
              <a:gd name="connsiteX19-4439" fmla="*/ 2213280 w 2804294"/>
              <a:gd name="connsiteY19-4440" fmla="*/ 144966 h 1974599"/>
              <a:gd name="connsiteX20-4441" fmla="*/ 2135221 w 2804294"/>
              <a:gd name="connsiteY20-4442" fmla="*/ 178419 h 1974599"/>
              <a:gd name="connsiteX21-4443" fmla="*/ 2079465 w 2804294"/>
              <a:gd name="connsiteY21-4444" fmla="*/ 178419 h 1974599"/>
              <a:gd name="connsiteX22-4445" fmla="*/ 2079465 w 2804294"/>
              <a:gd name="connsiteY22-4446" fmla="*/ 178419 h 1974599"/>
              <a:gd name="connsiteX23-4447" fmla="*/ 2079465 w 2804294"/>
              <a:gd name="connsiteY23-4448" fmla="*/ 334536 h 1974599"/>
              <a:gd name="connsiteX24-4449" fmla="*/ 1945651 w 2804294"/>
              <a:gd name="connsiteY24-4450" fmla="*/ 312234 h 1974599"/>
              <a:gd name="connsiteX25-4451" fmla="*/ 1856441 w 2804294"/>
              <a:gd name="connsiteY25-4452" fmla="*/ 367990 h 1974599"/>
              <a:gd name="connsiteX26-4453" fmla="*/ 1744929 w 2804294"/>
              <a:gd name="connsiteY26-4454" fmla="*/ 401444 h 1974599"/>
              <a:gd name="connsiteX27-4455" fmla="*/ 1689173 w 2804294"/>
              <a:gd name="connsiteY27-4456" fmla="*/ 356839 h 1974599"/>
              <a:gd name="connsiteX28-4457" fmla="*/ 1655719 w 2804294"/>
              <a:gd name="connsiteY28-4458" fmla="*/ 390292 h 1974599"/>
              <a:gd name="connsiteX29-4459" fmla="*/ 1577660 w 2804294"/>
              <a:gd name="connsiteY29-4460" fmla="*/ 446048 h 1974599"/>
              <a:gd name="connsiteX30-4461" fmla="*/ 1466148 w 2804294"/>
              <a:gd name="connsiteY30-4462" fmla="*/ 434897 h 1974599"/>
              <a:gd name="connsiteX31-4463" fmla="*/ 1231973 w 2804294"/>
              <a:gd name="connsiteY31-4464" fmla="*/ 568712 h 1974599"/>
              <a:gd name="connsiteX32-4465" fmla="*/ 1109309 w 2804294"/>
              <a:gd name="connsiteY32-4466" fmla="*/ 680224 h 1974599"/>
              <a:gd name="connsiteX33-4467" fmla="*/ 640958 w 2804294"/>
              <a:gd name="connsiteY33-4468" fmla="*/ 802887 h 1974599"/>
              <a:gd name="connsiteX34-4469" fmla="*/ 574051 w 2804294"/>
              <a:gd name="connsiteY34-4470" fmla="*/ 858644 h 1974599"/>
              <a:gd name="connsiteX35-4471" fmla="*/ 440236 w 2804294"/>
              <a:gd name="connsiteY35-4472" fmla="*/ 1182029 h 1974599"/>
              <a:gd name="connsiteX36-4473" fmla="*/ 128002 w 2804294"/>
              <a:gd name="connsiteY36-4474" fmla="*/ 1349297 h 1974599"/>
              <a:gd name="connsiteX37-4475" fmla="*/ 105699 w 2804294"/>
              <a:gd name="connsiteY37-4476" fmla="*/ 1494263 h 1974599"/>
              <a:gd name="connsiteX38-4477" fmla="*/ 27641 w 2804294"/>
              <a:gd name="connsiteY38-4478" fmla="*/ 1605775 h 1974599"/>
              <a:gd name="connsiteX39-4479" fmla="*/ 5338 w 2804294"/>
              <a:gd name="connsiteY39-4480" fmla="*/ 1839951 h 1974599"/>
              <a:gd name="connsiteX40-4481" fmla="*/ 1063 w 2804294"/>
              <a:gd name="connsiteY40-4482" fmla="*/ 1798862 h 1974599"/>
              <a:gd name="connsiteX41-4483" fmla="*/ 17008 w 2804294"/>
              <a:gd name="connsiteY41-4484" fmla="*/ 1851538 h 1974599"/>
              <a:gd name="connsiteX42-4485" fmla="*/ 128636 w 2804294"/>
              <a:gd name="connsiteY42-4486" fmla="*/ 1852185 h 1974599"/>
              <a:gd name="connsiteX43-4487" fmla="*/ 21003 w 2804294"/>
              <a:gd name="connsiteY43-4488" fmla="*/ 1847974 h 1974599"/>
              <a:gd name="connsiteX44-4489" fmla="*/ 254653 w 2804294"/>
              <a:gd name="connsiteY44-4490" fmla="*/ 1851172 h 1974599"/>
              <a:gd name="connsiteX45-4491" fmla="*/ 261973 w 2804294"/>
              <a:gd name="connsiteY45-4492" fmla="*/ 1852146 h 1974599"/>
              <a:gd name="connsiteX46-4493" fmla="*/ 251002 w 2804294"/>
              <a:gd name="connsiteY46-4494" fmla="*/ 1942009 h 1974599"/>
              <a:gd name="connsiteX47-4495" fmla="*/ 588466 w 2804294"/>
              <a:gd name="connsiteY47-4496" fmla="*/ 1922976 h 1974599"/>
              <a:gd name="connsiteX0-4497" fmla="*/ 588466 w 2804294"/>
              <a:gd name="connsiteY0-4498" fmla="*/ 1922976 h 1974599"/>
              <a:gd name="connsiteX1-4499" fmla="*/ 941719 w 2804294"/>
              <a:gd name="connsiteY1-4500" fmla="*/ 1860945 h 1974599"/>
              <a:gd name="connsiteX2-4501" fmla="*/ 964343 w 2804294"/>
              <a:gd name="connsiteY2-4502" fmla="*/ 1427356 h 1974599"/>
              <a:gd name="connsiteX3-4503" fmla="*/ 2079465 w 2804294"/>
              <a:gd name="connsiteY3-4504" fmla="*/ 1416205 h 1974599"/>
              <a:gd name="connsiteX4-4505" fmla="*/ 2068314 w 2804294"/>
              <a:gd name="connsiteY4-4506" fmla="*/ 568712 h 1974599"/>
              <a:gd name="connsiteX5-4507" fmla="*/ 2224431 w 2804294"/>
              <a:gd name="connsiteY5-4508" fmla="*/ 468351 h 1974599"/>
              <a:gd name="connsiteX6-4509" fmla="*/ 2570119 w 2804294"/>
              <a:gd name="connsiteY6-4510" fmla="*/ 289931 h 1974599"/>
              <a:gd name="connsiteX7-4511" fmla="*/ 2804294 w 2804294"/>
              <a:gd name="connsiteY7-4512" fmla="*/ 301083 h 1974599"/>
              <a:gd name="connsiteX8-4513" fmla="*/ 2804294 w 2804294"/>
              <a:gd name="connsiteY8-4514" fmla="*/ 133814 h 1974599"/>
              <a:gd name="connsiteX9-4515" fmla="*/ 2759690 w 2804294"/>
              <a:gd name="connsiteY9-4516" fmla="*/ 55756 h 1974599"/>
              <a:gd name="connsiteX10-4517" fmla="*/ 2748538 w 2804294"/>
              <a:gd name="connsiteY10-4518" fmla="*/ 22302 h 1974599"/>
              <a:gd name="connsiteX11-4519" fmla="*/ 2692782 w 2804294"/>
              <a:gd name="connsiteY11-4520" fmla="*/ 0 h 1974599"/>
              <a:gd name="connsiteX12-4521" fmla="*/ 2681631 w 2804294"/>
              <a:gd name="connsiteY12-4522" fmla="*/ 44605 h 1974599"/>
              <a:gd name="connsiteX13-4523" fmla="*/ 2558968 w 2804294"/>
              <a:gd name="connsiteY13-4524" fmla="*/ 11151 h 1974599"/>
              <a:gd name="connsiteX14-4525" fmla="*/ 2525514 w 2804294"/>
              <a:gd name="connsiteY14-4526" fmla="*/ 100361 h 1974599"/>
              <a:gd name="connsiteX15-4527" fmla="*/ 2414002 w 2804294"/>
              <a:gd name="connsiteY15-4528" fmla="*/ 66907 h 1974599"/>
              <a:gd name="connsiteX16-4529" fmla="*/ 2369397 w 2804294"/>
              <a:gd name="connsiteY16-4530" fmla="*/ 100361 h 1974599"/>
              <a:gd name="connsiteX17-4531" fmla="*/ 2291338 w 2804294"/>
              <a:gd name="connsiteY17-4532" fmla="*/ 100361 h 1974599"/>
              <a:gd name="connsiteX18-4533" fmla="*/ 2291338 w 2804294"/>
              <a:gd name="connsiteY18-4534" fmla="*/ 100361 h 1974599"/>
              <a:gd name="connsiteX19-4535" fmla="*/ 2213280 w 2804294"/>
              <a:gd name="connsiteY19-4536" fmla="*/ 144966 h 1974599"/>
              <a:gd name="connsiteX20-4537" fmla="*/ 2135221 w 2804294"/>
              <a:gd name="connsiteY20-4538" fmla="*/ 178419 h 1974599"/>
              <a:gd name="connsiteX21-4539" fmla="*/ 2079465 w 2804294"/>
              <a:gd name="connsiteY21-4540" fmla="*/ 178419 h 1974599"/>
              <a:gd name="connsiteX22-4541" fmla="*/ 2079465 w 2804294"/>
              <a:gd name="connsiteY22-4542" fmla="*/ 178419 h 1974599"/>
              <a:gd name="connsiteX23-4543" fmla="*/ 2079465 w 2804294"/>
              <a:gd name="connsiteY23-4544" fmla="*/ 334536 h 1974599"/>
              <a:gd name="connsiteX24-4545" fmla="*/ 1945651 w 2804294"/>
              <a:gd name="connsiteY24-4546" fmla="*/ 312234 h 1974599"/>
              <a:gd name="connsiteX25-4547" fmla="*/ 1856441 w 2804294"/>
              <a:gd name="connsiteY25-4548" fmla="*/ 367990 h 1974599"/>
              <a:gd name="connsiteX26-4549" fmla="*/ 1744929 w 2804294"/>
              <a:gd name="connsiteY26-4550" fmla="*/ 401444 h 1974599"/>
              <a:gd name="connsiteX27-4551" fmla="*/ 1689173 w 2804294"/>
              <a:gd name="connsiteY27-4552" fmla="*/ 356839 h 1974599"/>
              <a:gd name="connsiteX28-4553" fmla="*/ 1655719 w 2804294"/>
              <a:gd name="connsiteY28-4554" fmla="*/ 390292 h 1974599"/>
              <a:gd name="connsiteX29-4555" fmla="*/ 1577660 w 2804294"/>
              <a:gd name="connsiteY29-4556" fmla="*/ 446048 h 1974599"/>
              <a:gd name="connsiteX30-4557" fmla="*/ 1466148 w 2804294"/>
              <a:gd name="connsiteY30-4558" fmla="*/ 434897 h 1974599"/>
              <a:gd name="connsiteX31-4559" fmla="*/ 1231973 w 2804294"/>
              <a:gd name="connsiteY31-4560" fmla="*/ 568712 h 1974599"/>
              <a:gd name="connsiteX32-4561" fmla="*/ 1109309 w 2804294"/>
              <a:gd name="connsiteY32-4562" fmla="*/ 680224 h 1974599"/>
              <a:gd name="connsiteX33-4563" fmla="*/ 640958 w 2804294"/>
              <a:gd name="connsiteY33-4564" fmla="*/ 802887 h 1974599"/>
              <a:gd name="connsiteX34-4565" fmla="*/ 574051 w 2804294"/>
              <a:gd name="connsiteY34-4566" fmla="*/ 858644 h 1974599"/>
              <a:gd name="connsiteX35-4567" fmla="*/ 440236 w 2804294"/>
              <a:gd name="connsiteY35-4568" fmla="*/ 1182029 h 1974599"/>
              <a:gd name="connsiteX36-4569" fmla="*/ 128002 w 2804294"/>
              <a:gd name="connsiteY36-4570" fmla="*/ 1349297 h 1974599"/>
              <a:gd name="connsiteX37-4571" fmla="*/ 105699 w 2804294"/>
              <a:gd name="connsiteY37-4572" fmla="*/ 1494263 h 1974599"/>
              <a:gd name="connsiteX38-4573" fmla="*/ 27641 w 2804294"/>
              <a:gd name="connsiteY38-4574" fmla="*/ 1605775 h 1974599"/>
              <a:gd name="connsiteX39-4575" fmla="*/ 5338 w 2804294"/>
              <a:gd name="connsiteY39-4576" fmla="*/ 1839951 h 1974599"/>
              <a:gd name="connsiteX40-4577" fmla="*/ 1063 w 2804294"/>
              <a:gd name="connsiteY40-4578" fmla="*/ 1798862 h 1974599"/>
              <a:gd name="connsiteX41-4579" fmla="*/ 17008 w 2804294"/>
              <a:gd name="connsiteY41-4580" fmla="*/ 1851538 h 1974599"/>
              <a:gd name="connsiteX42-4581" fmla="*/ 128636 w 2804294"/>
              <a:gd name="connsiteY42-4582" fmla="*/ 1852185 h 1974599"/>
              <a:gd name="connsiteX43-4583" fmla="*/ 21003 w 2804294"/>
              <a:gd name="connsiteY43-4584" fmla="*/ 1847974 h 1974599"/>
              <a:gd name="connsiteX44-4585" fmla="*/ 254653 w 2804294"/>
              <a:gd name="connsiteY44-4586" fmla="*/ 1851172 h 1974599"/>
              <a:gd name="connsiteX45-4587" fmla="*/ 261945 w 2804294"/>
              <a:gd name="connsiteY45-4588" fmla="*/ 1923242 h 1974599"/>
              <a:gd name="connsiteX46-4589" fmla="*/ 251002 w 2804294"/>
              <a:gd name="connsiteY46-4590" fmla="*/ 1942009 h 1974599"/>
              <a:gd name="connsiteX47-4591" fmla="*/ 588466 w 2804294"/>
              <a:gd name="connsiteY47-4592" fmla="*/ 1922976 h 1974599"/>
              <a:gd name="connsiteX0-4593" fmla="*/ 588466 w 2804294"/>
              <a:gd name="connsiteY0-4594" fmla="*/ 1922976 h 1974599"/>
              <a:gd name="connsiteX1-4595" fmla="*/ 941719 w 2804294"/>
              <a:gd name="connsiteY1-4596" fmla="*/ 1860945 h 1974599"/>
              <a:gd name="connsiteX2-4597" fmla="*/ 964343 w 2804294"/>
              <a:gd name="connsiteY2-4598" fmla="*/ 1427356 h 1974599"/>
              <a:gd name="connsiteX3-4599" fmla="*/ 2079465 w 2804294"/>
              <a:gd name="connsiteY3-4600" fmla="*/ 1416205 h 1974599"/>
              <a:gd name="connsiteX4-4601" fmla="*/ 2068314 w 2804294"/>
              <a:gd name="connsiteY4-4602" fmla="*/ 568712 h 1974599"/>
              <a:gd name="connsiteX5-4603" fmla="*/ 2224431 w 2804294"/>
              <a:gd name="connsiteY5-4604" fmla="*/ 468351 h 1974599"/>
              <a:gd name="connsiteX6-4605" fmla="*/ 2570119 w 2804294"/>
              <a:gd name="connsiteY6-4606" fmla="*/ 289931 h 1974599"/>
              <a:gd name="connsiteX7-4607" fmla="*/ 2804294 w 2804294"/>
              <a:gd name="connsiteY7-4608" fmla="*/ 301083 h 1974599"/>
              <a:gd name="connsiteX8-4609" fmla="*/ 2804294 w 2804294"/>
              <a:gd name="connsiteY8-4610" fmla="*/ 133814 h 1974599"/>
              <a:gd name="connsiteX9-4611" fmla="*/ 2759690 w 2804294"/>
              <a:gd name="connsiteY9-4612" fmla="*/ 55756 h 1974599"/>
              <a:gd name="connsiteX10-4613" fmla="*/ 2748538 w 2804294"/>
              <a:gd name="connsiteY10-4614" fmla="*/ 22302 h 1974599"/>
              <a:gd name="connsiteX11-4615" fmla="*/ 2692782 w 2804294"/>
              <a:gd name="connsiteY11-4616" fmla="*/ 0 h 1974599"/>
              <a:gd name="connsiteX12-4617" fmla="*/ 2681631 w 2804294"/>
              <a:gd name="connsiteY12-4618" fmla="*/ 44605 h 1974599"/>
              <a:gd name="connsiteX13-4619" fmla="*/ 2558968 w 2804294"/>
              <a:gd name="connsiteY13-4620" fmla="*/ 11151 h 1974599"/>
              <a:gd name="connsiteX14-4621" fmla="*/ 2525514 w 2804294"/>
              <a:gd name="connsiteY14-4622" fmla="*/ 100361 h 1974599"/>
              <a:gd name="connsiteX15-4623" fmla="*/ 2414002 w 2804294"/>
              <a:gd name="connsiteY15-4624" fmla="*/ 66907 h 1974599"/>
              <a:gd name="connsiteX16-4625" fmla="*/ 2369397 w 2804294"/>
              <a:gd name="connsiteY16-4626" fmla="*/ 100361 h 1974599"/>
              <a:gd name="connsiteX17-4627" fmla="*/ 2291338 w 2804294"/>
              <a:gd name="connsiteY17-4628" fmla="*/ 100361 h 1974599"/>
              <a:gd name="connsiteX18-4629" fmla="*/ 2291338 w 2804294"/>
              <a:gd name="connsiteY18-4630" fmla="*/ 100361 h 1974599"/>
              <a:gd name="connsiteX19-4631" fmla="*/ 2213280 w 2804294"/>
              <a:gd name="connsiteY19-4632" fmla="*/ 144966 h 1974599"/>
              <a:gd name="connsiteX20-4633" fmla="*/ 2135221 w 2804294"/>
              <a:gd name="connsiteY20-4634" fmla="*/ 178419 h 1974599"/>
              <a:gd name="connsiteX21-4635" fmla="*/ 2079465 w 2804294"/>
              <a:gd name="connsiteY21-4636" fmla="*/ 178419 h 1974599"/>
              <a:gd name="connsiteX22-4637" fmla="*/ 2079465 w 2804294"/>
              <a:gd name="connsiteY22-4638" fmla="*/ 178419 h 1974599"/>
              <a:gd name="connsiteX23-4639" fmla="*/ 2079465 w 2804294"/>
              <a:gd name="connsiteY23-4640" fmla="*/ 334536 h 1974599"/>
              <a:gd name="connsiteX24-4641" fmla="*/ 1945651 w 2804294"/>
              <a:gd name="connsiteY24-4642" fmla="*/ 312234 h 1974599"/>
              <a:gd name="connsiteX25-4643" fmla="*/ 1856441 w 2804294"/>
              <a:gd name="connsiteY25-4644" fmla="*/ 367990 h 1974599"/>
              <a:gd name="connsiteX26-4645" fmla="*/ 1744929 w 2804294"/>
              <a:gd name="connsiteY26-4646" fmla="*/ 401444 h 1974599"/>
              <a:gd name="connsiteX27-4647" fmla="*/ 1689173 w 2804294"/>
              <a:gd name="connsiteY27-4648" fmla="*/ 356839 h 1974599"/>
              <a:gd name="connsiteX28-4649" fmla="*/ 1655719 w 2804294"/>
              <a:gd name="connsiteY28-4650" fmla="*/ 390292 h 1974599"/>
              <a:gd name="connsiteX29-4651" fmla="*/ 1577660 w 2804294"/>
              <a:gd name="connsiteY29-4652" fmla="*/ 446048 h 1974599"/>
              <a:gd name="connsiteX30-4653" fmla="*/ 1466148 w 2804294"/>
              <a:gd name="connsiteY30-4654" fmla="*/ 434897 h 1974599"/>
              <a:gd name="connsiteX31-4655" fmla="*/ 1231973 w 2804294"/>
              <a:gd name="connsiteY31-4656" fmla="*/ 568712 h 1974599"/>
              <a:gd name="connsiteX32-4657" fmla="*/ 1109309 w 2804294"/>
              <a:gd name="connsiteY32-4658" fmla="*/ 680224 h 1974599"/>
              <a:gd name="connsiteX33-4659" fmla="*/ 640958 w 2804294"/>
              <a:gd name="connsiteY33-4660" fmla="*/ 802887 h 1974599"/>
              <a:gd name="connsiteX34-4661" fmla="*/ 574051 w 2804294"/>
              <a:gd name="connsiteY34-4662" fmla="*/ 858644 h 1974599"/>
              <a:gd name="connsiteX35-4663" fmla="*/ 440236 w 2804294"/>
              <a:gd name="connsiteY35-4664" fmla="*/ 1182029 h 1974599"/>
              <a:gd name="connsiteX36-4665" fmla="*/ 128002 w 2804294"/>
              <a:gd name="connsiteY36-4666" fmla="*/ 1349297 h 1974599"/>
              <a:gd name="connsiteX37-4667" fmla="*/ 105699 w 2804294"/>
              <a:gd name="connsiteY37-4668" fmla="*/ 1494263 h 1974599"/>
              <a:gd name="connsiteX38-4669" fmla="*/ 27641 w 2804294"/>
              <a:gd name="connsiteY38-4670" fmla="*/ 1605775 h 1974599"/>
              <a:gd name="connsiteX39-4671" fmla="*/ 5338 w 2804294"/>
              <a:gd name="connsiteY39-4672" fmla="*/ 1839951 h 1974599"/>
              <a:gd name="connsiteX40-4673" fmla="*/ 1063 w 2804294"/>
              <a:gd name="connsiteY40-4674" fmla="*/ 1798862 h 1974599"/>
              <a:gd name="connsiteX41-4675" fmla="*/ 17008 w 2804294"/>
              <a:gd name="connsiteY41-4676" fmla="*/ 1851538 h 1974599"/>
              <a:gd name="connsiteX42-4677" fmla="*/ 128636 w 2804294"/>
              <a:gd name="connsiteY42-4678" fmla="*/ 1852185 h 1974599"/>
              <a:gd name="connsiteX43-4679" fmla="*/ 21003 w 2804294"/>
              <a:gd name="connsiteY43-4680" fmla="*/ 1847974 h 1974599"/>
              <a:gd name="connsiteX44-4681" fmla="*/ 254653 w 2804294"/>
              <a:gd name="connsiteY44-4682" fmla="*/ 1851172 h 1974599"/>
              <a:gd name="connsiteX45-4683" fmla="*/ 261945 w 2804294"/>
              <a:gd name="connsiteY45-4684" fmla="*/ 1923242 h 1974599"/>
              <a:gd name="connsiteX46-4685" fmla="*/ 251002 w 2804294"/>
              <a:gd name="connsiteY46-4686" fmla="*/ 1942009 h 1974599"/>
              <a:gd name="connsiteX47-4687" fmla="*/ 588466 w 2804294"/>
              <a:gd name="connsiteY47-4688" fmla="*/ 1922976 h 1974599"/>
              <a:gd name="connsiteX0-4689" fmla="*/ 588466 w 2804294"/>
              <a:gd name="connsiteY0-4690" fmla="*/ 1922976 h 1974599"/>
              <a:gd name="connsiteX1-4691" fmla="*/ 941719 w 2804294"/>
              <a:gd name="connsiteY1-4692" fmla="*/ 1860945 h 1974599"/>
              <a:gd name="connsiteX2-4693" fmla="*/ 964343 w 2804294"/>
              <a:gd name="connsiteY2-4694" fmla="*/ 1427356 h 1974599"/>
              <a:gd name="connsiteX3-4695" fmla="*/ 2079465 w 2804294"/>
              <a:gd name="connsiteY3-4696" fmla="*/ 1416205 h 1974599"/>
              <a:gd name="connsiteX4-4697" fmla="*/ 2068314 w 2804294"/>
              <a:gd name="connsiteY4-4698" fmla="*/ 568712 h 1974599"/>
              <a:gd name="connsiteX5-4699" fmla="*/ 2224431 w 2804294"/>
              <a:gd name="connsiteY5-4700" fmla="*/ 468351 h 1974599"/>
              <a:gd name="connsiteX6-4701" fmla="*/ 2570119 w 2804294"/>
              <a:gd name="connsiteY6-4702" fmla="*/ 289931 h 1974599"/>
              <a:gd name="connsiteX7-4703" fmla="*/ 2804294 w 2804294"/>
              <a:gd name="connsiteY7-4704" fmla="*/ 301083 h 1974599"/>
              <a:gd name="connsiteX8-4705" fmla="*/ 2804294 w 2804294"/>
              <a:gd name="connsiteY8-4706" fmla="*/ 133814 h 1974599"/>
              <a:gd name="connsiteX9-4707" fmla="*/ 2759690 w 2804294"/>
              <a:gd name="connsiteY9-4708" fmla="*/ 55756 h 1974599"/>
              <a:gd name="connsiteX10-4709" fmla="*/ 2748538 w 2804294"/>
              <a:gd name="connsiteY10-4710" fmla="*/ 22302 h 1974599"/>
              <a:gd name="connsiteX11-4711" fmla="*/ 2692782 w 2804294"/>
              <a:gd name="connsiteY11-4712" fmla="*/ 0 h 1974599"/>
              <a:gd name="connsiteX12-4713" fmla="*/ 2681631 w 2804294"/>
              <a:gd name="connsiteY12-4714" fmla="*/ 44605 h 1974599"/>
              <a:gd name="connsiteX13-4715" fmla="*/ 2558968 w 2804294"/>
              <a:gd name="connsiteY13-4716" fmla="*/ 11151 h 1974599"/>
              <a:gd name="connsiteX14-4717" fmla="*/ 2525514 w 2804294"/>
              <a:gd name="connsiteY14-4718" fmla="*/ 100361 h 1974599"/>
              <a:gd name="connsiteX15-4719" fmla="*/ 2414002 w 2804294"/>
              <a:gd name="connsiteY15-4720" fmla="*/ 66907 h 1974599"/>
              <a:gd name="connsiteX16-4721" fmla="*/ 2369397 w 2804294"/>
              <a:gd name="connsiteY16-4722" fmla="*/ 100361 h 1974599"/>
              <a:gd name="connsiteX17-4723" fmla="*/ 2291338 w 2804294"/>
              <a:gd name="connsiteY17-4724" fmla="*/ 100361 h 1974599"/>
              <a:gd name="connsiteX18-4725" fmla="*/ 2291338 w 2804294"/>
              <a:gd name="connsiteY18-4726" fmla="*/ 100361 h 1974599"/>
              <a:gd name="connsiteX19-4727" fmla="*/ 2213280 w 2804294"/>
              <a:gd name="connsiteY19-4728" fmla="*/ 144966 h 1974599"/>
              <a:gd name="connsiteX20-4729" fmla="*/ 2135221 w 2804294"/>
              <a:gd name="connsiteY20-4730" fmla="*/ 178419 h 1974599"/>
              <a:gd name="connsiteX21-4731" fmla="*/ 2079465 w 2804294"/>
              <a:gd name="connsiteY21-4732" fmla="*/ 178419 h 1974599"/>
              <a:gd name="connsiteX22-4733" fmla="*/ 2079465 w 2804294"/>
              <a:gd name="connsiteY22-4734" fmla="*/ 178419 h 1974599"/>
              <a:gd name="connsiteX23-4735" fmla="*/ 2079465 w 2804294"/>
              <a:gd name="connsiteY23-4736" fmla="*/ 334536 h 1974599"/>
              <a:gd name="connsiteX24-4737" fmla="*/ 1945651 w 2804294"/>
              <a:gd name="connsiteY24-4738" fmla="*/ 312234 h 1974599"/>
              <a:gd name="connsiteX25-4739" fmla="*/ 1856441 w 2804294"/>
              <a:gd name="connsiteY25-4740" fmla="*/ 367990 h 1974599"/>
              <a:gd name="connsiteX26-4741" fmla="*/ 1744929 w 2804294"/>
              <a:gd name="connsiteY26-4742" fmla="*/ 401444 h 1974599"/>
              <a:gd name="connsiteX27-4743" fmla="*/ 1689173 w 2804294"/>
              <a:gd name="connsiteY27-4744" fmla="*/ 356839 h 1974599"/>
              <a:gd name="connsiteX28-4745" fmla="*/ 1655719 w 2804294"/>
              <a:gd name="connsiteY28-4746" fmla="*/ 390292 h 1974599"/>
              <a:gd name="connsiteX29-4747" fmla="*/ 1577660 w 2804294"/>
              <a:gd name="connsiteY29-4748" fmla="*/ 446048 h 1974599"/>
              <a:gd name="connsiteX30-4749" fmla="*/ 1466148 w 2804294"/>
              <a:gd name="connsiteY30-4750" fmla="*/ 434897 h 1974599"/>
              <a:gd name="connsiteX31-4751" fmla="*/ 1231973 w 2804294"/>
              <a:gd name="connsiteY31-4752" fmla="*/ 568712 h 1974599"/>
              <a:gd name="connsiteX32-4753" fmla="*/ 1109309 w 2804294"/>
              <a:gd name="connsiteY32-4754" fmla="*/ 680224 h 1974599"/>
              <a:gd name="connsiteX33-4755" fmla="*/ 640958 w 2804294"/>
              <a:gd name="connsiteY33-4756" fmla="*/ 802887 h 1974599"/>
              <a:gd name="connsiteX34-4757" fmla="*/ 574051 w 2804294"/>
              <a:gd name="connsiteY34-4758" fmla="*/ 858644 h 1974599"/>
              <a:gd name="connsiteX35-4759" fmla="*/ 440236 w 2804294"/>
              <a:gd name="connsiteY35-4760" fmla="*/ 1182029 h 1974599"/>
              <a:gd name="connsiteX36-4761" fmla="*/ 128002 w 2804294"/>
              <a:gd name="connsiteY36-4762" fmla="*/ 1349297 h 1974599"/>
              <a:gd name="connsiteX37-4763" fmla="*/ 105699 w 2804294"/>
              <a:gd name="connsiteY37-4764" fmla="*/ 1494263 h 1974599"/>
              <a:gd name="connsiteX38-4765" fmla="*/ 27641 w 2804294"/>
              <a:gd name="connsiteY38-4766" fmla="*/ 1605775 h 1974599"/>
              <a:gd name="connsiteX39-4767" fmla="*/ 5338 w 2804294"/>
              <a:gd name="connsiteY39-4768" fmla="*/ 1839951 h 1974599"/>
              <a:gd name="connsiteX40-4769" fmla="*/ 1063 w 2804294"/>
              <a:gd name="connsiteY40-4770" fmla="*/ 1798862 h 1974599"/>
              <a:gd name="connsiteX41-4771" fmla="*/ 17008 w 2804294"/>
              <a:gd name="connsiteY41-4772" fmla="*/ 1851538 h 1974599"/>
              <a:gd name="connsiteX42-4773" fmla="*/ 128636 w 2804294"/>
              <a:gd name="connsiteY42-4774" fmla="*/ 1852185 h 1974599"/>
              <a:gd name="connsiteX43-4775" fmla="*/ 21003 w 2804294"/>
              <a:gd name="connsiteY43-4776" fmla="*/ 1847974 h 1974599"/>
              <a:gd name="connsiteX44-4777" fmla="*/ 254625 w 2804294"/>
              <a:gd name="connsiteY44-4778" fmla="*/ 1850866 h 1974599"/>
              <a:gd name="connsiteX45-4779" fmla="*/ 261945 w 2804294"/>
              <a:gd name="connsiteY45-4780" fmla="*/ 1923242 h 1974599"/>
              <a:gd name="connsiteX46-4781" fmla="*/ 251002 w 2804294"/>
              <a:gd name="connsiteY46-4782" fmla="*/ 1942009 h 1974599"/>
              <a:gd name="connsiteX47-4783" fmla="*/ 588466 w 2804294"/>
              <a:gd name="connsiteY47-4784" fmla="*/ 1922976 h 1974599"/>
              <a:gd name="connsiteX0-4785" fmla="*/ 588466 w 2804294"/>
              <a:gd name="connsiteY0-4786" fmla="*/ 1922976 h 1974599"/>
              <a:gd name="connsiteX1-4787" fmla="*/ 941719 w 2804294"/>
              <a:gd name="connsiteY1-4788" fmla="*/ 1860945 h 1974599"/>
              <a:gd name="connsiteX2-4789" fmla="*/ 964343 w 2804294"/>
              <a:gd name="connsiteY2-4790" fmla="*/ 1427356 h 1974599"/>
              <a:gd name="connsiteX3-4791" fmla="*/ 2079465 w 2804294"/>
              <a:gd name="connsiteY3-4792" fmla="*/ 1416205 h 1974599"/>
              <a:gd name="connsiteX4-4793" fmla="*/ 2068314 w 2804294"/>
              <a:gd name="connsiteY4-4794" fmla="*/ 568712 h 1974599"/>
              <a:gd name="connsiteX5-4795" fmla="*/ 2224431 w 2804294"/>
              <a:gd name="connsiteY5-4796" fmla="*/ 468351 h 1974599"/>
              <a:gd name="connsiteX6-4797" fmla="*/ 2570119 w 2804294"/>
              <a:gd name="connsiteY6-4798" fmla="*/ 289931 h 1974599"/>
              <a:gd name="connsiteX7-4799" fmla="*/ 2804294 w 2804294"/>
              <a:gd name="connsiteY7-4800" fmla="*/ 301083 h 1974599"/>
              <a:gd name="connsiteX8-4801" fmla="*/ 2804294 w 2804294"/>
              <a:gd name="connsiteY8-4802" fmla="*/ 133814 h 1974599"/>
              <a:gd name="connsiteX9-4803" fmla="*/ 2759690 w 2804294"/>
              <a:gd name="connsiteY9-4804" fmla="*/ 55756 h 1974599"/>
              <a:gd name="connsiteX10-4805" fmla="*/ 2748538 w 2804294"/>
              <a:gd name="connsiteY10-4806" fmla="*/ 22302 h 1974599"/>
              <a:gd name="connsiteX11-4807" fmla="*/ 2692782 w 2804294"/>
              <a:gd name="connsiteY11-4808" fmla="*/ 0 h 1974599"/>
              <a:gd name="connsiteX12-4809" fmla="*/ 2681631 w 2804294"/>
              <a:gd name="connsiteY12-4810" fmla="*/ 44605 h 1974599"/>
              <a:gd name="connsiteX13-4811" fmla="*/ 2558968 w 2804294"/>
              <a:gd name="connsiteY13-4812" fmla="*/ 11151 h 1974599"/>
              <a:gd name="connsiteX14-4813" fmla="*/ 2525514 w 2804294"/>
              <a:gd name="connsiteY14-4814" fmla="*/ 100361 h 1974599"/>
              <a:gd name="connsiteX15-4815" fmla="*/ 2414002 w 2804294"/>
              <a:gd name="connsiteY15-4816" fmla="*/ 66907 h 1974599"/>
              <a:gd name="connsiteX16-4817" fmla="*/ 2369397 w 2804294"/>
              <a:gd name="connsiteY16-4818" fmla="*/ 100361 h 1974599"/>
              <a:gd name="connsiteX17-4819" fmla="*/ 2291338 w 2804294"/>
              <a:gd name="connsiteY17-4820" fmla="*/ 100361 h 1974599"/>
              <a:gd name="connsiteX18-4821" fmla="*/ 2291338 w 2804294"/>
              <a:gd name="connsiteY18-4822" fmla="*/ 100361 h 1974599"/>
              <a:gd name="connsiteX19-4823" fmla="*/ 2213280 w 2804294"/>
              <a:gd name="connsiteY19-4824" fmla="*/ 144966 h 1974599"/>
              <a:gd name="connsiteX20-4825" fmla="*/ 2135221 w 2804294"/>
              <a:gd name="connsiteY20-4826" fmla="*/ 178419 h 1974599"/>
              <a:gd name="connsiteX21-4827" fmla="*/ 2079465 w 2804294"/>
              <a:gd name="connsiteY21-4828" fmla="*/ 178419 h 1974599"/>
              <a:gd name="connsiteX22-4829" fmla="*/ 2079465 w 2804294"/>
              <a:gd name="connsiteY22-4830" fmla="*/ 178419 h 1974599"/>
              <a:gd name="connsiteX23-4831" fmla="*/ 2079465 w 2804294"/>
              <a:gd name="connsiteY23-4832" fmla="*/ 334536 h 1974599"/>
              <a:gd name="connsiteX24-4833" fmla="*/ 1945651 w 2804294"/>
              <a:gd name="connsiteY24-4834" fmla="*/ 312234 h 1974599"/>
              <a:gd name="connsiteX25-4835" fmla="*/ 1856441 w 2804294"/>
              <a:gd name="connsiteY25-4836" fmla="*/ 367990 h 1974599"/>
              <a:gd name="connsiteX26-4837" fmla="*/ 1744929 w 2804294"/>
              <a:gd name="connsiteY26-4838" fmla="*/ 401444 h 1974599"/>
              <a:gd name="connsiteX27-4839" fmla="*/ 1689173 w 2804294"/>
              <a:gd name="connsiteY27-4840" fmla="*/ 356839 h 1974599"/>
              <a:gd name="connsiteX28-4841" fmla="*/ 1655719 w 2804294"/>
              <a:gd name="connsiteY28-4842" fmla="*/ 390292 h 1974599"/>
              <a:gd name="connsiteX29-4843" fmla="*/ 1577660 w 2804294"/>
              <a:gd name="connsiteY29-4844" fmla="*/ 446048 h 1974599"/>
              <a:gd name="connsiteX30-4845" fmla="*/ 1466148 w 2804294"/>
              <a:gd name="connsiteY30-4846" fmla="*/ 434897 h 1974599"/>
              <a:gd name="connsiteX31-4847" fmla="*/ 1231973 w 2804294"/>
              <a:gd name="connsiteY31-4848" fmla="*/ 568712 h 1974599"/>
              <a:gd name="connsiteX32-4849" fmla="*/ 1109309 w 2804294"/>
              <a:gd name="connsiteY32-4850" fmla="*/ 680224 h 1974599"/>
              <a:gd name="connsiteX33-4851" fmla="*/ 640958 w 2804294"/>
              <a:gd name="connsiteY33-4852" fmla="*/ 802887 h 1974599"/>
              <a:gd name="connsiteX34-4853" fmla="*/ 574051 w 2804294"/>
              <a:gd name="connsiteY34-4854" fmla="*/ 858644 h 1974599"/>
              <a:gd name="connsiteX35-4855" fmla="*/ 440236 w 2804294"/>
              <a:gd name="connsiteY35-4856" fmla="*/ 1182029 h 1974599"/>
              <a:gd name="connsiteX36-4857" fmla="*/ 128002 w 2804294"/>
              <a:gd name="connsiteY36-4858" fmla="*/ 1349297 h 1974599"/>
              <a:gd name="connsiteX37-4859" fmla="*/ 105699 w 2804294"/>
              <a:gd name="connsiteY37-4860" fmla="*/ 1494263 h 1974599"/>
              <a:gd name="connsiteX38-4861" fmla="*/ 27641 w 2804294"/>
              <a:gd name="connsiteY38-4862" fmla="*/ 1605775 h 1974599"/>
              <a:gd name="connsiteX39-4863" fmla="*/ 5338 w 2804294"/>
              <a:gd name="connsiteY39-4864" fmla="*/ 1839951 h 1974599"/>
              <a:gd name="connsiteX40-4865" fmla="*/ 1063 w 2804294"/>
              <a:gd name="connsiteY40-4866" fmla="*/ 1798862 h 1974599"/>
              <a:gd name="connsiteX41-4867" fmla="*/ 17008 w 2804294"/>
              <a:gd name="connsiteY41-4868" fmla="*/ 1851538 h 1974599"/>
              <a:gd name="connsiteX42-4869" fmla="*/ 128636 w 2804294"/>
              <a:gd name="connsiteY42-4870" fmla="*/ 1852185 h 1974599"/>
              <a:gd name="connsiteX43-4871" fmla="*/ 21003 w 2804294"/>
              <a:gd name="connsiteY43-4872" fmla="*/ 1847974 h 1974599"/>
              <a:gd name="connsiteX44-4873" fmla="*/ 254625 w 2804294"/>
              <a:gd name="connsiteY44-4874" fmla="*/ 1850866 h 1974599"/>
              <a:gd name="connsiteX45-4875" fmla="*/ 261945 w 2804294"/>
              <a:gd name="connsiteY45-4876" fmla="*/ 1923242 h 1974599"/>
              <a:gd name="connsiteX46-4877" fmla="*/ 251002 w 2804294"/>
              <a:gd name="connsiteY46-4878" fmla="*/ 1942009 h 1974599"/>
              <a:gd name="connsiteX47-4879" fmla="*/ 588466 w 2804294"/>
              <a:gd name="connsiteY47-4880" fmla="*/ 1922976 h 1974599"/>
              <a:gd name="connsiteX0-4881" fmla="*/ 588466 w 2804294"/>
              <a:gd name="connsiteY0-4882" fmla="*/ 1922976 h 1974599"/>
              <a:gd name="connsiteX1-4883" fmla="*/ 941719 w 2804294"/>
              <a:gd name="connsiteY1-4884" fmla="*/ 1860945 h 1974599"/>
              <a:gd name="connsiteX2-4885" fmla="*/ 964343 w 2804294"/>
              <a:gd name="connsiteY2-4886" fmla="*/ 1427356 h 1974599"/>
              <a:gd name="connsiteX3-4887" fmla="*/ 2079465 w 2804294"/>
              <a:gd name="connsiteY3-4888" fmla="*/ 1416205 h 1974599"/>
              <a:gd name="connsiteX4-4889" fmla="*/ 2068314 w 2804294"/>
              <a:gd name="connsiteY4-4890" fmla="*/ 568712 h 1974599"/>
              <a:gd name="connsiteX5-4891" fmla="*/ 2224431 w 2804294"/>
              <a:gd name="connsiteY5-4892" fmla="*/ 468351 h 1974599"/>
              <a:gd name="connsiteX6-4893" fmla="*/ 2570119 w 2804294"/>
              <a:gd name="connsiteY6-4894" fmla="*/ 289931 h 1974599"/>
              <a:gd name="connsiteX7-4895" fmla="*/ 2804294 w 2804294"/>
              <a:gd name="connsiteY7-4896" fmla="*/ 301083 h 1974599"/>
              <a:gd name="connsiteX8-4897" fmla="*/ 2804294 w 2804294"/>
              <a:gd name="connsiteY8-4898" fmla="*/ 133814 h 1974599"/>
              <a:gd name="connsiteX9-4899" fmla="*/ 2759690 w 2804294"/>
              <a:gd name="connsiteY9-4900" fmla="*/ 55756 h 1974599"/>
              <a:gd name="connsiteX10-4901" fmla="*/ 2748538 w 2804294"/>
              <a:gd name="connsiteY10-4902" fmla="*/ 22302 h 1974599"/>
              <a:gd name="connsiteX11-4903" fmla="*/ 2692782 w 2804294"/>
              <a:gd name="connsiteY11-4904" fmla="*/ 0 h 1974599"/>
              <a:gd name="connsiteX12-4905" fmla="*/ 2681631 w 2804294"/>
              <a:gd name="connsiteY12-4906" fmla="*/ 44605 h 1974599"/>
              <a:gd name="connsiteX13-4907" fmla="*/ 2558968 w 2804294"/>
              <a:gd name="connsiteY13-4908" fmla="*/ 11151 h 1974599"/>
              <a:gd name="connsiteX14-4909" fmla="*/ 2525514 w 2804294"/>
              <a:gd name="connsiteY14-4910" fmla="*/ 100361 h 1974599"/>
              <a:gd name="connsiteX15-4911" fmla="*/ 2414002 w 2804294"/>
              <a:gd name="connsiteY15-4912" fmla="*/ 66907 h 1974599"/>
              <a:gd name="connsiteX16-4913" fmla="*/ 2369397 w 2804294"/>
              <a:gd name="connsiteY16-4914" fmla="*/ 100361 h 1974599"/>
              <a:gd name="connsiteX17-4915" fmla="*/ 2291338 w 2804294"/>
              <a:gd name="connsiteY17-4916" fmla="*/ 100361 h 1974599"/>
              <a:gd name="connsiteX18-4917" fmla="*/ 2291338 w 2804294"/>
              <a:gd name="connsiteY18-4918" fmla="*/ 100361 h 1974599"/>
              <a:gd name="connsiteX19-4919" fmla="*/ 2213280 w 2804294"/>
              <a:gd name="connsiteY19-4920" fmla="*/ 144966 h 1974599"/>
              <a:gd name="connsiteX20-4921" fmla="*/ 2135221 w 2804294"/>
              <a:gd name="connsiteY20-4922" fmla="*/ 178419 h 1974599"/>
              <a:gd name="connsiteX21-4923" fmla="*/ 2079465 w 2804294"/>
              <a:gd name="connsiteY21-4924" fmla="*/ 178419 h 1974599"/>
              <a:gd name="connsiteX22-4925" fmla="*/ 2079465 w 2804294"/>
              <a:gd name="connsiteY22-4926" fmla="*/ 178419 h 1974599"/>
              <a:gd name="connsiteX23-4927" fmla="*/ 2079465 w 2804294"/>
              <a:gd name="connsiteY23-4928" fmla="*/ 334536 h 1974599"/>
              <a:gd name="connsiteX24-4929" fmla="*/ 1945651 w 2804294"/>
              <a:gd name="connsiteY24-4930" fmla="*/ 312234 h 1974599"/>
              <a:gd name="connsiteX25-4931" fmla="*/ 1856441 w 2804294"/>
              <a:gd name="connsiteY25-4932" fmla="*/ 367990 h 1974599"/>
              <a:gd name="connsiteX26-4933" fmla="*/ 1744929 w 2804294"/>
              <a:gd name="connsiteY26-4934" fmla="*/ 401444 h 1974599"/>
              <a:gd name="connsiteX27-4935" fmla="*/ 1689173 w 2804294"/>
              <a:gd name="connsiteY27-4936" fmla="*/ 356839 h 1974599"/>
              <a:gd name="connsiteX28-4937" fmla="*/ 1655719 w 2804294"/>
              <a:gd name="connsiteY28-4938" fmla="*/ 390292 h 1974599"/>
              <a:gd name="connsiteX29-4939" fmla="*/ 1577660 w 2804294"/>
              <a:gd name="connsiteY29-4940" fmla="*/ 446048 h 1974599"/>
              <a:gd name="connsiteX30-4941" fmla="*/ 1466148 w 2804294"/>
              <a:gd name="connsiteY30-4942" fmla="*/ 434897 h 1974599"/>
              <a:gd name="connsiteX31-4943" fmla="*/ 1231973 w 2804294"/>
              <a:gd name="connsiteY31-4944" fmla="*/ 568712 h 1974599"/>
              <a:gd name="connsiteX32-4945" fmla="*/ 1109309 w 2804294"/>
              <a:gd name="connsiteY32-4946" fmla="*/ 680224 h 1974599"/>
              <a:gd name="connsiteX33-4947" fmla="*/ 640958 w 2804294"/>
              <a:gd name="connsiteY33-4948" fmla="*/ 802887 h 1974599"/>
              <a:gd name="connsiteX34-4949" fmla="*/ 574051 w 2804294"/>
              <a:gd name="connsiteY34-4950" fmla="*/ 858644 h 1974599"/>
              <a:gd name="connsiteX35-4951" fmla="*/ 440236 w 2804294"/>
              <a:gd name="connsiteY35-4952" fmla="*/ 1182029 h 1974599"/>
              <a:gd name="connsiteX36-4953" fmla="*/ 128002 w 2804294"/>
              <a:gd name="connsiteY36-4954" fmla="*/ 1349297 h 1974599"/>
              <a:gd name="connsiteX37-4955" fmla="*/ 105699 w 2804294"/>
              <a:gd name="connsiteY37-4956" fmla="*/ 1494263 h 1974599"/>
              <a:gd name="connsiteX38-4957" fmla="*/ 27641 w 2804294"/>
              <a:gd name="connsiteY38-4958" fmla="*/ 1605775 h 1974599"/>
              <a:gd name="connsiteX39-4959" fmla="*/ 5338 w 2804294"/>
              <a:gd name="connsiteY39-4960" fmla="*/ 1839951 h 1974599"/>
              <a:gd name="connsiteX40-4961" fmla="*/ 1063 w 2804294"/>
              <a:gd name="connsiteY40-4962" fmla="*/ 1798862 h 1974599"/>
              <a:gd name="connsiteX41-4963" fmla="*/ 17008 w 2804294"/>
              <a:gd name="connsiteY41-4964" fmla="*/ 1851538 h 1974599"/>
              <a:gd name="connsiteX42-4965" fmla="*/ 128636 w 2804294"/>
              <a:gd name="connsiteY42-4966" fmla="*/ 1852185 h 1974599"/>
              <a:gd name="connsiteX43-4967" fmla="*/ 21003 w 2804294"/>
              <a:gd name="connsiteY43-4968" fmla="*/ 1847974 h 1974599"/>
              <a:gd name="connsiteX44-4969" fmla="*/ 254625 w 2804294"/>
              <a:gd name="connsiteY44-4970" fmla="*/ 1850866 h 1974599"/>
              <a:gd name="connsiteX45-4971" fmla="*/ 261945 w 2804294"/>
              <a:gd name="connsiteY45-4972" fmla="*/ 1923242 h 1974599"/>
              <a:gd name="connsiteX46-4973" fmla="*/ 251002 w 2804294"/>
              <a:gd name="connsiteY46-4974" fmla="*/ 1942009 h 1974599"/>
              <a:gd name="connsiteX47-4975" fmla="*/ 588466 w 2804294"/>
              <a:gd name="connsiteY47-4976" fmla="*/ 1922976 h 1974599"/>
              <a:gd name="connsiteX0-4977" fmla="*/ 588466 w 2804294"/>
              <a:gd name="connsiteY0-4978" fmla="*/ 1922976 h 1974599"/>
              <a:gd name="connsiteX1-4979" fmla="*/ 941719 w 2804294"/>
              <a:gd name="connsiteY1-4980" fmla="*/ 1860945 h 1974599"/>
              <a:gd name="connsiteX2-4981" fmla="*/ 964343 w 2804294"/>
              <a:gd name="connsiteY2-4982" fmla="*/ 1427356 h 1974599"/>
              <a:gd name="connsiteX3-4983" fmla="*/ 2079465 w 2804294"/>
              <a:gd name="connsiteY3-4984" fmla="*/ 1416205 h 1974599"/>
              <a:gd name="connsiteX4-4985" fmla="*/ 2068314 w 2804294"/>
              <a:gd name="connsiteY4-4986" fmla="*/ 568712 h 1974599"/>
              <a:gd name="connsiteX5-4987" fmla="*/ 2224431 w 2804294"/>
              <a:gd name="connsiteY5-4988" fmla="*/ 468351 h 1974599"/>
              <a:gd name="connsiteX6-4989" fmla="*/ 2570119 w 2804294"/>
              <a:gd name="connsiteY6-4990" fmla="*/ 289931 h 1974599"/>
              <a:gd name="connsiteX7-4991" fmla="*/ 2804294 w 2804294"/>
              <a:gd name="connsiteY7-4992" fmla="*/ 301083 h 1974599"/>
              <a:gd name="connsiteX8-4993" fmla="*/ 2804294 w 2804294"/>
              <a:gd name="connsiteY8-4994" fmla="*/ 133814 h 1974599"/>
              <a:gd name="connsiteX9-4995" fmla="*/ 2759690 w 2804294"/>
              <a:gd name="connsiteY9-4996" fmla="*/ 55756 h 1974599"/>
              <a:gd name="connsiteX10-4997" fmla="*/ 2748538 w 2804294"/>
              <a:gd name="connsiteY10-4998" fmla="*/ 22302 h 1974599"/>
              <a:gd name="connsiteX11-4999" fmla="*/ 2692782 w 2804294"/>
              <a:gd name="connsiteY11-5000" fmla="*/ 0 h 1974599"/>
              <a:gd name="connsiteX12-5001" fmla="*/ 2681631 w 2804294"/>
              <a:gd name="connsiteY12-5002" fmla="*/ 44605 h 1974599"/>
              <a:gd name="connsiteX13-5003" fmla="*/ 2558968 w 2804294"/>
              <a:gd name="connsiteY13-5004" fmla="*/ 11151 h 1974599"/>
              <a:gd name="connsiteX14-5005" fmla="*/ 2525514 w 2804294"/>
              <a:gd name="connsiteY14-5006" fmla="*/ 100361 h 1974599"/>
              <a:gd name="connsiteX15-5007" fmla="*/ 2414002 w 2804294"/>
              <a:gd name="connsiteY15-5008" fmla="*/ 66907 h 1974599"/>
              <a:gd name="connsiteX16-5009" fmla="*/ 2369397 w 2804294"/>
              <a:gd name="connsiteY16-5010" fmla="*/ 100361 h 1974599"/>
              <a:gd name="connsiteX17-5011" fmla="*/ 2291338 w 2804294"/>
              <a:gd name="connsiteY17-5012" fmla="*/ 100361 h 1974599"/>
              <a:gd name="connsiteX18-5013" fmla="*/ 2291338 w 2804294"/>
              <a:gd name="connsiteY18-5014" fmla="*/ 100361 h 1974599"/>
              <a:gd name="connsiteX19-5015" fmla="*/ 2213280 w 2804294"/>
              <a:gd name="connsiteY19-5016" fmla="*/ 144966 h 1974599"/>
              <a:gd name="connsiteX20-5017" fmla="*/ 2135221 w 2804294"/>
              <a:gd name="connsiteY20-5018" fmla="*/ 178419 h 1974599"/>
              <a:gd name="connsiteX21-5019" fmla="*/ 2079465 w 2804294"/>
              <a:gd name="connsiteY21-5020" fmla="*/ 178419 h 1974599"/>
              <a:gd name="connsiteX22-5021" fmla="*/ 2079465 w 2804294"/>
              <a:gd name="connsiteY22-5022" fmla="*/ 178419 h 1974599"/>
              <a:gd name="connsiteX23-5023" fmla="*/ 2079465 w 2804294"/>
              <a:gd name="connsiteY23-5024" fmla="*/ 334536 h 1974599"/>
              <a:gd name="connsiteX24-5025" fmla="*/ 1945651 w 2804294"/>
              <a:gd name="connsiteY24-5026" fmla="*/ 312234 h 1974599"/>
              <a:gd name="connsiteX25-5027" fmla="*/ 1856441 w 2804294"/>
              <a:gd name="connsiteY25-5028" fmla="*/ 367990 h 1974599"/>
              <a:gd name="connsiteX26-5029" fmla="*/ 1744929 w 2804294"/>
              <a:gd name="connsiteY26-5030" fmla="*/ 401444 h 1974599"/>
              <a:gd name="connsiteX27-5031" fmla="*/ 1689173 w 2804294"/>
              <a:gd name="connsiteY27-5032" fmla="*/ 356839 h 1974599"/>
              <a:gd name="connsiteX28-5033" fmla="*/ 1655719 w 2804294"/>
              <a:gd name="connsiteY28-5034" fmla="*/ 390292 h 1974599"/>
              <a:gd name="connsiteX29-5035" fmla="*/ 1577660 w 2804294"/>
              <a:gd name="connsiteY29-5036" fmla="*/ 446048 h 1974599"/>
              <a:gd name="connsiteX30-5037" fmla="*/ 1466148 w 2804294"/>
              <a:gd name="connsiteY30-5038" fmla="*/ 434897 h 1974599"/>
              <a:gd name="connsiteX31-5039" fmla="*/ 1231973 w 2804294"/>
              <a:gd name="connsiteY31-5040" fmla="*/ 568712 h 1974599"/>
              <a:gd name="connsiteX32-5041" fmla="*/ 1109309 w 2804294"/>
              <a:gd name="connsiteY32-5042" fmla="*/ 680224 h 1974599"/>
              <a:gd name="connsiteX33-5043" fmla="*/ 640958 w 2804294"/>
              <a:gd name="connsiteY33-5044" fmla="*/ 802887 h 1974599"/>
              <a:gd name="connsiteX34-5045" fmla="*/ 574051 w 2804294"/>
              <a:gd name="connsiteY34-5046" fmla="*/ 858644 h 1974599"/>
              <a:gd name="connsiteX35-5047" fmla="*/ 440236 w 2804294"/>
              <a:gd name="connsiteY35-5048" fmla="*/ 1182029 h 1974599"/>
              <a:gd name="connsiteX36-5049" fmla="*/ 128002 w 2804294"/>
              <a:gd name="connsiteY36-5050" fmla="*/ 1349297 h 1974599"/>
              <a:gd name="connsiteX37-5051" fmla="*/ 105699 w 2804294"/>
              <a:gd name="connsiteY37-5052" fmla="*/ 1494263 h 1974599"/>
              <a:gd name="connsiteX38-5053" fmla="*/ 27641 w 2804294"/>
              <a:gd name="connsiteY38-5054" fmla="*/ 1605775 h 1974599"/>
              <a:gd name="connsiteX39-5055" fmla="*/ 5338 w 2804294"/>
              <a:gd name="connsiteY39-5056" fmla="*/ 1839951 h 1974599"/>
              <a:gd name="connsiteX40-5057" fmla="*/ 1063 w 2804294"/>
              <a:gd name="connsiteY40-5058" fmla="*/ 1798862 h 1974599"/>
              <a:gd name="connsiteX41-5059" fmla="*/ 17008 w 2804294"/>
              <a:gd name="connsiteY41-5060" fmla="*/ 1851538 h 1974599"/>
              <a:gd name="connsiteX42-5061" fmla="*/ 128636 w 2804294"/>
              <a:gd name="connsiteY42-5062" fmla="*/ 1852185 h 1974599"/>
              <a:gd name="connsiteX43-5063" fmla="*/ 21003 w 2804294"/>
              <a:gd name="connsiteY43-5064" fmla="*/ 1847974 h 1974599"/>
              <a:gd name="connsiteX44-5065" fmla="*/ 254625 w 2804294"/>
              <a:gd name="connsiteY44-5066" fmla="*/ 1850866 h 1974599"/>
              <a:gd name="connsiteX45-5067" fmla="*/ 102217 w 2804294"/>
              <a:gd name="connsiteY45-5068" fmla="*/ 1847670 h 1974599"/>
              <a:gd name="connsiteX46-5069" fmla="*/ 261945 w 2804294"/>
              <a:gd name="connsiteY46-5070" fmla="*/ 1923242 h 1974599"/>
              <a:gd name="connsiteX47-5071" fmla="*/ 251002 w 2804294"/>
              <a:gd name="connsiteY47-5072" fmla="*/ 1942009 h 1974599"/>
              <a:gd name="connsiteX48-5073" fmla="*/ 588466 w 2804294"/>
              <a:gd name="connsiteY48-5074" fmla="*/ 1922976 h 1974599"/>
              <a:gd name="connsiteX0-5075" fmla="*/ 588466 w 2804294"/>
              <a:gd name="connsiteY0-5076" fmla="*/ 1922976 h 1974599"/>
              <a:gd name="connsiteX1-5077" fmla="*/ 941719 w 2804294"/>
              <a:gd name="connsiteY1-5078" fmla="*/ 1860945 h 1974599"/>
              <a:gd name="connsiteX2-5079" fmla="*/ 964343 w 2804294"/>
              <a:gd name="connsiteY2-5080" fmla="*/ 1427356 h 1974599"/>
              <a:gd name="connsiteX3-5081" fmla="*/ 2079465 w 2804294"/>
              <a:gd name="connsiteY3-5082" fmla="*/ 1416205 h 1974599"/>
              <a:gd name="connsiteX4-5083" fmla="*/ 2068314 w 2804294"/>
              <a:gd name="connsiteY4-5084" fmla="*/ 568712 h 1974599"/>
              <a:gd name="connsiteX5-5085" fmla="*/ 2224431 w 2804294"/>
              <a:gd name="connsiteY5-5086" fmla="*/ 468351 h 1974599"/>
              <a:gd name="connsiteX6-5087" fmla="*/ 2570119 w 2804294"/>
              <a:gd name="connsiteY6-5088" fmla="*/ 289931 h 1974599"/>
              <a:gd name="connsiteX7-5089" fmla="*/ 2804294 w 2804294"/>
              <a:gd name="connsiteY7-5090" fmla="*/ 301083 h 1974599"/>
              <a:gd name="connsiteX8-5091" fmla="*/ 2804294 w 2804294"/>
              <a:gd name="connsiteY8-5092" fmla="*/ 133814 h 1974599"/>
              <a:gd name="connsiteX9-5093" fmla="*/ 2759690 w 2804294"/>
              <a:gd name="connsiteY9-5094" fmla="*/ 55756 h 1974599"/>
              <a:gd name="connsiteX10-5095" fmla="*/ 2748538 w 2804294"/>
              <a:gd name="connsiteY10-5096" fmla="*/ 22302 h 1974599"/>
              <a:gd name="connsiteX11-5097" fmla="*/ 2692782 w 2804294"/>
              <a:gd name="connsiteY11-5098" fmla="*/ 0 h 1974599"/>
              <a:gd name="connsiteX12-5099" fmla="*/ 2681631 w 2804294"/>
              <a:gd name="connsiteY12-5100" fmla="*/ 44605 h 1974599"/>
              <a:gd name="connsiteX13-5101" fmla="*/ 2558968 w 2804294"/>
              <a:gd name="connsiteY13-5102" fmla="*/ 11151 h 1974599"/>
              <a:gd name="connsiteX14-5103" fmla="*/ 2525514 w 2804294"/>
              <a:gd name="connsiteY14-5104" fmla="*/ 100361 h 1974599"/>
              <a:gd name="connsiteX15-5105" fmla="*/ 2414002 w 2804294"/>
              <a:gd name="connsiteY15-5106" fmla="*/ 66907 h 1974599"/>
              <a:gd name="connsiteX16-5107" fmla="*/ 2369397 w 2804294"/>
              <a:gd name="connsiteY16-5108" fmla="*/ 100361 h 1974599"/>
              <a:gd name="connsiteX17-5109" fmla="*/ 2291338 w 2804294"/>
              <a:gd name="connsiteY17-5110" fmla="*/ 100361 h 1974599"/>
              <a:gd name="connsiteX18-5111" fmla="*/ 2291338 w 2804294"/>
              <a:gd name="connsiteY18-5112" fmla="*/ 100361 h 1974599"/>
              <a:gd name="connsiteX19-5113" fmla="*/ 2213280 w 2804294"/>
              <a:gd name="connsiteY19-5114" fmla="*/ 144966 h 1974599"/>
              <a:gd name="connsiteX20-5115" fmla="*/ 2135221 w 2804294"/>
              <a:gd name="connsiteY20-5116" fmla="*/ 178419 h 1974599"/>
              <a:gd name="connsiteX21-5117" fmla="*/ 2079465 w 2804294"/>
              <a:gd name="connsiteY21-5118" fmla="*/ 178419 h 1974599"/>
              <a:gd name="connsiteX22-5119" fmla="*/ 2079465 w 2804294"/>
              <a:gd name="connsiteY22-5120" fmla="*/ 178419 h 1974599"/>
              <a:gd name="connsiteX23-5121" fmla="*/ 2079465 w 2804294"/>
              <a:gd name="connsiteY23-5122" fmla="*/ 334536 h 1974599"/>
              <a:gd name="connsiteX24-5123" fmla="*/ 1945651 w 2804294"/>
              <a:gd name="connsiteY24-5124" fmla="*/ 312234 h 1974599"/>
              <a:gd name="connsiteX25-5125" fmla="*/ 1856441 w 2804294"/>
              <a:gd name="connsiteY25-5126" fmla="*/ 367990 h 1974599"/>
              <a:gd name="connsiteX26-5127" fmla="*/ 1744929 w 2804294"/>
              <a:gd name="connsiteY26-5128" fmla="*/ 401444 h 1974599"/>
              <a:gd name="connsiteX27-5129" fmla="*/ 1689173 w 2804294"/>
              <a:gd name="connsiteY27-5130" fmla="*/ 356839 h 1974599"/>
              <a:gd name="connsiteX28-5131" fmla="*/ 1655719 w 2804294"/>
              <a:gd name="connsiteY28-5132" fmla="*/ 390292 h 1974599"/>
              <a:gd name="connsiteX29-5133" fmla="*/ 1577660 w 2804294"/>
              <a:gd name="connsiteY29-5134" fmla="*/ 446048 h 1974599"/>
              <a:gd name="connsiteX30-5135" fmla="*/ 1466148 w 2804294"/>
              <a:gd name="connsiteY30-5136" fmla="*/ 434897 h 1974599"/>
              <a:gd name="connsiteX31-5137" fmla="*/ 1231973 w 2804294"/>
              <a:gd name="connsiteY31-5138" fmla="*/ 568712 h 1974599"/>
              <a:gd name="connsiteX32-5139" fmla="*/ 1109309 w 2804294"/>
              <a:gd name="connsiteY32-5140" fmla="*/ 680224 h 1974599"/>
              <a:gd name="connsiteX33-5141" fmla="*/ 640958 w 2804294"/>
              <a:gd name="connsiteY33-5142" fmla="*/ 802887 h 1974599"/>
              <a:gd name="connsiteX34-5143" fmla="*/ 574051 w 2804294"/>
              <a:gd name="connsiteY34-5144" fmla="*/ 858644 h 1974599"/>
              <a:gd name="connsiteX35-5145" fmla="*/ 440236 w 2804294"/>
              <a:gd name="connsiteY35-5146" fmla="*/ 1182029 h 1974599"/>
              <a:gd name="connsiteX36-5147" fmla="*/ 128002 w 2804294"/>
              <a:gd name="connsiteY36-5148" fmla="*/ 1349297 h 1974599"/>
              <a:gd name="connsiteX37-5149" fmla="*/ 105699 w 2804294"/>
              <a:gd name="connsiteY37-5150" fmla="*/ 1494263 h 1974599"/>
              <a:gd name="connsiteX38-5151" fmla="*/ 27641 w 2804294"/>
              <a:gd name="connsiteY38-5152" fmla="*/ 1605775 h 1974599"/>
              <a:gd name="connsiteX39-5153" fmla="*/ 5338 w 2804294"/>
              <a:gd name="connsiteY39-5154" fmla="*/ 1839951 h 1974599"/>
              <a:gd name="connsiteX40-5155" fmla="*/ 1063 w 2804294"/>
              <a:gd name="connsiteY40-5156" fmla="*/ 1798862 h 1974599"/>
              <a:gd name="connsiteX41-5157" fmla="*/ 17008 w 2804294"/>
              <a:gd name="connsiteY41-5158" fmla="*/ 1851538 h 1974599"/>
              <a:gd name="connsiteX42-5159" fmla="*/ 128636 w 2804294"/>
              <a:gd name="connsiteY42-5160" fmla="*/ 1852185 h 1974599"/>
              <a:gd name="connsiteX43-5161" fmla="*/ 21003 w 2804294"/>
              <a:gd name="connsiteY43-5162" fmla="*/ 1847974 h 1974599"/>
              <a:gd name="connsiteX44-5163" fmla="*/ 254625 w 2804294"/>
              <a:gd name="connsiteY44-5164" fmla="*/ 1850866 h 1974599"/>
              <a:gd name="connsiteX45-5165" fmla="*/ 96280 w 2804294"/>
              <a:gd name="connsiteY45-5166" fmla="*/ 1835796 h 1974599"/>
              <a:gd name="connsiteX46-5167" fmla="*/ 102217 w 2804294"/>
              <a:gd name="connsiteY46-5168" fmla="*/ 1847670 h 1974599"/>
              <a:gd name="connsiteX47-5169" fmla="*/ 261945 w 2804294"/>
              <a:gd name="connsiteY47-5170" fmla="*/ 1923242 h 1974599"/>
              <a:gd name="connsiteX48-5171" fmla="*/ 251002 w 2804294"/>
              <a:gd name="connsiteY48-5172" fmla="*/ 1942009 h 1974599"/>
              <a:gd name="connsiteX49-5173" fmla="*/ 588466 w 2804294"/>
              <a:gd name="connsiteY49-5174" fmla="*/ 1922976 h 1974599"/>
              <a:gd name="connsiteX0-5175" fmla="*/ 588466 w 2804294"/>
              <a:gd name="connsiteY0-5176" fmla="*/ 1922976 h 1974599"/>
              <a:gd name="connsiteX1-5177" fmla="*/ 941719 w 2804294"/>
              <a:gd name="connsiteY1-5178" fmla="*/ 1860945 h 1974599"/>
              <a:gd name="connsiteX2-5179" fmla="*/ 964343 w 2804294"/>
              <a:gd name="connsiteY2-5180" fmla="*/ 1427356 h 1974599"/>
              <a:gd name="connsiteX3-5181" fmla="*/ 2079465 w 2804294"/>
              <a:gd name="connsiteY3-5182" fmla="*/ 1416205 h 1974599"/>
              <a:gd name="connsiteX4-5183" fmla="*/ 2068314 w 2804294"/>
              <a:gd name="connsiteY4-5184" fmla="*/ 568712 h 1974599"/>
              <a:gd name="connsiteX5-5185" fmla="*/ 2224431 w 2804294"/>
              <a:gd name="connsiteY5-5186" fmla="*/ 468351 h 1974599"/>
              <a:gd name="connsiteX6-5187" fmla="*/ 2570119 w 2804294"/>
              <a:gd name="connsiteY6-5188" fmla="*/ 289931 h 1974599"/>
              <a:gd name="connsiteX7-5189" fmla="*/ 2804294 w 2804294"/>
              <a:gd name="connsiteY7-5190" fmla="*/ 301083 h 1974599"/>
              <a:gd name="connsiteX8-5191" fmla="*/ 2804294 w 2804294"/>
              <a:gd name="connsiteY8-5192" fmla="*/ 133814 h 1974599"/>
              <a:gd name="connsiteX9-5193" fmla="*/ 2759690 w 2804294"/>
              <a:gd name="connsiteY9-5194" fmla="*/ 55756 h 1974599"/>
              <a:gd name="connsiteX10-5195" fmla="*/ 2748538 w 2804294"/>
              <a:gd name="connsiteY10-5196" fmla="*/ 22302 h 1974599"/>
              <a:gd name="connsiteX11-5197" fmla="*/ 2692782 w 2804294"/>
              <a:gd name="connsiteY11-5198" fmla="*/ 0 h 1974599"/>
              <a:gd name="connsiteX12-5199" fmla="*/ 2681631 w 2804294"/>
              <a:gd name="connsiteY12-5200" fmla="*/ 44605 h 1974599"/>
              <a:gd name="connsiteX13-5201" fmla="*/ 2558968 w 2804294"/>
              <a:gd name="connsiteY13-5202" fmla="*/ 11151 h 1974599"/>
              <a:gd name="connsiteX14-5203" fmla="*/ 2525514 w 2804294"/>
              <a:gd name="connsiteY14-5204" fmla="*/ 100361 h 1974599"/>
              <a:gd name="connsiteX15-5205" fmla="*/ 2414002 w 2804294"/>
              <a:gd name="connsiteY15-5206" fmla="*/ 66907 h 1974599"/>
              <a:gd name="connsiteX16-5207" fmla="*/ 2369397 w 2804294"/>
              <a:gd name="connsiteY16-5208" fmla="*/ 100361 h 1974599"/>
              <a:gd name="connsiteX17-5209" fmla="*/ 2291338 w 2804294"/>
              <a:gd name="connsiteY17-5210" fmla="*/ 100361 h 1974599"/>
              <a:gd name="connsiteX18-5211" fmla="*/ 2291338 w 2804294"/>
              <a:gd name="connsiteY18-5212" fmla="*/ 100361 h 1974599"/>
              <a:gd name="connsiteX19-5213" fmla="*/ 2213280 w 2804294"/>
              <a:gd name="connsiteY19-5214" fmla="*/ 144966 h 1974599"/>
              <a:gd name="connsiteX20-5215" fmla="*/ 2135221 w 2804294"/>
              <a:gd name="connsiteY20-5216" fmla="*/ 178419 h 1974599"/>
              <a:gd name="connsiteX21-5217" fmla="*/ 2079465 w 2804294"/>
              <a:gd name="connsiteY21-5218" fmla="*/ 178419 h 1974599"/>
              <a:gd name="connsiteX22-5219" fmla="*/ 2079465 w 2804294"/>
              <a:gd name="connsiteY22-5220" fmla="*/ 178419 h 1974599"/>
              <a:gd name="connsiteX23-5221" fmla="*/ 2079465 w 2804294"/>
              <a:gd name="connsiteY23-5222" fmla="*/ 334536 h 1974599"/>
              <a:gd name="connsiteX24-5223" fmla="*/ 1945651 w 2804294"/>
              <a:gd name="connsiteY24-5224" fmla="*/ 312234 h 1974599"/>
              <a:gd name="connsiteX25-5225" fmla="*/ 1856441 w 2804294"/>
              <a:gd name="connsiteY25-5226" fmla="*/ 367990 h 1974599"/>
              <a:gd name="connsiteX26-5227" fmla="*/ 1744929 w 2804294"/>
              <a:gd name="connsiteY26-5228" fmla="*/ 401444 h 1974599"/>
              <a:gd name="connsiteX27-5229" fmla="*/ 1689173 w 2804294"/>
              <a:gd name="connsiteY27-5230" fmla="*/ 356839 h 1974599"/>
              <a:gd name="connsiteX28-5231" fmla="*/ 1655719 w 2804294"/>
              <a:gd name="connsiteY28-5232" fmla="*/ 390292 h 1974599"/>
              <a:gd name="connsiteX29-5233" fmla="*/ 1577660 w 2804294"/>
              <a:gd name="connsiteY29-5234" fmla="*/ 446048 h 1974599"/>
              <a:gd name="connsiteX30-5235" fmla="*/ 1466148 w 2804294"/>
              <a:gd name="connsiteY30-5236" fmla="*/ 434897 h 1974599"/>
              <a:gd name="connsiteX31-5237" fmla="*/ 1231973 w 2804294"/>
              <a:gd name="connsiteY31-5238" fmla="*/ 568712 h 1974599"/>
              <a:gd name="connsiteX32-5239" fmla="*/ 1109309 w 2804294"/>
              <a:gd name="connsiteY32-5240" fmla="*/ 680224 h 1974599"/>
              <a:gd name="connsiteX33-5241" fmla="*/ 640958 w 2804294"/>
              <a:gd name="connsiteY33-5242" fmla="*/ 802887 h 1974599"/>
              <a:gd name="connsiteX34-5243" fmla="*/ 574051 w 2804294"/>
              <a:gd name="connsiteY34-5244" fmla="*/ 858644 h 1974599"/>
              <a:gd name="connsiteX35-5245" fmla="*/ 440236 w 2804294"/>
              <a:gd name="connsiteY35-5246" fmla="*/ 1182029 h 1974599"/>
              <a:gd name="connsiteX36-5247" fmla="*/ 128002 w 2804294"/>
              <a:gd name="connsiteY36-5248" fmla="*/ 1349297 h 1974599"/>
              <a:gd name="connsiteX37-5249" fmla="*/ 105699 w 2804294"/>
              <a:gd name="connsiteY37-5250" fmla="*/ 1494263 h 1974599"/>
              <a:gd name="connsiteX38-5251" fmla="*/ 27641 w 2804294"/>
              <a:gd name="connsiteY38-5252" fmla="*/ 1605775 h 1974599"/>
              <a:gd name="connsiteX39-5253" fmla="*/ 5338 w 2804294"/>
              <a:gd name="connsiteY39-5254" fmla="*/ 1839951 h 1974599"/>
              <a:gd name="connsiteX40-5255" fmla="*/ 1063 w 2804294"/>
              <a:gd name="connsiteY40-5256" fmla="*/ 1798862 h 1974599"/>
              <a:gd name="connsiteX41-5257" fmla="*/ 17008 w 2804294"/>
              <a:gd name="connsiteY41-5258" fmla="*/ 1851538 h 1974599"/>
              <a:gd name="connsiteX42-5259" fmla="*/ 128636 w 2804294"/>
              <a:gd name="connsiteY42-5260" fmla="*/ 1852185 h 1974599"/>
              <a:gd name="connsiteX43-5261" fmla="*/ 21003 w 2804294"/>
              <a:gd name="connsiteY43-5262" fmla="*/ 1847974 h 1974599"/>
              <a:gd name="connsiteX44-5263" fmla="*/ 254625 w 2804294"/>
              <a:gd name="connsiteY44-5264" fmla="*/ 1850866 h 1974599"/>
              <a:gd name="connsiteX45-5265" fmla="*/ 108153 w 2804294"/>
              <a:gd name="connsiteY45-5266" fmla="*/ 1847670 h 1974599"/>
              <a:gd name="connsiteX46-5267" fmla="*/ 96280 w 2804294"/>
              <a:gd name="connsiteY46-5268" fmla="*/ 1835796 h 1974599"/>
              <a:gd name="connsiteX47-5269" fmla="*/ 102217 w 2804294"/>
              <a:gd name="connsiteY47-5270" fmla="*/ 1847670 h 1974599"/>
              <a:gd name="connsiteX48-5271" fmla="*/ 261945 w 2804294"/>
              <a:gd name="connsiteY48-5272" fmla="*/ 1923242 h 1974599"/>
              <a:gd name="connsiteX49-5273" fmla="*/ 251002 w 2804294"/>
              <a:gd name="connsiteY49-5274" fmla="*/ 1942009 h 1974599"/>
              <a:gd name="connsiteX50-5275" fmla="*/ 588466 w 2804294"/>
              <a:gd name="connsiteY50-5276" fmla="*/ 1922976 h 1974599"/>
              <a:gd name="connsiteX0-5277" fmla="*/ 108153 w 2804294"/>
              <a:gd name="connsiteY0-5278" fmla="*/ 1847670 h 1974599"/>
              <a:gd name="connsiteX1-5279" fmla="*/ 96280 w 2804294"/>
              <a:gd name="connsiteY1-5280" fmla="*/ 1835796 h 1974599"/>
              <a:gd name="connsiteX2-5281" fmla="*/ 102217 w 2804294"/>
              <a:gd name="connsiteY2-5282" fmla="*/ 1847670 h 1974599"/>
              <a:gd name="connsiteX3-5283" fmla="*/ 261945 w 2804294"/>
              <a:gd name="connsiteY3-5284" fmla="*/ 1923242 h 1974599"/>
              <a:gd name="connsiteX4-5285" fmla="*/ 251002 w 2804294"/>
              <a:gd name="connsiteY4-5286" fmla="*/ 1942009 h 1974599"/>
              <a:gd name="connsiteX5-5287" fmla="*/ 588466 w 2804294"/>
              <a:gd name="connsiteY5-5288" fmla="*/ 1922976 h 1974599"/>
              <a:gd name="connsiteX6-5289" fmla="*/ 941719 w 2804294"/>
              <a:gd name="connsiteY6-5290" fmla="*/ 1860945 h 1974599"/>
              <a:gd name="connsiteX7-5291" fmla="*/ 964343 w 2804294"/>
              <a:gd name="connsiteY7-5292" fmla="*/ 1427356 h 1974599"/>
              <a:gd name="connsiteX8-5293" fmla="*/ 2079465 w 2804294"/>
              <a:gd name="connsiteY8-5294" fmla="*/ 1416205 h 1974599"/>
              <a:gd name="connsiteX9-5295" fmla="*/ 2068314 w 2804294"/>
              <a:gd name="connsiteY9-5296" fmla="*/ 568712 h 1974599"/>
              <a:gd name="connsiteX10-5297" fmla="*/ 2224431 w 2804294"/>
              <a:gd name="connsiteY10-5298" fmla="*/ 468351 h 1974599"/>
              <a:gd name="connsiteX11-5299" fmla="*/ 2570119 w 2804294"/>
              <a:gd name="connsiteY11-5300" fmla="*/ 289931 h 1974599"/>
              <a:gd name="connsiteX12-5301" fmla="*/ 2804294 w 2804294"/>
              <a:gd name="connsiteY12-5302" fmla="*/ 301083 h 1974599"/>
              <a:gd name="connsiteX13-5303" fmla="*/ 2804294 w 2804294"/>
              <a:gd name="connsiteY13-5304" fmla="*/ 133814 h 1974599"/>
              <a:gd name="connsiteX14-5305" fmla="*/ 2759690 w 2804294"/>
              <a:gd name="connsiteY14-5306" fmla="*/ 55756 h 1974599"/>
              <a:gd name="connsiteX15-5307" fmla="*/ 2748538 w 2804294"/>
              <a:gd name="connsiteY15-5308" fmla="*/ 22302 h 1974599"/>
              <a:gd name="connsiteX16-5309" fmla="*/ 2692782 w 2804294"/>
              <a:gd name="connsiteY16-5310" fmla="*/ 0 h 1974599"/>
              <a:gd name="connsiteX17-5311" fmla="*/ 2681631 w 2804294"/>
              <a:gd name="connsiteY17-5312" fmla="*/ 44605 h 1974599"/>
              <a:gd name="connsiteX18-5313" fmla="*/ 2558968 w 2804294"/>
              <a:gd name="connsiteY18-5314" fmla="*/ 11151 h 1974599"/>
              <a:gd name="connsiteX19-5315" fmla="*/ 2525514 w 2804294"/>
              <a:gd name="connsiteY19-5316" fmla="*/ 100361 h 1974599"/>
              <a:gd name="connsiteX20-5317" fmla="*/ 2414002 w 2804294"/>
              <a:gd name="connsiteY20-5318" fmla="*/ 66907 h 1974599"/>
              <a:gd name="connsiteX21-5319" fmla="*/ 2369397 w 2804294"/>
              <a:gd name="connsiteY21-5320" fmla="*/ 100361 h 1974599"/>
              <a:gd name="connsiteX22-5321" fmla="*/ 2291338 w 2804294"/>
              <a:gd name="connsiteY22-5322" fmla="*/ 100361 h 1974599"/>
              <a:gd name="connsiteX23-5323" fmla="*/ 2291338 w 2804294"/>
              <a:gd name="connsiteY23-5324" fmla="*/ 100361 h 1974599"/>
              <a:gd name="connsiteX24-5325" fmla="*/ 2213280 w 2804294"/>
              <a:gd name="connsiteY24-5326" fmla="*/ 144966 h 1974599"/>
              <a:gd name="connsiteX25-5327" fmla="*/ 2135221 w 2804294"/>
              <a:gd name="connsiteY25-5328" fmla="*/ 178419 h 1974599"/>
              <a:gd name="connsiteX26-5329" fmla="*/ 2079465 w 2804294"/>
              <a:gd name="connsiteY26-5330" fmla="*/ 178419 h 1974599"/>
              <a:gd name="connsiteX27-5331" fmla="*/ 2079465 w 2804294"/>
              <a:gd name="connsiteY27-5332" fmla="*/ 178419 h 1974599"/>
              <a:gd name="connsiteX28-5333" fmla="*/ 2079465 w 2804294"/>
              <a:gd name="connsiteY28-5334" fmla="*/ 334536 h 1974599"/>
              <a:gd name="connsiteX29-5335" fmla="*/ 1945651 w 2804294"/>
              <a:gd name="connsiteY29-5336" fmla="*/ 312234 h 1974599"/>
              <a:gd name="connsiteX30-5337" fmla="*/ 1856441 w 2804294"/>
              <a:gd name="connsiteY30-5338" fmla="*/ 367990 h 1974599"/>
              <a:gd name="connsiteX31-5339" fmla="*/ 1744929 w 2804294"/>
              <a:gd name="connsiteY31-5340" fmla="*/ 401444 h 1974599"/>
              <a:gd name="connsiteX32-5341" fmla="*/ 1689173 w 2804294"/>
              <a:gd name="connsiteY32-5342" fmla="*/ 356839 h 1974599"/>
              <a:gd name="connsiteX33-5343" fmla="*/ 1655719 w 2804294"/>
              <a:gd name="connsiteY33-5344" fmla="*/ 390292 h 1974599"/>
              <a:gd name="connsiteX34-5345" fmla="*/ 1577660 w 2804294"/>
              <a:gd name="connsiteY34-5346" fmla="*/ 446048 h 1974599"/>
              <a:gd name="connsiteX35-5347" fmla="*/ 1466148 w 2804294"/>
              <a:gd name="connsiteY35-5348" fmla="*/ 434897 h 1974599"/>
              <a:gd name="connsiteX36-5349" fmla="*/ 1231973 w 2804294"/>
              <a:gd name="connsiteY36-5350" fmla="*/ 568712 h 1974599"/>
              <a:gd name="connsiteX37-5351" fmla="*/ 1109309 w 2804294"/>
              <a:gd name="connsiteY37-5352" fmla="*/ 680224 h 1974599"/>
              <a:gd name="connsiteX38-5353" fmla="*/ 640958 w 2804294"/>
              <a:gd name="connsiteY38-5354" fmla="*/ 802887 h 1974599"/>
              <a:gd name="connsiteX39-5355" fmla="*/ 574051 w 2804294"/>
              <a:gd name="connsiteY39-5356" fmla="*/ 858644 h 1974599"/>
              <a:gd name="connsiteX40-5357" fmla="*/ 440236 w 2804294"/>
              <a:gd name="connsiteY40-5358" fmla="*/ 1182029 h 1974599"/>
              <a:gd name="connsiteX41-5359" fmla="*/ 128002 w 2804294"/>
              <a:gd name="connsiteY41-5360" fmla="*/ 1349297 h 1974599"/>
              <a:gd name="connsiteX42-5361" fmla="*/ 105699 w 2804294"/>
              <a:gd name="connsiteY42-5362" fmla="*/ 1494263 h 1974599"/>
              <a:gd name="connsiteX43-5363" fmla="*/ 27641 w 2804294"/>
              <a:gd name="connsiteY43-5364" fmla="*/ 1605775 h 1974599"/>
              <a:gd name="connsiteX44-5365" fmla="*/ 5338 w 2804294"/>
              <a:gd name="connsiteY44-5366" fmla="*/ 1839951 h 1974599"/>
              <a:gd name="connsiteX45-5367" fmla="*/ 1063 w 2804294"/>
              <a:gd name="connsiteY45-5368" fmla="*/ 1798862 h 1974599"/>
              <a:gd name="connsiteX46-5369" fmla="*/ 17008 w 2804294"/>
              <a:gd name="connsiteY46-5370" fmla="*/ 1851538 h 1974599"/>
              <a:gd name="connsiteX47-5371" fmla="*/ 128636 w 2804294"/>
              <a:gd name="connsiteY47-5372" fmla="*/ 1852185 h 1974599"/>
              <a:gd name="connsiteX48-5373" fmla="*/ 21003 w 2804294"/>
              <a:gd name="connsiteY48-5374" fmla="*/ 1847974 h 1974599"/>
              <a:gd name="connsiteX49-5375" fmla="*/ 346055 w 2804294"/>
              <a:gd name="connsiteY49-5376" fmla="*/ 1942291 h 1974599"/>
              <a:gd name="connsiteX0-5377" fmla="*/ 108153 w 2804294"/>
              <a:gd name="connsiteY0-5378" fmla="*/ 1847670 h 1974599"/>
              <a:gd name="connsiteX1-5379" fmla="*/ 96280 w 2804294"/>
              <a:gd name="connsiteY1-5380" fmla="*/ 1835796 h 1974599"/>
              <a:gd name="connsiteX2-5381" fmla="*/ 102217 w 2804294"/>
              <a:gd name="connsiteY2-5382" fmla="*/ 1847670 h 1974599"/>
              <a:gd name="connsiteX3-5383" fmla="*/ 261945 w 2804294"/>
              <a:gd name="connsiteY3-5384" fmla="*/ 1923242 h 1974599"/>
              <a:gd name="connsiteX4-5385" fmla="*/ 251002 w 2804294"/>
              <a:gd name="connsiteY4-5386" fmla="*/ 1942009 h 1974599"/>
              <a:gd name="connsiteX5-5387" fmla="*/ 588466 w 2804294"/>
              <a:gd name="connsiteY5-5388" fmla="*/ 1922976 h 1974599"/>
              <a:gd name="connsiteX6-5389" fmla="*/ 941719 w 2804294"/>
              <a:gd name="connsiteY6-5390" fmla="*/ 1860945 h 1974599"/>
              <a:gd name="connsiteX7-5391" fmla="*/ 964343 w 2804294"/>
              <a:gd name="connsiteY7-5392" fmla="*/ 1427356 h 1974599"/>
              <a:gd name="connsiteX8-5393" fmla="*/ 2079465 w 2804294"/>
              <a:gd name="connsiteY8-5394" fmla="*/ 1416205 h 1974599"/>
              <a:gd name="connsiteX9-5395" fmla="*/ 2068314 w 2804294"/>
              <a:gd name="connsiteY9-5396" fmla="*/ 568712 h 1974599"/>
              <a:gd name="connsiteX10-5397" fmla="*/ 2224431 w 2804294"/>
              <a:gd name="connsiteY10-5398" fmla="*/ 468351 h 1974599"/>
              <a:gd name="connsiteX11-5399" fmla="*/ 2570119 w 2804294"/>
              <a:gd name="connsiteY11-5400" fmla="*/ 289931 h 1974599"/>
              <a:gd name="connsiteX12-5401" fmla="*/ 2804294 w 2804294"/>
              <a:gd name="connsiteY12-5402" fmla="*/ 301083 h 1974599"/>
              <a:gd name="connsiteX13-5403" fmla="*/ 2804294 w 2804294"/>
              <a:gd name="connsiteY13-5404" fmla="*/ 133814 h 1974599"/>
              <a:gd name="connsiteX14-5405" fmla="*/ 2759690 w 2804294"/>
              <a:gd name="connsiteY14-5406" fmla="*/ 55756 h 1974599"/>
              <a:gd name="connsiteX15-5407" fmla="*/ 2748538 w 2804294"/>
              <a:gd name="connsiteY15-5408" fmla="*/ 22302 h 1974599"/>
              <a:gd name="connsiteX16-5409" fmla="*/ 2692782 w 2804294"/>
              <a:gd name="connsiteY16-5410" fmla="*/ 0 h 1974599"/>
              <a:gd name="connsiteX17-5411" fmla="*/ 2681631 w 2804294"/>
              <a:gd name="connsiteY17-5412" fmla="*/ 44605 h 1974599"/>
              <a:gd name="connsiteX18-5413" fmla="*/ 2558968 w 2804294"/>
              <a:gd name="connsiteY18-5414" fmla="*/ 11151 h 1974599"/>
              <a:gd name="connsiteX19-5415" fmla="*/ 2525514 w 2804294"/>
              <a:gd name="connsiteY19-5416" fmla="*/ 100361 h 1974599"/>
              <a:gd name="connsiteX20-5417" fmla="*/ 2414002 w 2804294"/>
              <a:gd name="connsiteY20-5418" fmla="*/ 66907 h 1974599"/>
              <a:gd name="connsiteX21-5419" fmla="*/ 2369397 w 2804294"/>
              <a:gd name="connsiteY21-5420" fmla="*/ 100361 h 1974599"/>
              <a:gd name="connsiteX22-5421" fmla="*/ 2291338 w 2804294"/>
              <a:gd name="connsiteY22-5422" fmla="*/ 100361 h 1974599"/>
              <a:gd name="connsiteX23-5423" fmla="*/ 2291338 w 2804294"/>
              <a:gd name="connsiteY23-5424" fmla="*/ 100361 h 1974599"/>
              <a:gd name="connsiteX24-5425" fmla="*/ 2213280 w 2804294"/>
              <a:gd name="connsiteY24-5426" fmla="*/ 144966 h 1974599"/>
              <a:gd name="connsiteX25-5427" fmla="*/ 2135221 w 2804294"/>
              <a:gd name="connsiteY25-5428" fmla="*/ 178419 h 1974599"/>
              <a:gd name="connsiteX26-5429" fmla="*/ 2079465 w 2804294"/>
              <a:gd name="connsiteY26-5430" fmla="*/ 178419 h 1974599"/>
              <a:gd name="connsiteX27-5431" fmla="*/ 2079465 w 2804294"/>
              <a:gd name="connsiteY27-5432" fmla="*/ 178419 h 1974599"/>
              <a:gd name="connsiteX28-5433" fmla="*/ 2079465 w 2804294"/>
              <a:gd name="connsiteY28-5434" fmla="*/ 334536 h 1974599"/>
              <a:gd name="connsiteX29-5435" fmla="*/ 1945651 w 2804294"/>
              <a:gd name="connsiteY29-5436" fmla="*/ 312234 h 1974599"/>
              <a:gd name="connsiteX30-5437" fmla="*/ 1856441 w 2804294"/>
              <a:gd name="connsiteY30-5438" fmla="*/ 367990 h 1974599"/>
              <a:gd name="connsiteX31-5439" fmla="*/ 1744929 w 2804294"/>
              <a:gd name="connsiteY31-5440" fmla="*/ 401444 h 1974599"/>
              <a:gd name="connsiteX32-5441" fmla="*/ 1689173 w 2804294"/>
              <a:gd name="connsiteY32-5442" fmla="*/ 356839 h 1974599"/>
              <a:gd name="connsiteX33-5443" fmla="*/ 1655719 w 2804294"/>
              <a:gd name="connsiteY33-5444" fmla="*/ 390292 h 1974599"/>
              <a:gd name="connsiteX34-5445" fmla="*/ 1648887 w 2804294"/>
              <a:gd name="connsiteY34-5446" fmla="*/ 231672 h 1974599"/>
              <a:gd name="connsiteX35-5447" fmla="*/ 1466148 w 2804294"/>
              <a:gd name="connsiteY35-5448" fmla="*/ 434897 h 1974599"/>
              <a:gd name="connsiteX36-5449" fmla="*/ 1231973 w 2804294"/>
              <a:gd name="connsiteY36-5450" fmla="*/ 568712 h 1974599"/>
              <a:gd name="connsiteX37-5451" fmla="*/ 1109309 w 2804294"/>
              <a:gd name="connsiteY37-5452" fmla="*/ 680224 h 1974599"/>
              <a:gd name="connsiteX38-5453" fmla="*/ 640958 w 2804294"/>
              <a:gd name="connsiteY38-5454" fmla="*/ 802887 h 1974599"/>
              <a:gd name="connsiteX39-5455" fmla="*/ 574051 w 2804294"/>
              <a:gd name="connsiteY39-5456" fmla="*/ 858644 h 1974599"/>
              <a:gd name="connsiteX40-5457" fmla="*/ 440236 w 2804294"/>
              <a:gd name="connsiteY40-5458" fmla="*/ 1182029 h 1974599"/>
              <a:gd name="connsiteX41-5459" fmla="*/ 128002 w 2804294"/>
              <a:gd name="connsiteY41-5460" fmla="*/ 1349297 h 1974599"/>
              <a:gd name="connsiteX42-5461" fmla="*/ 105699 w 2804294"/>
              <a:gd name="connsiteY42-5462" fmla="*/ 1494263 h 1974599"/>
              <a:gd name="connsiteX43-5463" fmla="*/ 27641 w 2804294"/>
              <a:gd name="connsiteY43-5464" fmla="*/ 1605775 h 1974599"/>
              <a:gd name="connsiteX44-5465" fmla="*/ 5338 w 2804294"/>
              <a:gd name="connsiteY44-5466" fmla="*/ 1839951 h 1974599"/>
              <a:gd name="connsiteX45-5467" fmla="*/ 1063 w 2804294"/>
              <a:gd name="connsiteY45-5468" fmla="*/ 1798862 h 1974599"/>
              <a:gd name="connsiteX46-5469" fmla="*/ 17008 w 2804294"/>
              <a:gd name="connsiteY46-5470" fmla="*/ 1851538 h 1974599"/>
              <a:gd name="connsiteX47-5471" fmla="*/ 128636 w 2804294"/>
              <a:gd name="connsiteY47-5472" fmla="*/ 1852185 h 1974599"/>
              <a:gd name="connsiteX48-5473" fmla="*/ 21003 w 2804294"/>
              <a:gd name="connsiteY48-5474" fmla="*/ 1847974 h 1974599"/>
              <a:gd name="connsiteX49-5475" fmla="*/ 346055 w 2804294"/>
              <a:gd name="connsiteY49-5476" fmla="*/ 1942291 h 1974599"/>
              <a:gd name="connsiteX0-5477" fmla="*/ 108153 w 2804294"/>
              <a:gd name="connsiteY0-5478" fmla="*/ 1886024 h 2012953"/>
              <a:gd name="connsiteX1-5479" fmla="*/ 96280 w 2804294"/>
              <a:gd name="connsiteY1-5480" fmla="*/ 1874150 h 2012953"/>
              <a:gd name="connsiteX2-5481" fmla="*/ 102217 w 2804294"/>
              <a:gd name="connsiteY2-5482" fmla="*/ 1886024 h 2012953"/>
              <a:gd name="connsiteX3-5483" fmla="*/ 261945 w 2804294"/>
              <a:gd name="connsiteY3-5484" fmla="*/ 1961596 h 2012953"/>
              <a:gd name="connsiteX4-5485" fmla="*/ 251002 w 2804294"/>
              <a:gd name="connsiteY4-5486" fmla="*/ 1980363 h 2012953"/>
              <a:gd name="connsiteX5-5487" fmla="*/ 588466 w 2804294"/>
              <a:gd name="connsiteY5-5488" fmla="*/ 1961330 h 2012953"/>
              <a:gd name="connsiteX6-5489" fmla="*/ 941719 w 2804294"/>
              <a:gd name="connsiteY6-5490" fmla="*/ 1899299 h 2012953"/>
              <a:gd name="connsiteX7-5491" fmla="*/ 964343 w 2804294"/>
              <a:gd name="connsiteY7-5492" fmla="*/ 1465710 h 2012953"/>
              <a:gd name="connsiteX8-5493" fmla="*/ 2079465 w 2804294"/>
              <a:gd name="connsiteY8-5494" fmla="*/ 1454559 h 2012953"/>
              <a:gd name="connsiteX9-5495" fmla="*/ 2068314 w 2804294"/>
              <a:gd name="connsiteY9-5496" fmla="*/ 607066 h 2012953"/>
              <a:gd name="connsiteX10-5497" fmla="*/ 2224431 w 2804294"/>
              <a:gd name="connsiteY10-5498" fmla="*/ 506705 h 2012953"/>
              <a:gd name="connsiteX11-5499" fmla="*/ 2570119 w 2804294"/>
              <a:gd name="connsiteY11-5500" fmla="*/ 328285 h 2012953"/>
              <a:gd name="connsiteX12-5501" fmla="*/ 2804294 w 2804294"/>
              <a:gd name="connsiteY12-5502" fmla="*/ 339437 h 2012953"/>
              <a:gd name="connsiteX13-5503" fmla="*/ 2804294 w 2804294"/>
              <a:gd name="connsiteY13-5504" fmla="*/ 172168 h 2012953"/>
              <a:gd name="connsiteX14-5505" fmla="*/ 2759690 w 2804294"/>
              <a:gd name="connsiteY14-5506" fmla="*/ 94110 h 2012953"/>
              <a:gd name="connsiteX15-5507" fmla="*/ 2748538 w 2804294"/>
              <a:gd name="connsiteY15-5508" fmla="*/ 60656 h 2012953"/>
              <a:gd name="connsiteX16-5509" fmla="*/ 2692782 w 2804294"/>
              <a:gd name="connsiteY16-5510" fmla="*/ 38354 h 2012953"/>
              <a:gd name="connsiteX17-5511" fmla="*/ 2681631 w 2804294"/>
              <a:gd name="connsiteY17-5512" fmla="*/ 82959 h 2012953"/>
              <a:gd name="connsiteX18-5513" fmla="*/ 2558968 w 2804294"/>
              <a:gd name="connsiteY18-5514" fmla="*/ 49505 h 2012953"/>
              <a:gd name="connsiteX19-5515" fmla="*/ 2525514 w 2804294"/>
              <a:gd name="connsiteY19-5516" fmla="*/ 138715 h 2012953"/>
              <a:gd name="connsiteX20-5517" fmla="*/ 2414002 w 2804294"/>
              <a:gd name="connsiteY20-5518" fmla="*/ 105261 h 2012953"/>
              <a:gd name="connsiteX21-5519" fmla="*/ 2369397 w 2804294"/>
              <a:gd name="connsiteY21-5520" fmla="*/ 138715 h 2012953"/>
              <a:gd name="connsiteX22-5521" fmla="*/ 2291338 w 2804294"/>
              <a:gd name="connsiteY22-5522" fmla="*/ 138715 h 2012953"/>
              <a:gd name="connsiteX23-5523" fmla="*/ 2291338 w 2804294"/>
              <a:gd name="connsiteY23-5524" fmla="*/ 138715 h 2012953"/>
              <a:gd name="connsiteX24-5525" fmla="*/ 2213280 w 2804294"/>
              <a:gd name="connsiteY24-5526" fmla="*/ 183320 h 2012953"/>
              <a:gd name="connsiteX25-5527" fmla="*/ 2135221 w 2804294"/>
              <a:gd name="connsiteY25-5528" fmla="*/ 216773 h 2012953"/>
              <a:gd name="connsiteX26-5529" fmla="*/ 2079465 w 2804294"/>
              <a:gd name="connsiteY26-5530" fmla="*/ 216773 h 2012953"/>
              <a:gd name="connsiteX27-5531" fmla="*/ 2079465 w 2804294"/>
              <a:gd name="connsiteY27-5532" fmla="*/ 216773 h 2012953"/>
              <a:gd name="connsiteX28-5533" fmla="*/ 2079465 w 2804294"/>
              <a:gd name="connsiteY28-5534" fmla="*/ 372890 h 2012953"/>
              <a:gd name="connsiteX29-5535" fmla="*/ 1945651 w 2804294"/>
              <a:gd name="connsiteY29-5536" fmla="*/ 350588 h 2012953"/>
              <a:gd name="connsiteX30-5537" fmla="*/ 1856441 w 2804294"/>
              <a:gd name="connsiteY30-5538" fmla="*/ 406344 h 2012953"/>
              <a:gd name="connsiteX31-5539" fmla="*/ 1744929 w 2804294"/>
              <a:gd name="connsiteY31-5540" fmla="*/ 439798 h 2012953"/>
              <a:gd name="connsiteX32-5541" fmla="*/ 1689173 w 2804294"/>
              <a:gd name="connsiteY32-5542" fmla="*/ 395193 h 2012953"/>
              <a:gd name="connsiteX33-5543" fmla="*/ 1798367 w 2804294"/>
              <a:gd name="connsiteY33-5544" fmla="*/ 0 h 2012953"/>
              <a:gd name="connsiteX34-5545" fmla="*/ 1648887 w 2804294"/>
              <a:gd name="connsiteY34-5546" fmla="*/ 270026 h 2012953"/>
              <a:gd name="connsiteX35-5547" fmla="*/ 1466148 w 2804294"/>
              <a:gd name="connsiteY35-5548" fmla="*/ 473251 h 2012953"/>
              <a:gd name="connsiteX36-5549" fmla="*/ 1231973 w 2804294"/>
              <a:gd name="connsiteY36-5550" fmla="*/ 607066 h 2012953"/>
              <a:gd name="connsiteX37-5551" fmla="*/ 1109309 w 2804294"/>
              <a:gd name="connsiteY37-5552" fmla="*/ 718578 h 2012953"/>
              <a:gd name="connsiteX38-5553" fmla="*/ 640958 w 2804294"/>
              <a:gd name="connsiteY38-5554" fmla="*/ 841241 h 2012953"/>
              <a:gd name="connsiteX39-5555" fmla="*/ 574051 w 2804294"/>
              <a:gd name="connsiteY39-5556" fmla="*/ 896998 h 2012953"/>
              <a:gd name="connsiteX40-5557" fmla="*/ 440236 w 2804294"/>
              <a:gd name="connsiteY40-5558" fmla="*/ 1220383 h 2012953"/>
              <a:gd name="connsiteX41-5559" fmla="*/ 128002 w 2804294"/>
              <a:gd name="connsiteY41-5560" fmla="*/ 1387651 h 2012953"/>
              <a:gd name="connsiteX42-5561" fmla="*/ 105699 w 2804294"/>
              <a:gd name="connsiteY42-5562" fmla="*/ 1532617 h 2012953"/>
              <a:gd name="connsiteX43-5563" fmla="*/ 27641 w 2804294"/>
              <a:gd name="connsiteY43-5564" fmla="*/ 1644129 h 2012953"/>
              <a:gd name="connsiteX44-5565" fmla="*/ 5338 w 2804294"/>
              <a:gd name="connsiteY44-5566" fmla="*/ 1878305 h 2012953"/>
              <a:gd name="connsiteX45-5567" fmla="*/ 1063 w 2804294"/>
              <a:gd name="connsiteY45-5568" fmla="*/ 1837216 h 2012953"/>
              <a:gd name="connsiteX46-5569" fmla="*/ 17008 w 2804294"/>
              <a:gd name="connsiteY46-5570" fmla="*/ 1889892 h 2012953"/>
              <a:gd name="connsiteX47-5571" fmla="*/ 128636 w 2804294"/>
              <a:gd name="connsiteY47-5572" fmla="*/ 1890539 h 2012953"/>
              <a:gd name="connsiteX48-5573" fmla="*/ 21003 w 2804294"/>
              <a:gd name="connsiteY48-5574" fmla="*/ 1886328 h 2012953"/>
              <a:gd name="connsiteX49-5575" fmla="*/ 346055 w 2804294"/>
              <a:gd name="connsiteY49-5576" fmla="*/ 1980645 h 2012953"/>
              <a:gd name="connsiteX0-5577" fmla="*/ 108153 w 2804294"/>
              <a:gd name="connsiteY0-5578" fmla="*/ 1886024 h 2012953"/>
              <a:gd name="connsiteX1-5579" fmla="*/ 96280 w 2804294"/>
              <a:gd name="connsiteY1-5580" fmla="*/ 1874150 h 2012953"/>
              <a:gd name="connsiteX2-5581" fmla="*/ 102217 w 2804294"/>
              <a:gd name="connsiteY2-5582" fmla="*/ 1886024 h 2012953"/>
              <a:gd name="connsiteX3-5583" fmla="*/ 261945 w 2804294"/>
              <a:gd name="connsiteY3-5584" fmla="*/ 1961596 h 2012953"/>
              <a:gd name="connsiteX4-5585" fmla="*/ 251002 w 2804294"/>
              <a:gd name="connsiteY4-5586" fmla="*/ 1980363 h 2012953"/>
              <a:gd name="connsiteX5-5587" fmla="*/ 588466 w 2804294"/>
              <a:gd name="connsiteY5-5588" fmla="*/ 1961330 h 2012953"/>
              <a:gd name="connsiteX6-5589" fmla="*/ 941719 w 2804294"/>
              <a:gd name="connsiteY6-5590" fmla="*/ 1899299 h 2012953"/>
              <a:gd name="connsiteX7-5591" fmla="*/ 964343 w 2804294"/>
              <a:gd name="connsiteY7-5592" fmla="*/ 1465710 h 2012953"/>
              <a:gd name="connsiteX8-5593" fmla="*/ 2079465 w 2804294"/>
              <a:gd name="connsiteY8-5594" fmla="*/ 1454559 h 2012953"/>
              <a:gd name="connsiteX9-5595" fmla="*/ 2068314 w 2804294"/>
              <a:gd name="connsiteY9-5596" fmla="*/ 607066 h 2012953"/>
              <a:gd name="connsiteX10-5597" fmla="*/ 2224431 w 2804294"/>
              <a:gd name="connsiteY10-5598" fmla="*/ 506705 h 2012953"/>
              <a:gd name="connsiteX11-5599" fmla="*/ 2570119 w 2804294"/>
              <a:gd name="connsiteY11-5600" fmla="*/ 328285 h 2012953"/>
              <a:gd name="connsiteX12-5601" fmla="*/ 2804294 w 2804294"/>
              <a:gd name="connsiteY12-5602" fmla="*/ 339437 h 2012953"/>
              <a:gd name="connsiteX13-5603" fmla="*/ 2804294 w 2804294"/>
              <a:gd name="connsiteY13-5604" fmla="*/ 172168 h 2012953"/>
              <a:gd name="connsiteX14-5605" fmla="*/ 2759690 w 2804294"/>
              <a:gd name="connsiteY14-5606" fmla="*/ 94110 h 2012953"/>
              <a:gd name="connsiteX15-5607" fmla="*/ 2748538 w 2804294"/>
              <a:gd name="connsiteY15-5608" fmla="*/ 60656 h 2012953"/>
              <a:gd name="connsiteX16-5609" fmla="*/ 2692782 w 2804294"/>
              <a:gd name="connsiteY16-5610" fmla="*/ 38354 h 2012953"/>
              <a:gd name="connsiteX17-5611" fmla="*/ 2681631 w 2804294"/>
              <a:gd name="connsiteY17-5612" fmla="*/ 82959 h 2012953"/>
              <a:gd name="connsiteX18-5613" fmla="*/ 2558968 w 2804294"/>
              <a:gd name="connsiteY18-5614" fmla="*/ 49505 h 2012953"/>
              <a:gd name="connsiteX19-5615" fmla="*/ 2525514 w 2804294"/>
              <a:gd name="connsiteY19-5616" fmla="*/ 138715 h 2012953"/>
              <a:gd name="connsiteX20-5617" fmla="*/ 2414002 w 2804294"/>
              <a:gd name="connsiteY20-5618" fmla="*/ 105261 h 2012953"/>
              <a:gd name="connsiteX21-5619" fmla="*/ 2369397 w 2804294"/>
              <a:gd name="connsiteY21-5620" fmla="*/ 138715 h 2012953"/>
              <a:gd name="connsiteX22-5621" fmla="*/ 2291338 w 2804294"/>
              <a:gd name="connsiteY22-5622" fmla="*/ 138715 h 2012953"/>
              <a:gd name="connsiteX23-5623" fmla="*/ 2291338 w 2804294"/>
              <a:gd name="connsiteY23-5624" fmla="*/ 138715 h 2012953"/>
              <a:gd name="connsiteX24-5625" fmla="*/ 2213280 w 2804294"/>
              <a:gd name="connsiteY24-5626" fmla="*/ 183320 h 2012953"/>
              <a:gd name="connsiteX25-5627" fmla="*/ 2135221 w 2804294"/>
              <a:gd name="connsiteY25-5628" fmla="*/ 216773 h 2012953"/>
              <a:gd name="connsiteX26-5629" fmla="*/ 2079465 w 2804294"/>
              <a:gd name="connsiteY26-5630" fmla="*/ 216773 h 2012953"/>
              <a:gd name="connsiteX27-5631" fmla="*/ 2079465 w 2804294"/>
              <a:gd name="connsiteY27-5632" fmla="*/ 216773 h 2012953"/>
              <a:gd name="connsiteX28-5633" fmla="*/ 2079465 w 2804294"/>
              <a:gd name="connsiteY28-5634" fmla="*/ 372890 h 2012953"/>
              <a:gd name="connsiteX29-5635" fmla="*/ 1945651 w 2804294"/>
              <a:gd name="connsiteY29-5636" fmla="*/ 350588 h 2012953"/>
              <a:gd name="connsiteX30-5637" fmla="*/ 1856441 w 2804294"/>
              <a:gd name="connsiteY30-5638" fmla="*/ 406344 h 2012953"/>
              <a:gd name="connsiteX31-5639" fmla="*/ 1744929 w 2804294"/>
              <a:gd name="connsiteY31-5640" fmla="*/ 439798 h 2012953"/>
              <a:gd name="connsiteX32-5641" fmla="*/ 1689173 w 2804294"/>
              <a:gd name="connsiteY32-5642" fmla="*/ 395193 h 2012953"/>
              <a:gd name="connsiteX33-5643" fmla="*/ 1798367 w 2804294"/>
              <a:gd name="connsiteY33-5644" fmla="*/ 0 h 2012953"/>
              <a:gd name="connsiteX34-5645" fmla="*/ 1648887 w 2804294"/>
              <a:gd name="connsiteY34-5646" fmla="*/ 270026 h 2012953"/>
              <a:gd name="connsiteX35-5647" fmla="*/ 1466148 w 2804294"/>
              <a:gd name="connsiteY35-5648" fmla="*/ 473251 h 2012953"/>
              <a:gd name="connsiteX36-5649" fmla="*/ 1231973 w 2804294"/>
              <a:gd name="connsiteY36-5650" fmla="*/ 607066 h 2012953"/>
              <a:gd name="connsiteX37-5651" fmla="*/ 1109309 w 2804294"/>
              <a:gd name="connsiteY37-5652" fmla="*/ 718578 h 2012953"/>
              <a:gd name="connsiteX38-5653" fmla="*/ 640958 w 2804294"/>
              <a:gd name="connsiteY38-5654" fmla="*/ 841241 h 2012953"/>
              <a:gd name="connsiteX39-5655" fmla="*/ 574051 w 2804294"/>
              <a:gd name="connsiteY39-5656" fmla="*/ 896998 h 2012953"/>
              <a:gd name="connsiteX40-5657" fmla="*/ 440236 w 2804294"/>
              <a:gd name="connsiteY40-5658" fmla="*/ 1220383 h 2012953"/>
              <a:gd name="connsiteX41-5659" fmla="*/ 128002 w 2804294"/>
              <a:gd name="connsiteY41-5660" fmla="*/ 1387651 h 2012953"/>
              <a:gd name="connsiteX42-5661" fmla="*/ 105699 w 2804294"/>
              <a:gd name="connsiteY42-5662" fmla="*/ 1532617 h 2012953"/>
              <a:gd name="connsiteX43-5663" fmla="*/ 27641 w 2804294"/>
              <a:gd name="connsiteY43-5664" fmla="*/ 1644129 h 2012953"/>
              <a:gd name="connsiteX44-5665" fmla="*/ 5338 w 2804294"/>
              <a:gd name="connsiteY44-5666" fmla="*/ 1878305 h 2012953"/>
              <a:gd name="connsiteX45-5667" fmla="*/ 1063 w 2804294"/>
              <a:gd name="connsiteY45-5668" fmla="*/ 1837216 h 2012953"/>
              <a:gd name="connsiteX46-5669" fmla="*/ 17008 w 2804294"/>
              <a:gd name="connsiteY46-5670" fmla="*/ 1889892 h 2012953"/>
              <a:gd name="connsiteX47-5671" fmla="*/ 128636 w 2804294"/>
              <a:gd name="connsiteY47-5672" fmla="*/ 1890539 h 2012953"/>
              <a:gd name="connsiteX48-5673" fmla="*/ 21003 w 2804294"/>
              <a:gd name="connsiteY48-5674" fmla="*/ 1886328 h 2012953"/>
              <a:gd name="connsiteX49-5675" fmla="*/ 346055 w 2804294"/>
              <a:gd name="connsiteY49-5676" fmla="*/ 1980645 h 2012953"/>
              <a:gd name="connsiteX0-5677" fmla="*/ 108153 w 2804294"/>
              <a:gd name="connsiteY0-5678" fmla="*/ 1886024 h 2012953"/>
              <a:gd name="connsiteX1-5679" fmla="*/ 96280 w 2804294"/>
              <a:gd name="connsiteY1-5680" fmla="*/ 1874150 h 2012953"/>
              <a:gd name="connsiteX2-5681" fmla="*/ 102217 w 2804294"/>
              <a:gd name="connsiteY2-5682" fmla="*/ 1886024 h 2012953"/>
              <a:gd name="connsiteX3-5683" fmla="*/ 261945 w 2804294"/>
              <a:gd name="connsiteY3-5684" fmla="*/ 1961596 h 2012953"/>
              <a:gd name="connsiteX4-5685" fmla="*/ 251002 w 2804294"/>
              <a:gd name="connsiteY4-5686" fmla="*/ 1980363 h 2012953"/>
              <a:gd name="connsiteX5-5687" fmla="*/ 588466 w 2804294"/>
              <a:gd name="connsiteY5-5688" fmla="*/ 1961330 h 2012953"/>
              <a:gd name="connsiteX6-5689" fmla="*/ 941719 w 2804294"/>
              <a:gd name="connsiteY6-5690" fmla="*/ 1899299 h 2012953"/>
              <a:gd name="connsiteX7-5691" fmla="*/ 964343 w 2804294"/>
              <a:gd name="connsiteY7-5692" fmla="*/ 1465710 h 2012953"/>
              <a:gd name="connsiteX8-5693" fmla="*/ 2079465 w 2804294"/>
              <a:gd name="connsiteY8-5694" fmla="*/ 1454559 h 2012953"/>
              <a:gd name="connsiteX9-5695" fmla="*/ 2068314 w 2804294"/>
              <a:gd name="connsiteY9-5696" fmla="*/ 607066 h 2012953"/>
              <a:gd name="connsiteX10-5697" fmla="*/ 2224431 w 2804294"/>
              <a:gd name="connsiteY10-5698" fmla="*/ 506705 h 2012953"/>
              <a:gd name="connsiteX11-5699" fmla="*/ 2570119 w 2804294"/>
              <a:gd name="connsiteY11-5700" fmla="*/ 328285 h 2012953"/>
              <a:gd name="connsiteX12-5701" fmla="*/ 2804294 w 2804294"/>
              <a:gd name="connsiteY12-5702" fmla="*/ 339437 h 2012953"/>
              <a:gd name="connsiteX13-5703" fmla="*/ 2804294 w 2804294"/>
              <a:gd name="connsiteY13-5704" fmla="*/ 172168 h 2012953"/>
              <a:gd name="connsiteX14-5705" fmla="*/ 2759690 w 2804294"/>
              <a:gd name="connsiteY14-5706" fmla="*/ 94110 h 2012953"/>
              <a:gd name="connsiteX15-5707" fmla="*/ 2748538 w 2804294"/>
              <a:gd name="connsiteY15-5708" fmla="*/ 60656 h 2012953"/>
              <a:gd name="connsiteX16-5709" fmla="*/ 2692782 w 2804294"/>
              <a:gd name="connsiteY16-5710" fmla="*/ 38354 h 2012953"/>
              <a:gd name="connsiteX17-5711" fmla="*/ 2681631 w 2804294"/>
              <a:gd name="connsiteY17-5712" fmla="*/ 82959 h 2012953"/>
              <a:gd name="connsiteX18-5713" fmla="*/ 2558968 w 2804294"/>
              <a:gd name="connsiteY18-5714" fmla="*/ 49505 h 2012953"/>
              <a:gd name="connsiteX19-5715" fmla="*/ 2525514 w 2804294"/>
              <a:gd name="connsiteY19-5716" fmla="*/ 138715 h 2012953"/>
              <a:gd name="connsiteX20-5717" fmla="*/ 2414002 w 2804294"/>
              <a:gd name="connsiteY20-5718" fmla="*/ 105261 h 2012953"/>
              <a:gd name="connsiteX21-5719" fmla="*/ 2369397 w 2804294"/>
              <a:gd name="connsiteY21-5720" fmla="*/ 138715 h 2012953"/>
              <a:gd name="connsiteX22-5721" fmla="*/ 2291338 w 2804294"/>
              <a:gd name="connsiteY22-5722" fmla="*/ 138715 h 2012953"/>
              <a:gd name="connsiteX23-5723" fmla="*/ 2291338 w 2804294"/>
              <a:gd name="connsiteY23-5724" fmla="*/ 138715 h 2012953"/>
              <a:gd name="connsiteX24-5725" fmla="*/ 2213280 w 2804294"/>
              <a:gd name="connsiteY24-5726" fmla="*/ 183320 h 2012953"/>
              <a:gd name="connsiteX25-5727" fmla="*/ 2135221 w 2804294"/>
              <a:gd name="connsiteY25-5728" fmla="*/ 216773 h 2012953"/>
              <a:gd name="connsiteX26-5729" fmla="*/ 2079465 w 2804294"/>
              <a:gd name="connsiteY26-5730" fmla="*/ 216773 h 2012953"/>
              <a:gd name="connsiteX27-5731" fmla="*/ 2079465 w 2804294"/>
              <a:gd name="connsiteY27-5732" fmla="*/ 216773 h 2012953"/>
              <a:gd name="connsiteX28-5733" fmla="*/ 2079465 w 2804294"/>
              <a:gd name="connsiteY28-5734" fmla="*/ 372890 h 2012953"/>
              <a:gd name="connsiteX29-5735" fmla="*/ 1945651 w 2804294"/>
              <a:gd name="connsiteY29-5736" fmla="*/ 350588 h 2012953"/>
              <a:gd name="connsiteX30-5737" fmla="*/ 1856441 w 2804294"/>
              <a:gd name="connsiteY30-5738" fmla="*/ 406344 h 2012953"/>
              <a:gd name="connsiteX31-5739" fmla="*/ 1744929 w 2804294"/>
              <a:gd name="connsiteY31-5740" fmla="*/ 439798 h 2012953"/>
              <a:gd name="connsiteX32-5741" fmla="*/ 1689173 w 2804294"/>
              <a:gd name="connsiteY32-5742" fmla="*/ 395193 h 2012953"/>
              <a:gd name="connsiteX33-5743" fmla="*/ 1798171 w 2804294"/>
              <a:gd name="connsiteY33-5744" fmla="*/ 0 h 2012953"/>
              <a:gd name="connsiteX34-5745" fmla="*/ 1648887 w 2804294"/>
              <a:gd name="connsiteY34-5746" fmla="*/ 270026 h 2012953"/>
              <a:gd name="connsiteX35-5747" fmla="*/ 1466148 w 2804294"/>
              <a:gd name="connsiteY35-5748" fmla="*/ 473251 h 2012953"/>
              <a:gd name="connsiteX36-5749" fmla="*/ 1231973 w 2804294"/>
              <a:gd name="connsiteY36-5750" fmla="*/ 607066 h 2012953"/>
              <a:gd name="connsiteX37-5751" fmla="*/ 1109309 w 2804294"/>
              <a:gd name="connsiteY37-5752" fmla="*/ 718578 h 2012953"/>
              <a:gd name="connsiteX38-5753" fmla="*/ 640958 w 2804294"/>
              <a:gd name="connsiteY38-5754" fmla="*/ 841241 h 2012953"/>
              <a:gd name="connsiteX39-5755" fmla="*/ 574051 w 2804294"/>
              <a:gd name="connsiteY39-5756" fmla="*/ 896998 h 2012953"/>
              <a:gd name="connsiteX40-5757" fmla="*/ 440236 w 2804294"/>
              <a:gd name="connsiteY40-5758" fmla="*/ 1220383 h 2012953"/>
              <a:gd name="connsiteX41-5759" fmla="*/ 128002 w 2804294"/>
              <a:gd name="connsiteY41-5760" fmla="*/ 1387651 h 2012953"/>
              <a:gd name="connsiteX42-5761" fmla="*/ 105699 w 2804294"/>
              <a:gd name="connsiteY42-5762" fmla="*/ 1532617 h 2012953"/>
              <a:gd name="connsiteX43-5763" fmla="*/ 27641 w 2804294"/>
              <a:gd name="connsiteY43-5764" fmla="*/ 1644129 h 2012953"/>
              <a:gd name="connsiteX44-5765" fmla="*/ 5338 w 2804294"/>
              <a:gd name="connsiteY44-5766" fmla="*/ 1878305 h 2012953"/>
              <a:gd name="connsiteX45-5767" fmla="*/ 1063 w 2804294"/>
              <a:gd name="connsiteY45-5768" fmla="*/ 1837216 h 2012953"/>
              <a:gd name="connsiteX46-5769" fmla="*/ 17008 w 2804294"/>
              <a:gd name="connsiteY46-5770" fmla="*/ 1889892 h 2012953"/>
              <a:gd name="connsiteX47-5771" fmla="*/ 128636 w 2804294"/>
              <a:gd name="connsiteY47-5772" fmla="*/ 1890539 h 2012953"/>
              <a:gd name="connsiteX48-5773" fmla="*/ 21003 w 2804294"/>
              <a:gd name="connsiteY48-5774" fmla="*/ 1886328 h 2012953"/>
              <a:gd name="connsiteX49-5775" fmla="*/ 346055 w 2804294"/>
              <a:gd name="connsiteY49-5776" fmla="*/ 1980645 h 2012953"/>
              <a:gd name="connsiteX0-5777" fmla="*/ 108153 w 2804294"/>
              <a:gd name="connsiteY0-5778" fmla="*/ 2007182 h 2134111"/>
              <a:gd name="connsiteX1-5779" fmla="*/ 96280 w 2804294"/>
              <a:gd name="connsiteY1-5780" fmla="*/ 1995308 h 2134111"/>
              <a:gd name="connsiteX2-5781" fmla="*/ 102217 w 2804294"/>
              <a:gd name="connsiteY2-5782" fmla="*/ 2007182 h 2134111"/>
              <a:gd name="connsiteX3-5783" fmla="*/ 261945 w 2804294"/>
              <a:gd name="connsiteY3-5784" fmla="*/ 2082754 h 2134111"/>
              <a:gd name="connsiteX4-5785" fmla="*/ 251002 w 2804294"/>
              <a:gd name="connsiteY4-5786" fmla="*/ 2101521 h 2134111"/>
              <a:gd name="connsiteX5-5787" fmla="*/ 588466 w 2804294"/>
              <a:gd name="connsiteY5-5788" fmla="*/ 2082488 h 2134111"/>
              <a:gd name="connsiteX6-5789" fmla="*/ 941719 w 2804294"/>
              <a:gd name="connsiteY6-5790" fmla="*/ 2020457 h 2134111"/>
              <a:gd name="connsiteX7-5791" fmla="*/ 964343 w 2804294"/>
              <a:gd name="connsiteY7-5792" fmla="*/ 1586868 h 2134111"/>
              <a:gd name="connsiteX8-5793" fmla="*/ 2079465 w 2804294"/>
              <a:gd name="connsiteY8-5794" fmla="*/ 1575717 h 2134111"/>
              <a:gd name="connsiteX9-5795" fmla="*/ 2068314 w 2804294"/>
              <a:gd name="connsiteY9-5796" fmla="*/ 728224 h 2134111"/>
              <a:gd name="connsiteX10-5797" fmla="*/ 2224431 w 2804294"/>
              <a:gd name="connsiteY10-5798" fmla="*/ 627863 h 2134111"/>
              <a:gd name="connsiteX11-5799" fmla="*/ 2570119 w 2804294"/>
              <a:gd name="connsiteY11-5800" fmla="*/ 449443 h 2134111"/>
              <a:gd name="connsiteX12-5801" fmla="*/ 2804294 w 2804294"/>
              <a:gd name="connsiteY12-5802" fmla="*/ 460595 h 2134111"/>
              <a:gd name="connsiteX13-5803" fmla="*/ 2804294 w 2804294"/>
              <a:gd name="connsiteY13-5804" fmla="*/ 293326 h 2134111"/>
              <a:gd name="connsiteX14-5805" fmla="*/ 2759690 w 2804294"/>
              <a:gd name="connsiteY14-5806" fmla="*/ 215268 h 2134111"/>
              <a:gd name="connsiteX15-5807" fmla="*/ 2748538 w 2804294"/>
              <a:gd name="connsiteY15-5808" fmla="*/ 181814 h 2134111"/>
              <a:gd name="connsiteX16-5809" fmla="*/ 2692782 w 2804294"/>
              <a:gd name="connsiteY16-5810" fmla="*/ 159512 h 2134111"/>
              <a:gd name="connsiteX17-5811" fmla="*/ 2681631 w 2804294"/>
              <a:gd name="connsiteY17-5812" fmla="*/ 204117 h 2134111"/>
              <a:gd name="connsiteX18-5813" fmla="*/ 2558968 w 2804294"/>
              <a:gd name="connsiteY18-5814" fmla="*/ 170663 h 2134111"/>
              <a:gd name="connsiteX19-5815" fmla="*/ 2525514 w 2804294"/>
              <a:gd name="connsiteY19-5816" fmla="*/ 259873 h 2134111"/>
              <a:gd name="connsiteX20-5817" fmla="*/ 2414002 w 2804294"/>
              <a:gd name="connsiteY20-5818" fmla="*/ 226419 h 2134111"/>
              <a:gd name="connsiteX21-5819" fmla="*/ 2369397 w 2804294"/>
              <a:gd name="connsiteY21-5820" fmla="*/ 259873 h 2134111"/>
              <a:gd name="connsiteX22-5821" fmla="*/ 2291338 w 2804294"/>
              <a:gd name="connsiteY22-5822" fmla="*/ 259873 h 2134111"/>
              <a:gd name="connsiteX23-5823" fmla="*/ 2291338 w 2804294"/>
              <a:gd name="connsiteY23-5824" fmla="*/ 259873 h 2134111"/>
              <a:gd name="connsiteX24-5825" fmla="*/ 2213280 w 2804294"/>
              <a:gd name="connsiteY24-5826" fmla="*/ 304478 h 2134111"/>
              <a:gd name="connsiteX25-5827" fmla="*/ 2135221 w 2804294"/>
              <a:gd name="connsiteY25-5828" fmla="*/ 337931 h 2134111"/>
              <a:gd name="connsiteX26-5829" fmla="*/ 2079465 w 2804294"/>
              <a:gd name="connsiteY26-5830" fmla="*/ 337931 h 2134111"/>
              <a:gd name="connsiteX27-5831" fmla="*/ 2079465 w 2804294"/>
              <a:gd name="connsiteY27-5832" fmla="*/ 337931 h 2134111"/>
              <a:gd name="connsiteX28-5833" fmla="*/ 2079465 w 2804294"/>
              <a:gd name="connsiteY28-5834" fmla="*/ 494048 h 2134111"/>
              <a:gd name="connsiteX29-5835" fmla="*/ 1945651 w 2804294"/>
              <a:gd name="connsiteY29-5836" fmla="*/ 471746 h 2134111"/>
              <a:gd name="connsiteX30-5837" fmla="*/ 1856441 w 2804294"/>
              <a:gd name="connsiteY30-5838" fmla="*/ 527502 h 2134111"/>
              <a:gd name="connsiteX31-5839" fmla="*/ 1744929 w 2804294"/>
              <a:gd name="connsiteY31-5840" fmla="*/ 560956 h 2134111"/>
              <a:gd name="connsiteX32-5841" fmla="*/ 1689173 w 2804294"/>
              <a:gd name="connsiteY32-5842" fmla="*/ 516351 h 2134111"/>
              <a:gd name="connsiteX33-5843" fmla="*/ 1798171 w 2804294"/>
              <a:gd name="connsiteY33-5844" fmla="*/ 121158 h 2134111"/>
              <a:gd name="connsiteX34-5845" fmla="*/ 1648887 w 2804294"/>
              <a:gd name="connsiteY34-5846" fmla="*/ 391184 h 2134111"/>
              <a:gd name="connsiteX35-5847" fmla="*/ 1466148 w 2804294"/>
              <a:gd name="connsiteY35-5848" fmla="*/ 594409 h 2134111"/>
              <a:gd name="connsiteX36-5849" fmla="*/ 1231973 w 2804294"/>
              <a:gd name="connsiteY36-5850" fmla="*/ 728224 h 2134111"/>
              <a:gd name="connsiteX37-5851" fmla="*/ 1109309 w 2804294"/>
              <a:gd name="connsiteY37-5852" fmla="*/ 839736 h 2134111"/>
              <a:gd name="connsiteX38-5853" fmla="*/ 640958 w 2804294"/>
              <a:gd name="connsiteY38-5854" fmla="*/ 962399 h 2134111"/>
              <a:gd name="connsiteX39-5855" fmla="*/ 574051 w 2804294"/>
              <a:gd name="connsiteY39-5856" fmla="*/ 1018156 h 2134111"/>
              <a:gd name="connsiteX40-5857" fmla="*/ 440236 w 2804294"/>
              <a:gd name="connsiteY40-5858" fmla="*/ 1341541 h 2134111"/>
              <a:gd name="connsiteX41-5859" fmla="*/ 128002 w 2804294"/>
              <a:gd name="connsiteY41-5860" fmla="*/ 1508809 h 2134111"/>
              <a:gd name="connsiteX42-5861" fmla="*/ 105699 w 2804294"/>
              <a:gd name="connsiteY42-5862" fmla="*/ 1653775 h 2134111"/>
              <a:gd name="connsiteX43-5863" fmla="*/ 27641 w 2804294"/>
              <a:gd name="connsiteY43-5864" fmla="*/ 1765287 h 2134111"/>
              <a:gd name="connsiteX44-5865" fmla="*/ 5338 w 2804294"/>
              <a:gd name="connsiteY44-5866" fmla="*/ 1999463 h 2134111"/>
              <a:gd name="connsiteX45-5867" fmla="*/ 1063 w 2804294"/>
              <a:gd name="connsiteY45-5868" fmla="*/ 1958374 h 2134111"/>
              <a:gd name="connsiteX46-5869" fmla="*/ 17008 w 2804294"/>
              <a:gd name="connsiteY46-5870" fmla="*/ 2011050 h 2134111"/>
              <a:gd name="connsiteX47-5871" fmla="*/ 128636 w 2804294"/>
              <a:gd name="connsiteY47-5872" fmla="*/ 2011697 h 2134111"/>
              <a:gd name="connsiteX48-5873" fmla="*/ 21003 w 2804294"/>
              <a:gd name="connsiteY48-5874" fmla="*/ 2007486 h 2134111"/>
              <a:gd name="connsiteX49-5875" fmla="*/ 346055 w 2804294"/>
              <a:gd name="connsiteY49-5876" fmla="*/ 2101803 h 2134111"/>
              <a:gd name="connsiteX0-5877" fmla="*/ 108153 w 2804294"/>
              <a:gd name="connsiteY0-5878" fmla="*/ 2002365 h 2129294"/>
              <a:gd name="connsiteX1-5879" fmla="*/ 96280 w 2804294"/>
              <a:gd name="connsiteY1-5880" fmla="*/ 1990491 h 2129294"/>
              <a:gd name="connsiteX2-5881" fmla="*/ 102217 w 2804294"/>
              <a:gd name="connsiteY2-5882" fmla="*/ 2002365 h 2129294"/>
              <a:gd name="connsiteX3-5883" fmla="*/ 261945 w 2804294"/>
              <a:gd name="connsiteY3-5884" fmla="*/ 2077937 h 2129294"/>
              <a:gd name="connsiteX4-5885" fmla="*/ 251002 w 2804294"/>
              <a:gd name="connsiteY4-5886" fmla="*/ 2096704 h 2129294"/>
              <a:gd name="connsiteX5-5887" fmla="*/ 588466 w 2804294"/>
              <a:gd name="connsiteY5-5888" fmla="*/ 2077671 h 2129294"/>
              <a:gd name="connsiteX6-5889" fmla="*/ 941719 w 2804294"/>
              <a:gd name="connsiteY6-5890" fmla="*/ 2015640 h 2129294"/>
              <a:gd name="connsiteX7-5891" fmla="*/ 964343 w 2804294"/>
              <a:gd name="connsiteY7-5892" fmla="*/ 1582051 h 2129294"/>
              <a:gd name="connsiteX8-5893" fmla="*/ 2079465 w 2804294"/>
              <a:gd name="connsiteY8-5894" fmla="*/ 1570900 h 2129294"/>
              <a:gd name="connsiteX9-5895" fmla="*/ 2068314 w 2804294"/>
              <a:gd name="connsiteY9-5896" fmla="*/ 723407 h 2129294"/>
              <a:gd name="connsiteX10-5897" fmla="*/ 2224431 w 2804294"/>
              <a:gd name="connsiteY10-5898" fmla="*/ 623046 h 2129294"/>
              <a:gd name="connsiteX11-5899" fmla="*/ 2570119 w 2804294"/>
              <a:gd name="connsiteY11-5900" fmla="*/ 444626 h 2129294"/>
              <a:gd name="connsiteX12-5901" fmla="*/ 2804294 w 2804294"/>
              <a:gd name="connsiteY12-5902" fmla="*/ 455778 h 2129294"/>
              <a:gd name="connsiteX13-5903" fmla="*/ 2804294 w 2804294"/>
              <a:gd name="connsiteY13-5904" fmla="*/ 288509 h 2129294"/>
              <a:gd name="connsiteX14-5905" fmla="*/ 2759690 w 2804294"/>
              <a:gd name="connsiteY14-5906" fmla="*/ 210451 h 2129294"/>
              <a:gd name="connsiteX15-5907" fmla="*/ 2748538 w 2804294"/>
              <a:gd name="connsiteY15-5908" fmla="*/ 176997 h 2129294"/>
              <a:gd name="connsiteX16-5909" fmla="*/ 2692782 w 2804294"/>
              <a:gd name="connsiteY16-5910" fmla="*/ 154695 h 2129294"/>
              <a:gd name="connsiteX17-5911" fmla="*/ 2681631 w 2804294"/>
              <a:gd name="connsiteY17-5912" fmla="*/ 199300 h 2129294"/>
              <a:gd name="connsiteX18-5913" fmla="*/ 2558968 w 2804294"/>
              <a:gd name="connsiteY18-5914" fmla="*/ 165846 h 2129294"/>
              <a:gd name="connsiteX19-5915" fmla="*/ 2525514 w 2804294"/>
              <a:gd name="connsiteY19-5916" fmla="*/ 255056 h 2129294"/>
              <a:gd name="connsiteX20-5917" fmla="*/ 2414002 w 2804294"/>
              <a:gd name="connsiteY20-5918" fmla="*/ 221602 h 2129294"/>
              <a:gd name="connsiteX21-5919" fmla="*/ 2369397 w 2804294"/>
              <a:gd name="connsiteY21-5920" fmla="*/ 255056 h 2129294"/>
              <a:gd name="connsiteX22-5921" fmla="*/ 2291338 w 2804294"/>
              <a:gd name="connsiteY22-5922" fmla="*/ 255056 h 2129294"/>
              <a:gd name="connsiteX23-5923" fmla="*/ 2291338 w 2804294"/>
              <a:gd name="connsiteY23-5924" fmla="*/ 255056 h 2129294"/>
              <a:gd name="connsiteX24-5925" fmla="*/ 2213280 w 2804294"/>
              <a:gd name="connsiteY24-5926" fmla="*/ 299661 h 2129294"/>
              <a:gd name="connsiteX25-5927" fmla="*/ 2135221 w 2804294"/>
              <a:gd name="connsiteY25-5928" fmla="*/ 333114 h 2129294"/>
              <a:gd name="connsiteX26-5929" fmla="*/ 2079465 w 2804294"/>
              <a:gd name="connsiteY26-5930" fmla="*/ 333114 h 2129294"/>
              <a:gd name="connsiteX27-5931" fmla="*/ 2079465 w 2804294"/>
              <a:gd name="connsiteY27-5932" fmla="*/ 333114 h 2129294"/>
              <a:gd name="connsiteX28-5933" fmla="*/ 2079465 w 2804294"/>
              <a:gd name="connsiteY28-5934" fmla="*/ 489231 h 2129294"/>
              <a:gd name="connsiteX29-5935" fmla="*/ 1945651 w 2804294"/>
              <a:gd name="connsiteY29-5936" fmla="*/ 466929 h 2129294"/>
              <a:gd name="connsiteX30-5937" fmla="*/ 1856441 w 2804294"/>
              <a:gd name="connsiteY30-5938" fmla="*/ 522685 h 2129294"/>
              <a:gd name="connsiteX31-5939" fmla="*/ 1744929 w 2804294"/>
              <a:gd name="connsiteY31-5940" fmla="*/ 556139 h 2129294"/>
              <a:gd name="connsiteX32-5941" fmla="*/ 1689173 w 2804294"/>
              <a:gd name="connsiteY32-5942" fmla="*/ 511534 h 2129294"/>
              <a:gd name="connsiteX33-5943" fmla="*/ 2062735 w 2804294"/>
              <a:gd name="connsiteY33-5944" fmla="*/ 65865 h 2129294"/>
              <a:gd name="connsiteX34-5945" fmla="*/ 1798171 w 2804294"/>
              <a:gd name="connsiteY34-5946" fmla="*/ 116341 h 2129294"/>
              <a:gd name="connsiteX35-5947" fmla="*/ 1648887 w 2804294"/>
              <a:gd name="connsiteY35-5948" fmla="*/ 386367 h 2129294"/>
              <a:gd name="connsiteX36-5949" fmla="*/ 1466148 w 2804294"/>
              <a:gd name="connsiteY36-5950" fmla="*/ 589592 h 2129294"/>
              <a:gd name="connsiteX37-5951" fmla="*/ 1231973 w 2804294"/>
              <a:gd name="connsiteY37-5952" fmla="*/ 723407 h 2129294"/>
              <a:gd name="connsiteX38-5953" fmla="*/ 1109309 w 2804294"/>
              <a:gd name="connsiteY38-5954" fmla="*/ 834919 h 2129294"/>
              <a:gd name="connsiteX39-5955" fmla="*/ 640958 w 2804294"/>
              <a:gd name="connsiteY39-5956" fmla="*/ 957582 h 2129294"/>
              <a:gd name="connsiteX40-5957" fmla="*/ 574051 w 2804294"/>
              <a:gd name="connsiteY40-5958" fmla="*/ 1013339 h 2129294"/>
              <a:gd name="connsiteX41-5959" fmla="*/ 440236 w 2804294"/>
              <a:gd name="connsiteY41-5960" fmla="*/ 1336724 h 2129294"/>
              <a:gd name="connsiteX42-5961" fmla="*/ 128002 w 2804294"/>
              <a:gd name="connsiteY42-5962" fmla="*/ 1503992 h 2129294"/>
              <a:gd name="connsiteX43-5963" fmla="*/ 105699 w 2804294"/>
              <a:gd name="connsiteY43-5964" fmla="*/ 1648958 h 2129294"/>
              <a:gd name="connsiteX44-5965" fmla="*/ 27641 w 2804294"/>
              <a:gd name="connsiteY44-5966" fmla="*/ 1760470 h 2129294"/>
              <a:gd name="connsiteX45-5967" fmla="*/ 5338 w 2804294"/>
              <a:gd name="connsiteY45-5968" fmla="*/ 1994646 h 2129294"/>
              <a:gd name="connsiteX46-5969" fmla="*/ 1063 w 2804294"/>
              <a:gd name="connsiteY46-5970" fmla="*/ 1953557 h 2129294"/>
              <a:gd name="connsiteX47-5971" fmla="*/ 17008 w 2804294"/>
              <a:gd name="connsiteY47-5972" fmla="*/ 2006233 h 2129294"/>
              <a:gd name="connsiteX48-5973" fmla="*/ 128636 w 2804294"/>
              <a:gd name="connsiteY48-5974" fmla="*/ 2006880 h 2129294"/>
              <a:gd name="connsiteX49-5975" fmla="*/ 21003 w 2804294"/>
              <a:gd name="connsiteY49-5976" fmla="*/ 2002669 h 2129294"/>
              <a:gd name="connsiteX50-5977" fmla="*/ 346055 w 2804294"/>
              <a:gd name="connsiteY50-5978" fmla="*/ 2096986 h 2129294"/>
              <a:gd name="connsiteX0-5979" fmla="*/ 108153 w 2804294"/>
              <a:gd name="connsiteY0-5980" fmla="*/ 2001205 h 2128134"/>
              <a:gd name="connsiteX1-5981" fmla="*/ 96280 w 2804294"/>
              <a:gd name="connsiteY1-5982" fmla="*/ 1989331 h 2128134"/>
              <a:gd name="connsiteX2-5983" fmla="*/ 102217 w 2804294"/>
              <a:gd name="connsiteY2-5984" fmla="*/ 2001205 h 2128134"/>
              <a:gd name="connsiteX3-5985" fmla="*/ 261945 w 2804294"/>
              <a:gd name="connsiteY3-5986" fmla="*/ 2076777 h 2128134"/>
              <a:gd name="connsiteX4-5987" fmla="*/ 251002 w 2804294"/>
              <a:gd name="connsiteY4-5988" fmla="*/ 2095544 h 2128134"/>
              <a:gd name="connsiteX5-5989" fmla="*/ 588466 w 2804294"/>
              <a:gd name="connsiteY5-5990" fmla="*/ 2076511 h 2128134"/>
              <a:gd name="connsiteX6-5991" fmla="*/ 941719 w 2804294"/>
              <a:gd name="connsiteY6-5992" fmla="*/ 2014480 h 2128134"/>
              <a:gd name="connsiteX7-5993" fmla="*/ 964343 w 2804294"/>
              <a:gd name="connsiteY7-5994" fmla="*/ 1580891 h 2128134"/>
              <a:gd name="connsiteX8-5995" fmla="*/ 2079465 w 2804294"/>
              <a:gd name="connsiteY8-5996" fmla="*/ 1569740 h 2128134"/>
              <a:gd name="connsiteX9-5997" fmla="*/ 2068314 w 2804294"/>
              <a:gd name="connsiteY9-5998" fmla="*/ 722247 h 2128134"/>
              <a:gd name="connsiteX10-5999" fmla="*/ 2224431 w 2804294"/>
              <a:gd name="connsiteY10-6000" fmla="*/ 621886 h 2128134"/>
              <a:gd name="connsiteX11-6001" fmla="*/ 2570119 w 2804294"/>
              <a:gd name="connsiteY11-6002" fmla="*/ 443466 h 2128134"/>
              <a:gd name="connsiteX12-6003" fmla="*/ 2804294 w 2804294"/>
              <a:gd name="connsiteY12-6004" fmla="*/ 454618 h 2128134"/>
              <a:gd name="connsiteX13-6005" fmla="*/ 2804294 w 2804294"/>
              <a:gd name="connsiteY13-6006" fmla="*/ 287349 h 2128134"/>
              <a:gd name="connsiteX14-6007" fmla="*/ 2759690 w 2804294"/>
              <a:gd name="connsiteY14-6008" fmla="*/ 209291 h 2128134"/>
              <a:gd name="connsiteX15-6009" fmla="*/ 2748538 w 2804294"/>
              <a:gd name="connsiteY15-6010" fmla="*/ 175837 h 2128134"/>
              <a:gd name="connsiteX16-6011" fmla="*/ 2692782 w 2804294"/>
              <a:gd name="connsiteY16-6012" fmla="*/ 153535 h 2128134"/>
              <a:gd name="connsiteX17-6013" fmla="*/ 2681631 w 2804294"/>
              <a:gd name="connsiteY17-6014" fmla="*/ 198140 h 2128134"/>
              <a:gd name="connsiteX18-6015" fmla="*/ 2558968 w 2804294"/>
              <a:gd name="connsiteY18-6016" fmla="*/ 164686 h 2128134"/>
              <a:gd name="connsiteX19-6017" fmla="*/ 2525514 w 2804294"/>
              <a:gd name="connsiteY19-6018" fmla="*/ 253896 h 2128134"/>
              <a:gd name="connsiteX20-6019" fmla="*/ 2414002 w 2804294"/>
              <a:gd name="connsiteY20-6020" fmla="*/ 220442 h 2128134"/>
              <a:gd name="connsiteX21-6021" fmla="*/ 2369397 w 2804294"/>
              <a:gd name="connsiteY21-6022" fmla="*/ 253896 h 2128134"/>
              <a:gd name="connsiteX22-6023" fmla="*/ 2291338 w 2804294"/>
              <a:gd name="connsiteY22-6024" fmla="*/ 253896 h 2128134"/>
              <a:gd name="connsiteX23-6025" fmla="*/ 2291338 w 2804294"/>
              <a:gd name="connsiteY23-6026" fmla="*/ 253896 h 2128134"/>
              <a:gd name="connsiteX24-6027" fmla="*/ 2213280 w 2804294"/>
              <a:gd name="connsiteY24-6028" fmla="*/ 298501 h 2128134"/>
              <a:gd name="connsiteX25-6029" fmla="*/ 2135221 w 2804294"/>
              <a:gd name="connsiteY25-6030" fmla="*/ 331954 h 2128134"/>
              <a:gd name="connsiteX26-6031" fmla="*/ 2079465 w 2804294"/>
              <a:gd name="connsiteY26-6032" fmla="*/ 331954 h 2128134"/>
              <a:gd name="connsiteX27-6033" fmla="*/ 2079465 w 2804294"/>
              <a:gd name="connsiteY27-6034" fmla="*/ 331954 h 2128134"/>
              <a:gd name="connsiteX28-6035" fmla="*/ 2079465 w 2804294"/>
              <a:gd name="connsiteY28-6036" fmla="*/ 488071 h 2128134"/>
              <a:gd name="connsiteX29-6037" fmla="*/ 1945651 w 2804294"/>
              <a:gd name="connsiteY29-6038" fmla="*/ 465769 h 2128134"/>
              <a:gd name="connsiteX30-6039" fmla="*/ 1856441 w 2804294"/>
              <a:gd name="connsiteY30-6040" fmla="*/ 521525 h 2128134"/>
              <a:gd name="connsiteX31-6041" fmla="*/ 1744929 w 2804294"/>
              <a:gd name="connsiteY31-6042" fmla="*/ 554979 h 2128134"/>
              <a:gd name="connsiteX32-6043" fmla="*/ 2260399 w 2804294"/>
              <a:gd name="connsiteY32-6044" fmla="*/ 10282 h 2128134"/>
              <a:gd name="connsiteX33-6045" fmla="*/ 2062735 w 2804294"/>
              <a:gd name="connsiteY33-6046" fmla="*/ 64705 h 2128134"/>
              <a:gd name="connsiteX34-6047" fmla="*/ 1798171 w 2804294"/>
              <a:gd name="connsiteY34-6048" fmla="*/ 115181 h 2128134"/>
              <a:gd name="connsiteX35-6049" fmla="*/ 1648887 w 2804294"/>
              <a:gd name="connsiteY35-6050" fmla="*/ 385207 h 2128134"/>
              <a:gd name="connsiteX36-6051" fmla="*/ 1466148 w 2804294"/>
              <a:gd name="connsiteY36-6052" fmla="*/ 588432 h 2128134"/>
              <a:gd name="connsiteX37-6053" fmla="*/ 1231973 w 2804294"/>
              <a:gd name="connsiteY37-6054" fmla="*/ 722247 h 2128134"/>
              <a:gd name="connsiteX38-6055" fmla="*/ 1109309 w 2804294"/>
              <a:gd name="connsiteY38-6056" fmla="*/ 833759 h 2128134"/>
              <a:gd name="connsiteX39-6057" fmla="*/ 640958 w 2804294"/>
              <a:gd name="connsiteY39-6058" fmla="*/ 956422 h 2128134"/>
              <a:gd name="connsiteX40-6059" fmla="*/ 574051 w 2804294"/>
              <a:gd name="connsiteY40-6060" fmla="*/ 1012179 h 2128134"/>
              <a:gd name="connsiteX41-6061" fmla="*/ 440236 w 2804294"/>
              <a:gd name="connsiteY41-6062" fmla="*/ 1335564 h 2128134"/>
              <a:gd name="connsiteX42-6063" fmla="*/ 128002 w 2804294"/>
              <a:gd name="connsiteY42-6064" fmla="*/ 1502832 h 2128134"/>
              <a:gd name="connsiteX43-6065" fmla="*/ 105699 w 2804294"/>
              <a:gd name="connsiteY43-6066" fmla="*/ 1647798 h 2128134"/>
              <a:gd name="connsiteX44-6067" fmla="*/ 27641 w 2804294"/>
              <a:gd name="connsiteY44-6068" fmla="*/ 1759310 h 2128134"/>
              <a:gd name="connsiteX45-6069" fmla="*/ 5338 w 2804294"/>
              <a:gd name="connsiteY45-6070" fmla="*/ 1993486 h 2128134"/>
              <a:gd name="connsiteX46-6071" fmla="*/ 1063 w 2804294"/>
              <a:gd name="connsiteY46-6072" fmla="*/ 1952397 h 2128134"/>
              <a:gd name="connsiteX47-6073" fmla="*/ 17008 w 2804294"/>
              <a:gd name="connsiteY47-6074" fmla="*/ 2005073 h 2128134"/>
              <a:gd name="connsiteX48-6075" fmla="*/ 128636 w 2804294"/>
              <a:gd name="connsiteY48-6076" fmla="*/ 2005720 h 2128134"/>
              <a:gd name="connsiteX49-6077" fmla="*/ 21003 w 2804294"/>
              <a:gd name="connsiteY49-6078" fmla="*/ 2001509 h 2128134"/>
              <a:gd name="connsiteX50-6079" fmla="*/ 346055 w 2804294"/>
              <a:gd name="connsiteY50-6080" fmla="*/ 2095826 h 2128134"/>
              <a:gd name="connsiteX0-6081" fmla="*/ 108153 w 2804294"/>
              <a:gd name="connsiteY0-6082" fmla="*/ 2017751 h 2144680"/>
              <a:gd name="connsiteX1-6083" fmla="*/ 96280 w 2804294"/>
              <a:gd name="connsiteY1-6084" fmla="*/ 2005877 h 2144680"/>
              <a:gd name="connsiteX2-6085" fmla="*/ 102217 w 2804294"/>
              <a:gd name="connsiteY2-6086" fmla="*/ 2017751 h 2144680"/>
              <a:gd name="connsiteX3-6087" fmla="*/ 261945 w 2804294"/>
              <a:gd name="connsiteY3-6088" fmla="*/ 2093323 h 2144680"/>
              <a:gd name="connsiteX4-6089" fmla="*/ 251002 w 2804294"/>
              <a:gd name="connsiteY4-6090" fmla="*/ 2112090 h 2144680"/>
              <a:gd name="connsiteX5-6091" fmla="*/ 588466 w 2804294"/>
              <a:gd name="connsiteY5-6092" fmla="*/ 2093057 h 2144680"/>
              <a:gd name="connsiteX6-6093" fmla="*/ 941719 w 2804294"/>
              <a:gd name="connsiteY6-6094" fmla="*/ 2031026 h 2144680"/>
              <a:gd name="connsiteX7-6095" fmla="*/ 964343 w 2804294"/>
              <a:gd name="connsiteY7-6096" fmla="*/ 1597437 h 2144680"/>
              <a:gd name="connsiteX8-6097" fmla="*/ 2079465 w 2804294"/>
              <a:gd name="connsiteY8-6098" fmla="*/ 1586286 h 2144680"/>
              <a:gd name="connsiteX9-6099" fmla="*/ 2068314 w 2804294"/>
              <a:gd name="connsiteY9-6100" fmla="*/ 738793 h 2144680"/>
              <a:gd name="connsiteX10-6101" fmla="*/ 2224431 w 2804294"/>
              <a:gd name="connsiteY10-6102" fmla="*/ 638432 h 2144680"/>
              <a:gd name="connsiteX11-6103" fmla="*/ 2570119 w 2804294"/>
              <a:gd name="connsiteY11-6104" fmla="*/ 460012 h 2144680"/>
              <a:gd name="connsiteX12-6105" fmla="*/ 2804294 w 2804294"/>
              <a:gd name="connsiteY12-6106" fmla="*/ 471164 h 2144680"/>
              <a:gd name="connsiteX13-6107" fmla="*/ 2804294 w 2804294"/>
              <a:gd name="connsiteY13-6108" fmla="*/ 303895 h 2144680"/>
              <a:gd name="connsiteX14-6109" fmla="*/ 2759690 w 2804294"/>
              <a:gd name="connsiteY14-6110" fmla="*/ 225837 h 2144680"/>
              <a:gd name="connsiteX15-6111" fmla="*/ 2748538 w 2804294"/>
              <a:gd name="connsiteY15-6112" fmla="*/ 192383 h 2144680"/>
              <a:gd name="connsiteX16-6113" fmla="*/ 2692782 w 2804294"/>
              <a:gd name="connsiteY16-6114" fmla="*/ 170081 h 2144680"/>
              <a:gd name="connsiteX17-6115" fmla="*/ 2681631 w 2804294"/>
              <a:gd name="connsiteY17-6116" fmla="*/ 214686 h 2144680"/>
              <a:gd name="connsiteX18-6117" fmla="*/ 2558968 w 2804294"/>
              <a:gd name="connsiteY18-6118" fmla="*/ 181232 h 2144680"/>
              <a:gd name="connsiteX19-6119" fmla="*/ 2525514 w 2804294"/>
              <a:gd name="connsiteY19-6120" fmla="*/ 270442 h 2144680"/>
              <a:gd name="connsiteX20-6121" fmla="*/ 2414002 w 2804294"/>
              <a:gd name="connsiteY20-6122" fmla="*/ 236988 h 2144680"/>
              <a:gd name="connsiteX21-6123" fmla="*/ 2369397 w 2804294"/>
              <a:gd name="connsiteY21-6124" fmla="*/ 270442 h 2144680"/>
              <a:gd name="connsiteX22-6125" fmla="*/ 2291338 w 2804294"/>
              <a:gd name="connsiteY22-6126" fmla="*/ 270442 h 2144680"/>
              <a:gd name="connsiteX23-6127" fmla="*/ 2291338 w 2804294"/>
              <a:gd name="connsiteY23-6128" fmla="*/ 270442 h 2144680"/>
              <a:gd name="connsiteX24-6129" fmla="*/ 2213280 w 2804294"/>
              <a:gd name="connsiteY24-6130" fmla="*/ 315047 h 2144680"/>
              <a:gd name="connsiteX25-6131" fmla="*/ 2135221 w 2804294"/>
              <a:gd name="connsiteY25-6132" fmla="*/ 348500 h 2144680"/>
              <a:gd name="connsiteX26-6133" fmla="*/ 2079465 w 2804294"/>
              <a:gd name="connsiteY26-6134" fmla="*/ 348500 h 2144680"/>
              <a:gd name="connsiteX27-6135" fmla="*/ 2079465 w 2804294"/>
              <a:gd name="connsiteY27-6136" fmla="*/ 348500 h 2144680"/>
              <a:gd name="connsiteX28-6137" fmla="*/ 2079465 w 2804294"/>
              <a:gd name="connsiteY28-6138" fmla="*/ 504617 h 2144680"/>
              <a:gd name="connsiteX29-6139" fmla="*/ 1945651 w 2804294"/>
              <a:gd name="connsiteY29-6140" fmla="*/ 482315 h 2144680"/>
              <a:gd name="connsiteX30-6141" fmla="*/ 1856441 w 2804294"/>
              <a:gd name="connsiteY30-6142" fmla="*/ 538071 h 2144680"/>
              <a:gd name="connsiteX31-6143" fmla="*/ 2316149 w 2804294"/>
              <a:gd name="connsiteY31-6144" fmla="*/ 0 h 2144680"/>
              <a:gd name="connsiteX32-6145" fmla="*/ 2260399 w 2804294"/>
              <a:gd name="connsiteY32-6146" fmla="*/ 26828 h 2144680"/>
              <a:gd name="connsiteX33-6147" fmla="*/ 2062735 w 2804294"/>
              <a:gd name="connsiteY33-6148" fmla="*/ 81251 h 2144680"/>
              <a:gd name="connsiteX34-6149" fmla="*/ 1798171 w 2804294"/>
              <a:gd name="connsiteY34-6150" fmla="*/ 131727 h 2144680"/>
              <a:gd name="connsiteX35-6151" fmla="*/ 1648887 w 2804294"/>
              <a:gd name="connsiteY35-6152" fmla="*/ 401753 h 2144680"/>
              <a:gd name="connsiteX36-6153" fmla="*/ 1466148 w 2804294"/>
              <a:gd name="connsiteY36-6154" fmla="*/ 604978 h 2144680"/>
              <a:gd name="connsiteX37-6155" fmla="*/ 1231973 w 2804294"/>
              <a:gd name="connsiteY37-6156" fmla="*/ 738793 h 2144680"/>
              <a:gd name="connsiteX38-6157" fmla="*/ 1109309 w 2804294"/>
              <a:gd name="connsiteY38-6158" fmla="*/ 850305 h 2144680"/>
              <a:gd name="connsiteX39-6159" fmla="*/ 640958 w 2804294"/>
              <a:gd name="connsiteY39-6160" fmla="*/ 972968 h 2144680"/>
              <a:gd name="connsiteX40-6161" fmla="*/ 574051 w 2804294"/>
              <a:gd name="connsiteY40-6162" fmla="*/ 1028725 h 2144680"/>
              <a:gd name="connsiteX41-6163" fmla="*/ 440236 w 2804294"/>
              <a:gd name="connsiteY41-6164" fmla="*/ 1352110 h 2144680"/>
              <a:gd name="connsiteX42-6165" fmla="*/ 128002 w 2804294"/>
              <a:gd name="connsiteY42-6166" fmla="*/ 1519378 h 2144680"/>
              <a:gd name="connsiteX43-6167" fmla="*/ 105699 w 2804294"/>
              <a:gd name="connsiteY43-6168" fmla="*/ 1664344 h 2144680"/>
              <a:gd name="connsiteX44-6169" fmla="*/ 27641 w 2804294"/>
              <a:gd name="connsiteY44-6170" fmla="*/ 1775856 h 2144680"/>
              <a:gd name="connsiteX45-6171" fmla="*/ 5338 w 2804294"/>
              <a:gd name="connsiteY45-6172" fmla="*/ 2010032 h 2144680"/>
              <a:gd name="connsiteX46-6173" fmla="*/ 1063 w 2804294"/>
              <a:gd name="connsiteY46-6174" fmla="*/ 1968943 h 2144680"/>
              <a:gd name="connsiteX47-6175" fmla="*/ 17008 w 2804294"/>
              <a:gd name="connsiteY47-6176" fmla="*/ 2021619 h 2144680"/>
              <a:gd name="connsiteX48-6177" fmla="*/ 128636 w 2804294"/>
              <a:gd name="connsiteY48-6178" fmla="*/ 2022266 h 2144680"/>
              <a:gd name="connsiteX49-6179" fmla="*/ 21003 w 2804294"/>
              <a:gd name="connsiteY49-6180" fmla="*/ 2018055 h 2144680"/>
              <a:gd name="connsiteX50-6181" fmla="*/ 346055 w 2804294"/>
              <a:gd name="connsiteY50-6182" fmla="*/ 2112372 h 2144680"/>
              <a:gd name="connsiteX0-6183" fmla="*/ 108153 w 2804294"/>
              <a:gd name="connsiteY0-6184" fmla="*/ 2017751 h 2144680"/>
              <a:gd name="connsiteX1-6185" fmla="*/ 96280 w 2804294"/>
              <a:gd name="connsiteY1-6186" fmla="*/ 2005877 h 2144680"/>
              <a:gd name="connsiteX2-6187" fmla="*/ 102217 w 2804294"/>
              <a:gd name="connsiteY2-6188" fmla="*/ 2017751 h 2144680"/>
              <a:gd name="connsiteX3-6189" fmla="*/ 261945 w 2804294"/>
              <a:gd name="connsiteY3-6190" fmla="*/ 2093323 h 2144680"/>
              <a:gd name="connsiteX4-6191" fmla="*/ 251002 w 2804294"/>
              <a:gd name="connsiteY4-6192" fmla="*/ 2112090 h 2144680"/>
              <a:gd name="connsiteX5-6193" fmla="*/ 588466 w 2804294"/>
              <a:gd name="connsiteY5-6194" fmla="*/ 2093057 h 2144680"/>
              <a:gd name="connsiteX6-6195" fmla="*/ 941719 w 2804294"/>
              <a:gd name="connsiteY6-6196" fmla="*/ 2031026 h 2144680"/>
              <a:gd name="connsiteX7-6197" fmla="*/ 964343 w 2804294"/>
              <a:gd name="connsiteY7-6198" fmla="*/ 1597437 h 2144680"/>
              <a:gd name="connsiteX8-6199" fmla="*/ 2079465 w 2804294"/>
              <a:gd name="connsiteY8-6200" fmla="*/ 1586286 h 2144680"/>
              <a:gd name="connsiteX9-6201" fmla="*/ 2068314 w 2804294"/>
              <a:gd name="connsiteY9-6202" fmla="*/ 738793 h 2144680"/>
              <a:gd name="connsiteX10-6203" fmla="*/ 2224431 w 2804294"/>
              <a:gd name="connsiteY10-6204" fmla="*/ 638432 h 2144680"/>
              <a:gd name="connsiteX11-6205" fmla="*/ 2570119 w 2804294"/>
              <a:gd name="connsiteY11-6206" fmla="*/ 460012 h 2144680"/>
              <a:gd name="connsiteX12-6207" fmla="*/ 2804294 w 2804294"/>
              <a:gd name="connsiteY12-6208" fmla="*/ 471164 h 2144680"/>
              <a:gd name="connsiteX13-6209" fmla="*/ 2804294 w 2804294"/>
              <a:gd name="connsiteY13-6210" fmla="*/ 303895 h 2144680"/>
              <a:gd name="connsiteX14-6211" fmla="*/ 2759690 w 2804294"/>
              <a:gd name="connsiteY14-6212" fmla="*/ 225837 h 2144680"/>
              <a:gd name="connsiteX15-6213" fmla="*/ 2748538 w 2804294"/>
              <a:gd name="connsiteY15-6214" fmla="*/ 192383 h 2144680"/>
              <a:gd name="connsiteX16-6215" fmla="*/ 2692782 w 2804294"/>
              <a:gd name="connsiteY16-6216" fmla="*/ 170081 h 2144680"/>
              <a:gd name="connsiteX17-6217" fmla="*/ 2681631 w 2804294"/>
              <a:gd name="connsiteY17-6218" fmla="*/ 214686 h 2144680"/>
              <a:gd name="connsiteX18-6219" fmla="*/ 2558968 w 2804294"/>
              <a:gd name="connsiteY18-6220" fmla="*/ 181232 h 2144680"/>
              <a:gd name="connsiteX19-6221" fmla="*/ 2525514 w 2804294"/>
              <a:gd name="connsiteY19-6222" fmla="*/ 270442 h 2144680"/>
              <a:gd name="connsiteX20-6223" fmla="*/ 2414002 w 2804294"/>
              <a:gd name="connsiteY20-6224" fmla="*/ 236988 h 2144680"/>
              <a:gd name="connsiteX21-6225" fmla="*/ 2369397 w 2804294"/>
              <a:gd name="connsiteY21-6226" fmla="*/ 270442 h 2144680"/>
              <a:gd name="connsiteX22-6227" fmla="*/ 2291338 w 2804294"/>
              <a:gd name="connsiteY22-6228" fmla="*/ 270442 h 2144680"/>
              <a:gd name="connsiteX23-6229" fmla="*/ 2291338 w 2804294"/>
              <a:gd name="connsiteY23-6230" fmla="*/ 270442 h 2144680"/>
              <a:gd name="connsiteX24-6231" fmla="*/ 2213280 w 2804294"/>
              <a:gd name="connsiteY24-6232" fmla="*/ 315047 h 2144680"/>
              <a:gd name="connsiteX25-6233" fmla="*/ 2135221 w 2804294"/>
              <a:gd name="connsiteY25-6234" fmla="*/ 348500 h 2144680"/>
              <a:gd name="connsiteX26-6235" fmla="*/ 2079465 w 2804294"/>
              <a:gd name="connsiteY26-6236" fmla="*/ 348500 h 2144680"/>
              <a:gd name="connsiteX27-6237" fmla="*/ 2079465 w 2804294"/>
              <a:gd name="connsiteY27-6238" fmla="*/ 348500 h 2144680"/>
              <a:gd name="connsiteX28-6239" fmla="*/ 2079465 w 2804294"/>
              <a:gd name="connsiteY28-6240" fmla="*/ 504617 h 2144680"/>
              <a:gd name="connsiteX29-6241" fmla="*/ 1945651 w 2804294"/>
              <a:gd name="connsiteY29-6242" fmla="*/ 482315 h 2144680"/>
              <a:gd name="connsiteX30-6243" fmla="*/ 1856441 w 2804294"/>
              <a:gd name="connsiteY30-6244" fmla="*/ 538071 h 2144680"/>
              <a:gd name="connsiteX31-6245" fmla="*/ 2365894 w 2804294"/>
              <a:gd name="connsiteY31-6246" fmla="*/ 27635 h 2144680"/>
              <a:gd name="connsiteX32-6247" fmla="*/ 2316149 w 2804294"/>
              <a:gd name="connsiteY32-6248" fmla="*/ 0 h 2144680"/>
              <a:gd name="connsiteX33-6249" fmla="*/ 2260399 w 2804294"/>
              <a:gd name="connsiteY33-6250" fmla="*/ 26828 h 2144680"/>
              <a:gd name="connsiteX34-6251" fmla="*/ 2062735 w 2804294"/>
              <a:gd name="connsiteY34-6252" fmla="*/ 81251 h 2144680"/>
              <a:gd name="connsiteX35-6253" fmla="*/ 1798171 w 2804294"/>
              <a:gd name="connsiteY35-6254" fmla="*/ 131727 h 2144680"/>
              <a:gd name="connsiteX36-6255" fmla="*/ 1648887 w 2804294"/>
              <a:gd name="connsiteY36-6256" fmla="*/ 401753 h 2144680"/>
              <a:gd name="connsiteX37-6257" fmla="*/ 1466148 w 2804294"/>
              <a:gd name="connsiteY37-6258" fmla="*/ 604978 h 2144680"/>
              <a:gd name="connsiteX38-6259" fmla="*/ 1231973 w 2804294"/>
              <a:gd name="connsiteY38-6260" fmla="*/ 738793 h 2144680"/>
              <a:gd name="connsiteX39-6261" fmla="*/ 1109309 w 2804294"/>
              <a:gd name="connsiteY39-6262" fmla="*/ 850305 h 2144680"/>
              <a:gd name="connsiteX40-6263" fmla="*/ 640958 w 2804294"/>
              <a:gd name="connsiteY40-6264" fmla="*/ 972968 h 2144680"/>
              <a:gd name="connsiteX41-6265" fmla="*/ 574051 w 2804294"/>
              <a:gd name="connsiteY41-6266" fmla="*/ 1028725 h 2144680"/>
              <a:gd name="connsiteX42-6267" fmla="*/ 440236 w 2804294"/>
              <a:gd name="connsiteY42-6268" fmla="*/ 1352110 h 2144680"/>
              <a:gd name="connsiteX43-6269" fmla="*/ 128002 w 2804294"/>
              <a:gd name="connsiteY43-6270" fmla="*/ 1519378 h 2144680"/>
              <a:gd name="connsiteX44-6271" fmla="*/ 105699 w 2804294"/>
              <a:gd name="connsiteY44-6272" fmla="*/ 1664344 h 2144680"/>
              <a:gd name="connsiteX45-6273" fmla="*/ 27641 w 2804294"/>
              <a:gd name="connsiteY45-6274" fmla="*/ 1775856 h 2144680"/>
              <a:gd name="connsiteX46-6275" fmla="*/ 5338 w 2804294"/>
              <a:gd name="connsiteY46-6276" fmla="*/ 2010032 h 2144680"/>
              <a:gd name="connsiteX47-6277" fmla="*/ 1063 w 2804294"/>
              <a:gd name="connsiteY47-6278" fmla="*/ 1968943 h 2144680"/>
              <a:gd name="connsiteX48-6279" fmla="*/ 17008 w 2804294"/>
              <a:gd name="connsiteY48-6280" fmla="*/ 2021619 h 2144680"/>
              <a:gd name="connsiteX49-6281" fmla="*/ 128636 w 2804294"/>
              <a:gd name="connsiteY49-6282" fmla="*/ 2022266 h 2144680"/>
              <a:gd name="connsiteX50-6283" fmla="*/ 21003 w 2804294"/>
              <a:gd name="connsiteY50-6284" fmla="*/ 2018055 h 2144680"/>
              <a:gd name="connsiteX51-6285" fmla="*/ 346055 w 2804294"/>
              <a:gd name="connsiteY51-6286" fmla="*/ 2112372 h 2144680"/>
              <a:gd name="connsiteX0-6287" fmla="*/ 108153 w 2804294"/>
              <a:gd name="connsiteY0-6288" fmla="*/ 2017751 h 2144680"/>
              <a:gd name="connsiteX1-6289" fmla="*/ 96280 w 2804294"/>
              <a:gd name="connsiteY1-6290" fmla="*/ 2005877 h 2144680"/>
              <a:gd name="connsiteX2-6291" fmla="*/ 102217 w 2804294"/>
              <a:gd name="connsiteY2-6292" fmla="*/ 2017751 h 2144680"/>
              <a:gd name="connsiteX3-6293" fmla="*/ 261945 w 2804294"/>
              <a:gd name="connsiteY3-6294" fmla="*/ 2093323 h 2144680"/>
              <a:gd name="connsiteX4-6295" fmla="*/ 251002 w 2804294"/>
              <a:gd name="connsiteY4-6296" fmla="*/ 2112090 h 2144680"/>
              <a:gd name="connsiteX5-6297" fmla="*/ 588466 w 2804294"/>
              <a:gd name="connsiteY5-6298" fmla="*/ 2093057 h 2144680"/>
              <a:gd name="connsiteX6-6299" fmla="*/ 941719 w 2804294"/>
              <a:gd name="connsiteY6-6300" fmla="*/ 2031026 h 2144680"/>
              <a:gd name="connsiteX7-6301" fmla="*/ 964343 w 2804294"/>
              <a:gd name="connsiteY7-6302" fmla="*/ 1597437 h 2144680"/>
              <a:gd name="connsiteX8-6303" fmla="*/ 2079465 w 2804294"/>
              <a:gd name="connsiteY8-6304" fmla="*/ 1586286 h 2144680"/>
              <a:gd name="connsiteX9-6305" fmla="*/ 2068314 w 2804294"/>
              <a:gd name="connsiteY9-6306" fmla="*/ 738793 h 2144680"/>
              <a:gd name="connsiteX10-6307" fmla="*/ 2224431 w 2804294"/>
              <a:gd name="connsiteY10-6308" fmla="*/ 638432 h 2144680"/>
              <a:gd name="connsiteX11-6309" fmla="*/ 2570119 w 2804294"/>
              <a:gd name="connsiteY11-6310" fmla="*/ 460012 h 2144680"/>
              <a:gd name="connsiteX12-6311" fmla="*/ 2804294 w 2804294"/>
              <a:gd name="connsiteY12-6312" fmla="*/ 471164 h 2144680"/>
              <a:gd name="connsiteX13-6313" fmla="*/ 2804294 w 2804294"/>
              <a:gd name="connsiteY13-6314" fmla="*/ 303895 h 2144680"/>
              <a:gd name="connsiteX14-6315" fmla="*/ 2759690 w 2804294"/>
              <a:gd name="connsiteY14-6316" fmla="*/ 225837 h 2144680"/>
              <a:gd name="connsiteX15-6317" fmla="*/ 2748538 w 2804294"/>
              <a:gd name="connsiteY15-6318" fmla="*/ 192383 h 2144680"/>
              <a:gd name="connsiteX16-6319" fmla="*/ 2692782 w 2804294"/>
              <a:gd name="connsiteY16-6320" fmla="*/ 170081 h 2144680"/>
              <a:gd name="connsiteX17-6321" fmla="*/ 2681631 w 2804294"/>
              <a:gd name="connsiteY17-6322" fmla="*/ 214686 h 2144680"/>
              <a:gd name="connsiteX18-6323" fmla="*/ 2558968 w 2804294"/>
              <a:gd name="connsiteY18-6324" fmla="*/ 181232 h 2144680"/>
              <a:gd name="connsiteX19-6325" fmla="*/ 2525514 w 2804294"/>
              <a:gd name="connsiteY19-6326" fmla="*/ 270442 h 2144680"/>
              <a:gd name="connsiteX20-6327" fmla="*/ 2414002 w 2804294"/>
              <a:gd name="connsiteY20-6328" fmla="*/ 236988 h 2144680"/>
              <a:gd name="connsiteX21-6329" fmla="*/ 2369397 w 2804294"/>
              <a:gd name="connsiteY21-6330" fmla="*/ 270442 h 2144680"/>
              <a:gd name="connsiteX22-6331" fmla="*/ 2291338 w 2804294"/>
              <a:gd name="connsiteY22-6332" fmla="*/ 270442 h 2144680"/>
              <a:gd name="connsiteX23-6333" fmla="*/ 2291338 w 2804294"/>
              <a:gd name="connsiteY23-6334" fmla="*/ 270442 h 2144680"/>
              <a:gd name="connsiteX24-6335" fmla="*/ 2213280 w 2804294"/>
              <a:gd name="connsiteY24-6336" fmla="*/ 315047 h 2144680"/>
              <a:gd name="connsiteX25-6337" fmla="*/ 2135221 w 2804294"/>
              <a:gd name="connsiteY25-6338" fmla="*/ 348500 h 2144680"/>
              <a:gd name="connsiteX26-6339" fmla="*/ 2079465 w 2804294"/>
              <a:gd name="connsiteY26-6340" fmla="*/ 348500 h 2144680"/>
              <a:gd name="connsiteX27-6341" fmla="*/ 2079465 w 2804294"/>
              <a:gd name="connsiteY27-6342" fmla="*/ 348500 h 2144680"/>
              <a:gd name="connsiteX28-6343" fmla="*/ 2079465 w 2804294"/>
              <a:gd name="connsiteY28-6344" fmla="*/ 504617 h 2144680"/>
              <a:gd name="connsiteX29-6345" fmla="*/ 1945651 w 2804294"/>
              <a:gd name="connsiteY29-6346" fmla="*/ 482315 h 2144680"/>
              <a:gd name="connsiteX30-6347" fmla="*/ 1856441 w 2804294"/>
              <a:gd name="connsiteY30-6348" fmla="*/ 538071 h 2144680"/>
              <a:gd name="connsiteX31-6349" fmla="*/ 2431388 w 2804294"/>
              <a:gd name="connsiteY31-6350" fmla="*/ 104999 h 2144680"/>
              <a:gd name="connsiteX32-6351" fmla="*/ 2365894 w 2804294"/>
              <a:gd name="connsiteY32-6352" fmla="*/ 27635 h 2144680"/>
              <a:gd name="connsiteX33-6353" fmla="*/ 2316149 w 2804294"/>
              <a:gd name="connsiteY33-6354" fmla="*/ 0 h 2144680"/>
              <a:gd name="connsiteX34-6355" fmla="*/ 2260399 w 2804294"/>
              <a:gd name="connsiteY34-6356" fmla="*/ 26828 h 2144680"/>
              <a:gd name="connsiteX35-6357" fmla="*/ 2062735 w 2804294"/>
              <a:gd name="connsiteY35-6358" fmla="*/ 81251 h 2144680"/>
              <a:gd name="connsiteX36-6359" fmla="*/ 1798171 w 2804294"/>
              <a:gd name="connsiteY36-6360" fmla="*/ 131727 h 2144680"/>
              <a:gd name="connsiteX37-6361" fmla="*/ 1648887 w 2804294"/>
              <a:gd name="connsiteY37-6362" fmla="*/ 401753 h 2144680"/>
              <a:gd name="connsiteX38-6363" fmla="*/ 1466148 w 2804294"/>
              <a:gd name="connsiteY38-6364" fmla="*/ 604978 h 2144680"/>
              <a:gd name="connsiteX39-6365" fmla="*/ 1231973 w 2804294"/>
              <a:gd name="connsiteY39-6366" fmla="*/ 738793 h 2144680"/>
              <a:gd name="connsiteX40-6367" fmla="*/ 1109309 w 2804294"/>
              <a:gd name="connsiteY40-6368" fmla="*/ 850305 h 2144680"/>
              <a:gd name="connsiteX41-6369" fmla="*/ 640958 w 2804294"/>
              <a:gd name="connsiteY41-6370" fmla="*/ 972968 h 2144680"/>
              <a:gd name="connsiteX42-6371" fmla="*/ 574051 w 2804294"/>
              <a:gd name="connsiteY42-6372" fmla="*/ 1028725 h 2144680"/>
              <a:gd name="connsiteX43-6373" fmla="*/ 440236 w 2804294"/>
              <a:gd name="connsiteY43-6374" fmla="*/ 1352110 h 2144680"/>
              <a:gd name="connsiteX44-6375" fmla="*/ 128002 w 2804294"/>
              <a:gd name="connsiteY44-6376" fmla="*/ 1519378 h 2144680"/>
              <a:gd name="connsiteX45-6377" fmla="*/ 105699 w 2804294"/>
              <a:gd name="connsiteY45-6378" fmla="*/ 1664344 h 2144680"/>
              <a:gd name="connsiteX46-6379" fmla="*/ 27641 w 2804294"/>
              <a:gd name="connsiteY46-6380" fmla="*/ 1775856 h 2144680"/>
              <a:gd name="connsiteX47-6381" fmla="*/ 5338 w 2804294"/>
              <a:gd name="connsiteY47-6382" fmla="*/ 2010032 h 2144680"/>
              <a:gd name="connsiteX48-6383" fmla="*/ 1063 w 2804294"/>
              <a:gd name="connsiteY48-6384" fmla="*/ 1968943 h 2144680"/>
              <a:gd name="connsiteX49-6385" fmla="*/ 17008 w 2804294"/>
              <a:gd name="connsiteY49-6386" fmla="*/ 2021619 h 2144680"/>
              <a:gd name="connsiteX50-6387" fmla="*/ 128636 w 2804294"/>
              <a:gd name="connsiteY50-6388" fmla="*/ 2022266 h 2144680"/>
              <a:gd name="connsiteX51-6389" fmla="*/ 21003 w 2804294"/>
              <a:gd name="connsiteY51-6390" fmla="*/ 2018055 h 2144680"/>
              <a:gd name="connsiteX52-6391" fmla="*/ 346055 w 2804294"/>
              <a:gd name="connsiteY52-6392" fmla="*/ 2112372 h 2144680"/>
              <a:gd name="connsiteX0-6393" fmla="*/ 108153 w 2804294"/>
              <a:gd name="connsiteY0-6394" fmla="*/ 2017751 h 2144680"/>
              <a:gd name="connsiteX1-6395" fmla="*/ 96280 w 2804294"/>
              <a:gd name="connsiteY1-6396" fmla="*/ 2005877 h 2144680"/>
              <a:gd name="connsiteX2-6397" fmla="*/ 102217 w 2804294"/>
              <a:gd name="connsiteY2-6398" fmla="*/ 2017751 h 2144680"/>
              <a:gd name="connsiteX3-6399" fmla="*/ 261945 w 2804294"/>
              <a:gd name="connsiteY3-6400" fmla="*/ 2093323 h 2144680"/>
              <a:gd name="connsiteX4-6401" fmla="*/ 251002 w 2804294"/>
              <a:gd name="connsiteY4-6402" fmla="*/ 2112090 h 2144680"/>
              <a:gd name="connsiteX5-6403" fmla="*/ 588466 w 2804294"/>
              <a:gd name="connsiteY5-6404" fmla="*/ 2093057 h 2144680"/>
              <a:gd name="connsiteX6-6405" fmla="*/ 941719 w 2804294"/>
              <a:gd name="connsiteY6-6406" fmla="*/ 2031026 h 2144680"/>
              <a:gd name="connsiteX7-6407" fmla="*/ 964343 w 2804294"/>
              <a:gd name="connsiteY7-6408" fmla="*/ 1597437 h 2144680"/>
              <a:gd name="connsiteX8-6409" fmla="*/ 2079465 w 2804294"/>
              <a:gd name="connsiteY8-6410" fmla="*/ 1586286 h 2144680"/>
              <a:gd name="connsiteX9-6411" fmla="*/ 2068314 w 2804294"/>
              <a:gd name="connsiteY9-6412" fmla="*/ 738793 h 2144680"/>
              <a:gd name="connsiteX10-6413" fmla="*/ 2224431 w 2804294"/>
              <a:gd name="connsiteY10-6414" fmla="*/ 638432 h 2144680"/>
              <a:gd name="connsiteX11-6415" fmla="*/ 2570119 w 2804294"/>
              <a:gd name="connsiteY11-6416" fmla="*/ 460012 h 2144680"/>
              <a:gd name="connsiteX12-6417" fmla="*/ 2804294 w 2804294"/>
              <a:gd name="connsiteY12-6418" fmla="*/ 471164 h 2144680"/>
              <a:gd name="connsiteX13-6419" fmla="*/ 2804294 w 2804294"/>
              <a:gd name="connsiteY13-6420" fmla="*/ 303895 h 2144680"/>
              <a:gd name="connsiteX14-6421" fmla="*/ 2759690 w 2804294"/>
              <a:gd name="connsiteY14-6422" fmla="*/ 225837 h 2144680"/>
              <a:gd name="connsiteX15-6423" fmla="*/ 2748538 w 2804294"/>
              <a:gd name="connsiteY15-6424" fmla="*/ 192383 h 2144680"/>
              <a:gd name="connsiteX16-6425" fmla="*/ 2692782 w 2804294"/>
              <a:gd name="connsiteY16-6426" fmla="*/ 170081 h 2144680"/>
              <a:gd name="connsiteX17-6427" fmla="*/ 2681631 w 2804294"/>
              <a:gd name="connsiteY17-6428" fmla="*/ 214686 h 2144680"/>
              <a:gd name="connsiteX18-6429" fmla="*/ 2558968 w 2804294"/>
              <a:gd name="connsiteY18-6430" fmla="*/ 181232 h 2144680"/>
              <a:gd name="connsiteX19-6431" fmla="*/ 2525514 w 2804294"/>
              <a:gd name="connsiteY19-6432" fmla="*/ 270442 h 2144680"/>
              <a:gd name="connsiteX20-6433" fmla="*/ 2414002 w 2804294"/>
              <a:gd name="connsiteY20-6434" fmla="*/ 236988 h 2144680"/>
              <a:gd name="connsiteX21-6435" fmla="*/ 2369397 w 2804294"/>
              <a:gd name="connsiteY21-6436" fmla="*/ 270442 h 2144680"/>
              <a:gd name="connsiteX22-6437" fmla="*/ 2291338 w 2804294"/>
              <a:gd name="connsiteY22-6438" fmla="*/ 270442 h 2144680"/>
              <a:gd name="connsiteX23-6439" fmla="*/ 2291338 w 2804294"/>
              <a:gd name="connsiteY23-6440" fmla="*/ 270442 h 2144680"/>
              <a:gd name="connsiteX24-6441" fmla="*/ 2213280 w 2804294"/>
              <a:gd name="connsiteY24-6442" fmla="*/ 315047 h 2144680"/>
              <a:gd name="connsiteX25-6443" fmla="*/ 2135221 w 2804294"/>
              <a:gd name="connsiteY25-6444" fmla="*/ 348500 h 2144680"/>
              <a:gd name="connsiteX26-6445" fmla="*/ 2079465 w 2804294"/>
              <a:gd name="connsiteY26-6446" fmla="*/ 348500 h 2144680"/>
              <a:gd name="connsiteX27-6447" fmla="*/ 2079465 w 2804294"/>
              <a:gd name="connsiteY27-6448" fmla="*/ 348500 h 2144680"/>
              <a:gd name="connsiteX28-6449" fmla="*/ 2079465 w 2804294"/>
              <a:gd name="connsiteY28-6450" fmla="*/ 504617 h 2144680"/>
              <a:gd name="connsiteX29-6451" fmla="*/ 1945651 w 2804294"/>
              <a:gd name="connsiteY29-6452" fmla="*/ 482315 h 2144680"/>
              <a:gd name="connsiteX30-6453" fmla="*/ 2431388 w 2804294"/>
              <a:gd name="connsiteY30-6454" fmla="*/ 104999 h 2144680"/>
              <a:gd name="connsiteX31-6455" fmla="*/ 2365894 w 2804294"/>
              <a:gd name="connsiteY31-6456" fmla="*/ 27635 h 2144680"/>
              <a:gd name="connsiteX32-6457" fmla="*/ 2316149 w 2804294"/>
              <a:gd name="connsiteY32-6458" fmla="*/ 0 h 2144680"/>
              <a:gd name="connsiteX33-6459" fmla="*/ 2260399 w 2804294"/>
              <a:gd name="connsiteY33-6460" fmla="*/ 26828 h 2144680"/>
              <a:gd name="connsiteX34-6461" fmla="*/ 2062735 w 2804294"/>
              <a:gd name="connsiteY34-6462" fmla="*/ 81251 h 2144680"/>
              <a:gd name="connsiteX35-6463" fmla="*/ 1798171 w 2804294"/>
              <a:gd name="connsiteY35-6464" fmla="*/ 131727 h 2144680"/>
              <a:gd name="connsiteX36-6465" fmla="*/ 1648887 w 2804294"/>
              <a:gd name="connsiteY36-6466" fmla="*/ 401753 h 2144680"/>
              <a:gd name="connsiteX37-6467" fmla="*/ 1466148 w 2804294"/>
              <a:gd name="connsiteY37-6468" fmla="*/ 604978 h 2144680"/>
              <a:gd name="connsiteX38-6469" fmla="*/ 1231973 w 2804294"/>
              <a:gd name="connsiteY38-6470" fmla="*/ 738793 h 2144680"/>
              <a:gd name="connsiteX39-6471" fmla="*/ 1109309 w 2804294"/>
              <a:gd name="connsiteY39-6472" fmla="*/ 850305 h 2144680"/>
              <a:gd name="connsiteX40-6473" fmla="*/ 640958 w 2804294"/>
              <a:gd name="connsiteY40-6474" fmla="*/ 972968 h 2144680"/>
              <a:gd name="connsiteX41-6475" fmla="*/ 574051 w 2804294"/>
              <a:gd name="connsiteY41-6476" fmla="*/ 1028725 h 2144680"/>
              <a:gd name="connsiteX42-6477" fmla="*/ 440236 w 2804294"/>
              <a:gd name="connsiteY42-6478" fmla="*/ 1352110 h 2144680"/>
              <a:gd name="connsiteX43-6479" fmla="*/ 128002 w 2804294"/>
              <a:gd name="connsiteY43-6480" fmla="*/ 1519378 h 2144680"/>
              <a:gd name="connsiteX44-6481" fmla="*/ 105699 w 2804294"/>
              <a:gd name="connsiteY44-6482" fmla="*/ 1664344 h 2144680"/>
              <a:gd name="connsiteX45-6483" fmla="*/ 27641 w 2804294"/>
              <a:gd name="connsiteY45-6484" fmla="*/ 1775856 h 2144680"/>
              <a:gd name="connsiteX46-6485" fmla="*/ 5338 w 2804294"/>
              <a:gd name="connsiteY46-6486" fmla="*/ 2010032 h 2144680"/>
              <a:gd name="connsiteX47-6487" fmla="*/ 1063 w 2804294"/>
              <a:gd name="connsiteY47-6488" fmla="*/ 1968943 h 2144680"/>
              <a:gd name="connsiteX48-6489" fmla="*/ 17008 w 2804294"/>
              <a:gd name="connsiteY48-6490" fmla="*/ 2021619 h 2144680"/>
              <a:gd name="connsiteX49-6491" fmla="*/ 128636 w 2804294"/>
              <a:gd name="connsiteY49-6492" fmla="*/ 2022266 h 2144680"/>
              <a:gd name="connsiteX50-6493" fmla="*/ 21003 w 2804294"/>
              <a:gd name="connsiteY50-6494" fmla="*/ 2018055 h 2144680"/>
              <a:gd name="connsiteX51-6495" fmla="*/ 346055 w 2804294"/>
              <a:gd name="connsiteY51-6496" fmla="*/ 2112372 h 2144680"/>
              <a:gd name="connsiteX0-6497" fmla="*/ 108153 w 2804294"/>
              <a:gd name="connsiteY0-6498" fmla="*/ 2017751 h 2144680"/>
              <a:gd name="connsiteX1-6499" fmla="*/ 96280 w 2804294"/>
              <a:gd name="connsiteY1-6500" fmla="*/ 2005877 h 2144680"/>
              <a:gd name="connsiteX2-6501" fmla="*/ 102217 w 2804294"/>
              <a:gd name="connsiteY2-6502" fmla="*/ 2017751 h 2144680"/>
              <a:gd name="connsiteX3-6503" fmla="*/ 261945 w 2804294"/>
              <a:gd name="connsiteY3-6504" fmla="*/ 2093323 h 2144680"/>
              <a:gd name="connsiteX4-6505" fmla="*/ 251002 w 2804294"/>
              <a:gd name="connsiteY4-6506" fmla="*/ 2112090 h 2144680"/>
              <a:gd name="connsiteX5-6507" fmla="*/ 588466 w 2804294"/>
              <a:gd name="connsiteY5-6508" fmla="*/ 2093057 h 2144680"/>
              <a:gd name="connsiteX6-6509" fmla="*/ 941719 w 2804294"/>
              <a:gd name="connsiteY6-6510" fmla="*/ 2031026 h 2144680"/>
              <a:gd name="connsiteX7-6511" fmla="*/ 964343 w 2804294"/>
              <a:gd name="connsiteY7-6512" fmla="*/ 1597437 h 2144680"/>
              <a:gd name="connsiteX8-6513" fmla="*/ 2079465 w 2804294"/>
              <a:gd name="connsiteY8-6514" fmla="*/ 1586286 h 2144680"/>
              <a:gd name="connsiteX9-6515" fmla="*/ 2068314 w 2804294"/>
              <a:gd name="connsiteY9-6516" fmla="*/ 738793 h 2144680"/>
              <a:gd name="connsiteX10-6517" fmla="*/ 2224431 w 2804294"/>
              <a:gd name="connsiteY10-6518" fmla="*/ 638432 h 2144680"/>
              <a:gd name="connsiteX11-6519" fmla="*/ 2570119 w 2804294"/>
              <a:gd name="connsiteY11-6520" fmla="*/ 460012 h 2144680"/>
              <a:gd name="connsiteX12-6521" fmla="*/ 2804294 w 2804294"/>
              <a:gd name="connsiteY12-6522" fmla="*/ 471164 h 2144680"/>
              <a:gd name="connsiteX13-6523" fmla="*/ 2804294 w 2804294"/>
              <a:gd name="connsiteY13-6524" fmla="*/ 303895 h 2144680"/>
              <a:gd name="connsiteX14-6525" fmla="*/ 2759690 w 2804294"/>
              <a:gd name="connsiteY14-6526" fmla="*/ 225837 h 2144680"/>
              <a:gd name="connsiteX15-6527" fmla="*/ 2748538 w 2804294"/>
              <a:gd name="connsiteY15-6528" fmla="*/ 192383 h 2144680"/>
              <a:gd name="connsiteX16-6529" fmla="*/ 2692782 w 2804294"/>
              <a:gd name="connsiteY16-6530" fmla="*/ 170081 h 2144680"/>
              <a:gd name="connsiteX17-6531" fmla="*/ 2681631 w 2804294"/>
              <a:gd name="connsiteY17-6532" fmla="*/ 214686 h 2144680"/>
              <a:gd name="connsiteX18-6533" fmla="*/ 2558968 w 2804294"/>
              <a:gd name="connsiteY18-6534" fmla="*/ 181232 h 2144680"/>
              <a:gd name="connsiteX19-6535" fmla="*/ 2525514 w 2804294"/>
              <a:gd name="connsiteY19-6536" fmla="*/ 270442 h 2144680"/>
              <a:gd name="connsiteX20-6537" fmla="*/ 2414002 w 2804294"/>
              <a:gd name="connsiteY20-6538" fmla="*/ 236988 h 2144680"/>
              <a:gd name="connsiteX21-6539" fmla="*/ 2369397 w 2804294"/>
              <a:gd name="connsiteY21-6540" fmla="*/ 270442 h 2144680"/>
              <a:gd name="connsiteX22-6541" fmla="*/ 2291338 w 2804294"/>
              <a:gd name="connsiteY22-6542" fmla="*/ 270442 h 2144680"/>
              <a:gd name="connsiteX23-6543" fmla="*/ 2291338 w 2804294"/>
              <a:gd name="connsiteY23-6544" fmla="*/ 270442 h 2144680"/>
              <a:gd name="connsiteX24-6545" fmla="*/ 2213280 w 2804294"/>
              <a:gd name="connsiteY24-6546" fmla="*/ 315047 h 2144680"/>
              <a:gd name="connsiteX25-6547" fmla="*/ 2135221 w 2804294"/>
              <a:gd name="connsiteY25-6548" fmla="*/ 348500 h 2144680"/>
              <a:gd name="connsiteX26-6549" fmla="*/ 2079465 w 2804294"/>
              <a:gd name="connsiteY26-6550" fmla="*/ 348500 h 2144680"/>
              <a:gd name="connsiteX27-6551" fmla="*/ 2079465 w 2804294"/>
              <a:gd name="connsiteY27-6552" fmla="*/ 348500 h 2144680"/>
              <a:gd name="connsiteX28-6553" fmla="*/ 2079465 w 2804294"/>
              <a:gd name="connsiteY28-6554" fmla="*/ 504617 h 2144680"/>
              <a:gd name="connsiteX29-6555" fmla="*/ 2431388 w 2804294"/>
              <a:gd name="connsiteY29-6556" fmla="*/ 104999 h 2144680"/>
              <a:gd name="connsiteX30-6557" fmla="*/ 2365894 w 2804294"/>
              <a:gd name="connsiteY30-6558" fmla="*/ 27635 h 2144680"/>
              <a:gd name="connsiteX31-6559" fmla="*/ 2316149 w 2804294"/>
              <a:gd name="connsiteY31-6560" fmla="*/ 0 h 2144680"/>
              <a:gd name="connsiteX32-6561" fmla="*/ 2260399 w 2804294"/>
              <a:gd name="connsiteY32-6562" fmla="*/ 26828 h 2144680"/>
              <a:gd name="connsiteX33-6563" fmla="*/ 2062735 w 2804294"/>
              <a:gd name="connsiteY33-6564" fmla="*/ 81251 h 2144680"/>
              <a:gd name="connsiteX34-6565" fmla="*/ 1798171 w 2804294"/>
              <a:gd name="connsiteY34-6566" fmla="*/ 131727 h 2144680"/>
              <a:gd name="connsiteX35-6567" fmla="*/ 1648887 w 2804294"/>
              <a:gd name="connsiteY35-6568" fmla="*/ 401753 h 2144680"/>
              <a:gd name="connsiteX36-6569" fmla="*/ 1466148 w 2804294"/>
              <a:gd name="connsiteY36-6570" fmla="*/ 604978 h 2144680"/>
              <a:gd name="connsiteX37-6571" fmla="*/ 1231973 w 2804294"/>
              <a:gd name="connsiteY37-6572" fmla="*/ 738793 h 2144680"/>
              <a:gd name="connsiteX38-6573" fmla="*/ 1109309 w 2804294"/>
              <a:gd name="connsiteY38-6574" fmla="*/ 850305 h 2144680"/>
              <a:gd name="connsiteX39-6575" fmla="*/ 640958 w 2804294"/>
              <a:gd name="connsiteY39-6576" fmla="*/ 972968 h 2144680"/>
              <a:gd name="connsiteX40-6577" fmla="*/ 574051 w 2804294"/>
              <a:gd name="connsiteY40-6578" fmla="*/ 1028725 h 2144680"/>
              <a:gd name="connsiteX41-6579" fmla="*/ 440236 w 2804294"/>
              <a:gd name="connsiteY41-6580" fmla="*/ 1352110 h 2144680"/>
              <a:gd name="connsiteX42-6581" fmla="*/ 128002 w 2804294"/>
              <a:gd name="connsiteY42-6582" fmla="*/ 1519378 h 2144680"/>
              <a:gd name="connsiteX43-6583" fmla="*/ 105699 w 2804294"/>
              <a:gd name="connsiteY43-6584" fmla="*/ 1664344 h 2144680"/>
              <a:gd name="connsiteX44-6585" fmla="*/ 27641 w 2804294"/>
              <a:gd name="connsiteY44-6586" fmla="*/ 1775856 h 2144680"/>
              <a:gd name="connsiteX45-6587" fmla="*/ 5338 w 2804294"/>
              <a:gd name="connsiteY45-6588" fmla="*/ 2010032 h 2144680"/>
              <a:gd name="connsiteX46-6589" fmla="*/ 1063 w 2804294"/>
              <a:gd name="connsiteY46-6590" fmla="*/ 1968943 h 2144680"/>
              <a:gd name="connsiteX47-6591" fmla="*/ 17008 w 2804294"/>
              <a:gd name="connsiteY47-6592" fmla="*/ 2021619 h 2144680"/>
              <a:gd name="connsiteX48-6593" fmla="*/ 128636 w 2804294"/>
              <a:gd name="connsiteY48-6594" fmla="*/ 2022266 h 2144680"/>
              <a:gd name="connsiteX49-6595" fmla="*/ 21003 w 2804294"/>
              <a:gd name="connsiteY49-6596" fmla="*/ 2018055 h 2144680"/>
              <a:gd name="connsiteX50-6597" fmla="*/ 346055 w 2804294"/>
              <a:gd name="connsiteY50-6598" fmla="*/ 2112372 h 2144680"/>
              <a:gd name="connsiteX0-6599" fmla="*/ 108153 w 2804294"/>
              <a:gd name="connsiteY0-6600" fmla="*/ 2017751 h 2144680"/>
              <a:gd name="connsiteX1-6601" fmla="*/ 96280 w 2804294"/>
              <a:gd name="connsiteY1-6602" fmla="*/ 2005877 h 2144680"/>
              <a:gd name="connsiteX2-6603" fmla="*/ 102217 w 2804294"/>
              <a:gd name="connsiteY2-6604" fmla="*/ 2017751 h 2144680"/>
              <a:gd name="connsiteX3-6605" fmla="*/ 261945 w 2804294"/>
              <a:gd name="connsiteY3-6606" fmla="*/ 2093323 h 2144680"/>
              <a:gd name="connsiteX4-6607" fmla="*/ 251002 w 2804294"/>
              <a:gd name="connsiteY4-6608" fmla="*/ 2112090 h 2144680"/>
              <a:gd name="connsiteX5-6609" fmla="*/ 588466 w 2804294"/>
              <a:gd name="connsiteY5-6610" fmla="*/ 2093057 h 2144680"/>
              <a:gd name="connsiteX6-6611" fmla="*/ 941719 w 2804294"/>
              <a:gd name="connsiteY6-6612" fmla="*/ 2031026 h 2144680"/>
              <a:gd name="connsiteX7-6613" fmla="*/ 964343 w 2804294"/>
              <a:gd name="connsiteY7-6614" fmla="*/ 1597437 h 2144680"/>
              <a:gd name="connsiteX8-6615" fmla="*/ 2079465 w 2804294"/>
              <a:gd name="connsiteY8-6616" fmla="*/ 1586286 h 2144680"/>
              <a:gd name="connsiteX9-6617" fmla="*/ 2068314 w 2804294"/>
              <a:gd name="connsiteY9-6618" fmla="*/ 738793 h 2144680"/>
              <a:gd name="connsiteX10-6619" fmla="*/ 2224431 w 2804294"/>
              <a:gd name="connsiteY10-6620" fmla="*/ 638432 h 2144680"/>
              <a:gd name="connsiteX11-6621" fmla="*/ 2570119 w 2804294"/>
              <a:gd name="connsiteY11-6622" fmla="*/ 460012 h 2144680"/>
              <a:gd name="connsiteX12-6623" fmla="*/ 2804294 w 2804294"/>
              <a:gd name="connsiteY12-6624" fmla="*/ 471164 h 2144680"/>
              <a:gd name="connsiteX13-6625" fmla="*/ 2804294 w 2804294"/>
              <a:gd name="connsiteY13-6626" fmla="*/ 303895 h 2144680"/>
              <a:gd name="connsiteX14-6627" fmla="*/ 2759690 w 2804294"/>
              <a:gd name="connsiteY14-6628" fmla="*/ 225837 h 2144680"/>
              <a:gd name="connsiteX15-6629" fmla="*/ 2748538 w 2804294"/>
              <a:gd name="connsiteY15-6630" fmla="*/ 192383 h 2144680"/>
              <a:gd name="connsiteX16-6631" fmla="*/ 2692782 w 2804294"/>
              <a:gd name="connsiteY16-6632" fmla="*/ 170081 h 2144680"/>
              <a:gd name="connsiteX17-6633" fmla="*/ 2681631 w 2804294"/>
              <a:gd name="connsiteY17-6634" fmla="*/ 214686 h 2144680"/>
              <a:gd name="connsiteX18-6635" fmla="*/ 2558968 w 2804294"/>
              <a:gd name="connsiteY18-6636" fmla="*/ 181232 h 2144680"/>
              <a:gd name="connsiteX19-6637" fmla="*/ 2525514 w 2804294"/>
              <a:gd name="connsiteY19-6638" fmla="*/ 270442 h 2144680"/>
              <a:gd name="connsiteX20-6639" fmla="*/ 2414002 w 2804294"/>
              <a:gd name="connsiteY20-6640" fmla="*/ 236988 h 2144680"/>
              <a:gd name="connsiteX21-6641" fmla="*/ 2369397 w 2804294"/>
              <a:gd name="connsiteY21-6642" fmla="*/ 270442 h 2144680"/>
              <a:gd name="connsiteX22-6643" fmla="*/ 2291338 w 2804294"/>
              <a:gd name="connsiteY22-6644" fmla="*/ 270442 h 2144680"/>
              <a:gd name="connsiteX23-6645" fmla="*/ 2291338 w 2804294"/>
              <a:gd name="connsiteY23-6646" fmla="*/ 270442 h 2144680"/>
              <a:gd name="connsiteX24-6647" fmla="*/ 2213280 w 2804294"/>
              <a:gd name="connsiteY24-6648" fmla="*/ 315047 h 2144680"/>
              <a:gd name="connsiteX25-6649" fmla="*/ 2135221 w 2804294"/>
              <a:gd name="connsiteY25-6650" fmla="*/ 348500 h 2144680"/>
              <a:gd name="connsiteX26-6651" fmla="*/ 2079465 w 2804294"/>
              <a:gd name="connsiteY26-6652" fmla="*/ 348500 h 2144680"/>
              <a:gd name="connsiteX27-6653" fmla="*/ 2079465 w 2804294"/>
              <a:gd name="connsiteY27-6654" fmla="*/ 504617 h 2144680"/>
              <a:gd name="connsiteX28-6655" fmla="*/ 2431388 w 2804294"/>
              <a:gd name="connsiteY28-6656" fmla="*/ 104999 h 2144680"/>
              <a:gd name="connsiteX29-6657" fmla="*/ 2365894 w 2804294"/>
              <a:gd name="connsiteY29-6658" fmla="*/ 27635 h 2144680"/>
              <a:gd name="connsiteX30-6659" fmla="*/ 2316149 w 2804294"/>
              <a:gd name="connsiteY30-6660" fmla="*/ 0 h 2144680"/>
              <a:gd name="connsiteX31-6661" fmla="*/ 2260399 w 2804294"/>
              <a:gd name="connsiteY31-6662" fmla="*/ 26828 h 2144680"/>
              <a:gd name="connsiteX32-6663" fmla="*/ 2062735 w 2804294"/>
              <a:gd name="connsiteY32-6664" fmla="*/ 81251 h 2144680"/>
              <a:gd name="connsiteX33-6665" fmla="*/ 1798171 w 2804294"/>
              <a:gd name="connsiteY33-6666" fmla="*/ 131727 h 2144680"/>
              <a:gd name="connsiteX34-6667" fmla="*/ 1648887 w 2804294"/>
              <a:gd name="connsiteY34-6668" fmla="*/ 401753 h 2144680"/>
              <a:gd name="connsiteX35-6669" fmla="*/ 1466148 w 2804294"/>
              <a:gd name="connsiteY35-6670" fmla="*/ 604978 h 2144680"/>
              <a:gd name="connsiteX36-6671" fmla="*/ 1231973 w 2804294"/>
              <a:gd name="connsiteY36-6672" fmla="*/ 738793 h 2144680"/>
              <a:gd name="connsiteX37-6673" fmla="*/ 1109309 w 2804294"/>
              <a:gd name="connsiteY37-6674" fmla="*/ 850305 h 2144680"/>
              <a:gd name="connsiteX38-6675" fmla="*/ 640958 w 2804294"/>
              <a:gd name="connsiteY38-6676" fmla="*/ 972968 h 2144680"/>
              <a:gd name="connsiteX39-6677" fmla="*/ 574051 w 2804294"/>
              <a:gd name="connsiteY39-6678" fmla="*/ 1028725 h 2144680"/>
              <a:gd name="connsiteX40-6679" fmla="*/ 440236 w 2804294"/>
              <a:gd name="connsiteY40-6680" fmla="*/ 1352110 h 2144680"/>
              <a:gd name="connsiteX41-6681" fmla="*/ 128002 w 2804294"/>
              <a:gd name="connsiteY41-6682" fmla="*/ 1519378 h 2144680"/>
              <a:gd name="connsiteX42-6683" fmla="*/ 105699 w 2804294"/>
              <a:gd name="connsiteY42-6684" fmla="*/ 1664344 h 2144680"/>
              <a:gd name="connsiteX43-6685" fmla="*/ 27641 w 2804294"/>
              <a:gd name="connsiteY43-6686" fmla="*/ 1775856 h 2144680"/>
              <a:gd name="connsiteX44-6687" fmla="*/ 5338 w 2804294"/>
              <a:gd name="connsiteY44-6688" fmla="*/ 2010032 h 2144680"/>
              <a:gd name="connsiteX45-6689" fmla="*/ 1063 w 2804294"/>
              <a:gd name="connsiteY45-6690" fmla="*/ 1968943 h 2144680"/>
              <a:gd name="connsiteX46-6691" fmla="*/ 17008 w 2804294"/>
              <a:gd name="connsiteY46-6692" fmla="*/ 2021619 h 2144680"/>
              <a:gd name="connsiteX47-6693" fmla="*/ 128636 w 2804294"/>
              <a:gd name="connsiteY47-6694" fmla="*/ 2022266 h 2144680"/>
              <a:gd name="connsiteX48-6695" fmla="*/ 21003 w 2804294"/>
              <a:gd name="connsiteY48-6696" fmla="*/ 2018055 h 2144680"/>
              <a:gd name="connsiteX49-6697" fmla="*/ 346055 w 2804294"/>
              <a:gd name="connsiteY49-6698" fmla="*/ 2112372 h 2144680"/>
              <a:gd name="connsiteX0-6699" fmla="*/ 108153 w 2804294"/>
              <a:gd name="connsiteY0-6700" fmla="*/ 2017751 h 2144680"/>
              <a:gd name="connsiteX1-6701" fmla="*/ 96280 w 2804294"/>
              <a:gd name="connsiteY1-6702" fmla="*/ 2005877 h 2144680"/>
              <a:gd name="connsiteX2-6703" fmla="*/ 102217 w 2804294"/>
              <a:gd name="connsiteY2-6704" fmla="*/ 2017751 h 2144680"/>
              <a:gd name="connsiteX3-6705" fmla="*/ 261945 w 2804294"/>
              <a:gd name="connsiteY3-6706" fmla="*/ 2093323 h 2144680"/>
              <a:gd name="connsiteX4-6707" fmla="*/ 251002 w 2804294"/>
              <a:gd name="connsiteY4-6708" fmla="*/ 2112090 h 2144680"/>
              <a:gd name="connsiteX5-6709" fmla="*/ 588466 w 2804294"/>
              <a:gd name="connsiteY5-6710" fmla="*/ 2093057 h 2144680"/>
              <a:gd name="connsiteX6-6711" fmla="*/ 941719 w 2804294"/>
              <a:gd name="connsiteY6-6712" fmla="*/ 2031026 h 2144680"/>
              <a:gd name="connsiteX7-6713" fmla="*/ 964343 w 2804294"/>
              <a:gd name="connsiteY7-6714" fmla="*/ 1597437 h 2144680"/>
              <a:gd name="connsiteX8-6715" fmla="*/ 2079465 w 2804294"/>
              <a:gd name="connsiteY8-6716" fmla="*/ 1586286 h 2144680"/>
              <a:gd name="connsiteX9-6717" fmla="*/ 2068314 w 2804294"/>
              <a:gd name="connsiteY9-6718" fmla="*/ 738793 h 2144680"/>
              <a:gd name="connsiteX10-6719" fmla="*/ 2224431 w 2804294"/>
              <a:gd name="connsiteY10-6720" fmla="*/ 638432 h 2144680"/>
              <a:gd name="connsiteX11-6721" fmla="*/ 2570119 w 2804294"/>
              <a:gd name="connsiteY11-6722" fmla="*/ 460012 h 2144680"/>
              <a:gd name="connsiteX12-6723" fmla="*/ 2804294 w 2804294"/>
              <a:gd name="connsiteY12-6724" fmla="*/ 471164 h 2144680"/>
              <a:gd name="connsiteX13-6725" fmla="*/ 2804294 w 2804294"/>
              <a:gd name="connsiteY13-6726" fmla="*/ 303895 h 2144680"/>
              <a:gd name="connsiteX14-6727" fmla="*/ 2759690 w 2804294"/>
              <a:gd name="connsiteY14-6728" fmla="*/ 225837 h 2144680"/>
              <a:gd name="connsiteX15-6729" fmla="*/ 2748538 w 2804294"/>
              <a:gd name="connsiteY15-6730" fmla="*/ 192383 h 2144680"/>
              <a:gd name="connsiteX16-6731" fmla="*/ 2692782 w 2804294"/>
              <a:gd name="connsiteY16-6732" fmla="*/ 170081 h 2144680"/>
              <a:gd name="connsiteX17-6733" fmla="*/ 2681631 w 2804294"/>
              <a:gd name="connsiteY17-6734" fmla="*/ 214686 h 2144680"/>
              <a:gd name="connsiteX18-6735" fmla="*/ 2558968 w 2804294"/>
              <a:gd name="connsiteY18-6736" fmla="*/ 181232 h 2144680"/>
              <a:gd name="connsiteX19-6737" fmla="*/ 2525514 w 2804294"/>
              <a:gd name="connsiteY19-6738" fmla="*/ 270442 h 2144680"/>
              <a:gd name="connsiteX20-6739" fmla="*/ 2414002 w 2804294"/>
              <a:gd name="connsiteY20-6740" fmla="*/ 236988 h 2144680"/>
              <a:gd name="connsiteX21-6741" fmla="*/ 2369397 w 2804294"/>
              <a:gd name="connsiteY21-6742" fmla="*/ 270442 h 2144680"/>
              <a:gd name="connsiteX22-6743" fmla="*/ 2291338 w 2804294"/>
              <a:gd name="connsiteY22-6744" fmla="*/ 270442 h 2144680"/>
              <a:gd name="connsiteX23-6745" fmla="*/ 2291338 w 2804294"/>
              <a:gd name="connsiteY23-6746" fmla="*/ 270442 h 2144680"/>
              <a:gd name="connsiteX24-6747" fmla="*/ 2213280 w 2804294"/>
              <a:gd name="connsiteY24-6748" fmla="*/ 315047 h 2144680"/>
              <a:gd name="connsiteX25-6749" fmla="*/ 2135221 w 2804294"/>
              <a:gd name="connsiteY25-6750" fmla="*/ 348500 h 2144680"/>
              <a:gd name="connsiteX26-6751" fmla="*/ 2079465 w 2804294"/>
              <a:gd name="connsiteY26-6752" fmla="*/ 504617 h 2144680"/>
              <a:gd name="connsiteX27-6753" fmla="*/ 2431388 w 2804294"/>
              <a:gd name="connsiteY27-6754" fmla="*/ 104999 h 2144680"/>
              <a:gd name="connsiteX28-6755" fmla="*/ 2365894 w 2804294"/>
              <a:gd name="connsiteY28-6756" fmla="*/ 27635 h 2144680"/>
              <a:gd name="connsiteX29-6757" fmla="*/ 2316149 w 2804294"/>
              <a:gd name="connsiteY29-6758" fmla="*/ 0 h 2144680"/>
              <a:gd name="connsiteX30-6759" fmla="*/ 2260399 w 2804294"/>
              <a:gd name="connsiteY30-6760" fmla="*/ 26828 h 2144680"/>
              <a:gd name="connsiteX31-6761" fmla="*/ 2062735 w 2804294"/>
              <a:gd name="connsiteY31-6762" fmla="*/ 81251 h 2144680"/>
              <a:gd name="connsiteX32-6763" fmla="*/ 1798171 w 2804294"/>
              <a:gd name="connsiteY32-6764" fmla="*/ 131727 h 2144680"/>
              <a:gd name="connsiteX33-6765" fmla="*/ 1648887 w 2804294"/>
              <a:gd name="connsiteY33-6766" fmla="*/ 401753 h 2144680"/>
              <a:gd name="connsiteX34-6767" fmla="*/ 1466148 w 2804294"/>
              <a:gd name="connsiteY34-6768" fmla="*/ 604978 h 2144680"/>
              <a:gd name="connsiteX35-6769" fmla="*/ 1231973 w 2804294"/>
              <a:gd name="connsiteY35-6770" fmla="*/ 738793 h 2144680"/>
              <a:gd name="connsiteX36-6771" fmla="*/ 1109309 w 2804294"/>
              <a:gd name="connsiteY36-6772" fmla="*/ 850305 h 2144680"/>
              <a:gd name="connsiteX37-6773" fmla="*/ 640958 w 2804294"/>
              <a:gd name="connsiteY37-6774" fmla="*/ 972968 h 2144680"/>
              <a:gd name="connsiteX38-6775" fmla="*/ 574051 w 2804294"/>
              <a:gd name="connsiteY38-6776" fmla="*/ 1028725 h 2144680"/>
              <a:gd name="connsiteX39-6777" fmla="*/ 440236 w 2804294"/>
              <a:gd name="connsiteY39-6778" fmla="*/ 1352110 h 2144680"/>
              <a:gd name="connsiteX40-6779" fmla="*/ 128002 w 2804294"/>
              <a:gd name="connsiteY40-6780" fmla="*/ 1519378 h 2144680"/>
              <a:gd name="connsiteX41-6781" fmla="*/ 105699 w 2804294"/>
              <a:gd name="connsiteY41-6782" fmla="*/ 1664344 h 2144680"/>
              <a:gd name="connsiteX42-6783" fmla="*/ 27641 w 2804294"/>
              <a:gd name="connsiteY42-6784" fmla="*/ 1775856 h 2144680"/>
              <a:gd name="connsiteX43-6785" fmla="*/ 5338 w 2804294"/>
              <a:gd name="connsiteY43-6786" fmla="*/ 2010032 h 2144680"/>
              <a:gd name="connsiteX44-6787" fmla="*/ 1063 w 2804294"/>
              <a:gd name="connsiteY44-6788" fmla="*/ 1968943 h 2144680"/>
              <a:gd name="connsiteX45-6789" fmla="*/ 17008 w 2804294"/>
              <a:gd name="connsiteY45-6790" fmla="*/ 2021619 h 2144680"/>
              <a:gd name="connsiteX46-6791" fmla="*/ 128636 w 2804294"/>
              <a:gd name="connsiteY46-6792" fmla="*/ 2022266 h 2144680"/>
              <a:gd name="connsiteX47-6793" fmla="*/ 21003 w 2804294"/>
              <a:gd name="connsiteY47-6794" fmla="*/ 2018055 h 2144680"/>
              <a:gd name="connsiteX48-6795" fmla="*/ 346055 w 2804294"/>
              <a:gd name="connsiteY48-6796" fmla="*/ 2112372 h 2144680"/>
              <a:gd name="connsiteX0-6797" fmla="*/ 108153 w 2804294"/>
              <a:gd name="connsiteY0-6798" fmla="*/ 2017751 h 2144680"/>
              <a:gd name="connsiteX1-6799" fmla="*/ 96280 w 2804294"/>
              <a:gd name="connsiteY1-6800" fmla="*/ 2005877 h 2144680"/>
              <a:gd name="connsiteX2-6801" fmla="*/ 102217 w 2804294"/>
              <a:gd name="connsiteY2-6802" fmla="*/ 2017751 h 2144680"/>
              <a:gd name="connsiteX3-6803" fmla="*/ 261945 w 2804294"/>
              <a:gd name="connsiteY3-6804" fmla="*/ 2093323 h 2144680"/>
              <a:gd name="connsiteX4-6805" fmla="*/ 251002 w 2804294"/>
              <a:gd name="connsiteY4-6806" fmla="*/ 2112090 h 2144680"/>
              <a:gd name="connsiteX5-6807" fmla="*/ 588466 w 2804294"/>
              <a:gd name="connsiteY5-6808" fmla="*/ 2093057 h 2144680"/>
              <a:gd name="connsiteX6-6809" fmla="*/ 941719 w 2804294"/>
              <a:gd name="connsiteY6-6810" fmla="*/ 2031026 h 2144680"/>
              <a:gd name="connsiteX7-6811" fmla="*/ 964343 w 2804294"/>
              <a:gd name="connsiteY7-6812" fmla="*/ 1597437 h 2144680"/>
              <a:gd name="connsiteX8-6813" fmla="*/ 2079465 w 2804294"/>
              <a:gd name="connsiteY8-6814" fmla="*/ 1586286 h 2144680"/>
              <a:gd name="connsiteX9-6815" fmla="*/ 2068314 w 2804294"/>
              <a:gd name="connsiteY9-6816" fmla="*/ 738793 h 2144680"/>
              <a:gd name="connsiteX10-6817" fmla="*/ 2224431 w 2804294"/>
              <a:gd name="connsiteY10-6818" fmla="*/ 638432 h 2144680"/>
              <a:gd name="connsiteX11-6819" fmla="*/ 2570119 w 2804294"/>
              <a:gd name="connsiteY11-6820" fmla="*/ 460012 h 2144680"/>
              <a:gd name="connsiteX12-6821" fmla="*/ 2804294 w 2804294"/>
              <a:gd name="connsiteY12-6822" fmla="*/ 471164 h 2144680"/>
              <a:gd name="connsiteX13-6823" fmla="*/ 2804294 w 2804294"/>
              <a:gd name="connsiteY13-6824" fmla="*/ 303895 h 2144680"/>
              <a:gd name="connsiteX14-6825" fmla="*/ 2759690 w 2804294"/>
              <a:gd name="connsiteY14-6826" fmla="*/ 225837 h 2144680"/>
              <a:gd name="connsiteX15-6827" fmla="*/ 2748538 w 2804294"/>
              <a:gd name="connsiteY15-6828" fmla="*/ 192383 h 2144680"/>
              <a:gd name="connsiteX16-6829" fmla="*/ 2692782 w 2804294"/>
              <a:gd name="connsiteY16-6830" fmla="*/ 170081 h 2144680"/>
              <a:gd name="connsiteX17-6831" fmla="*/ 2681631 w 2804294"/>
              <a:gd name="connsiteY17-6832" fmla="*/ 214686 h 2144680"/>
              <a:gd name="connsiteX18-6833" fmla="*/ 2558968 w 2804294"/>
              <a:gd name="connsiteY18-6834" fmla="*/ 181232 h 2144680"/>
              <a:gd name="connsiteX19-6835" fmla="*/ 2525514 w 2804294"/>
              <a:gd name="connsiteY19-6836" fmla="*/ 270442 h 2144680"/>
              <a:gd name="connsiteX20-6837" fmla="*/ 2414002 w 2804294"/>
              <a:gd name="connsiteY20-6838" fmla="*/ 236988 h 2144680"/>
              <a:gd name="connsiteX21-6839" fmla="*/ 2369397 w 2804294"/>
              <a:gd name="connsiteY21-6840" fmla="*/ 270442 h 2144680"/>
              <a:gd name="connsiteX22-6841" fmla="*/ 2291338 w 2804294"/>
              <a:gd name="connsiteY22-6842" fmla="*/ 270442 h 2144680"/>
              <a:gd name="connsiteX23-6843" fmla="*/ 2291338 w 2804294"/>
              <a:gd name="connsiteY23-6844" fmla="*/ 270442 h 2144680"/>
              <a:gd name="connsiteX24-6845" fmla="*/ 2213280 w 2804294"/>
              <a:gd name="connsiteY24-6846" fmla="*/ 315047 h 2144680"/>
              <a:gd name="connsiteX25-6847" fmla="*/ 2079465 w 2804294"/>
              <a:gd name="connsiteY25-6848" fmla="*/ 504617 h 2144680"/>
              <a:gd name="connsiteX26-6849" fmla="*/ 2431388 w 2804294"/>
              <a:gd name="connsiteY26-6850" fmla="*/ 104999 h 2144680"/>
              <a:gd name="connsiteX27-6851" fmla="*/ 2365894 w 2804294"/>
              <a:gd name="connsiteY27-6852" fmla="*/ 27635 h 2144680"/>
              <a:gd name="connsiteX28-6853" fmla="*/ 2316149 w 2804294"/>
              <a:gd name="connsiteY28-6854" fmla="*/ 0 h 2144680"/>
              <a:gd name="connsiteX29-6855" fmla="*/ 2260399 w 2804294"/>
              <a:gd name="connsiteY29-6856" fmla="*/ 26828 h 2144680"/>
              <a:gd name="connsiteX30-6857" fmla="*/ 2062735 w 2804294"/>
              <a:gd name="connsiteY30-6858" fmla="*/ 81251 h 2144680"/>
              <a:gd name="connsiteX31-6859" fmla="*/ 1798171 w 2804294"/>
              <a:gd name="connsiteY31-6860" fmla="*/ 131727 h 2144680"/>
              <a:gd name="connsiteX32-6861" fmla="*/ 1648887 w 2804294"/>
              <a:gd name="connsiteY32-6862" fmla="*/ 401753 h 2144680"/>
              <a:gd name="connsiteX33-6863" fmla="*/ 1466148 w 2804294"/>
              <a:gd name="connsiteY33-6864" fmla="*/ 604978 h 2144680"/>
              <a:gd name="connsiteX34-6865" fmla="*/ 1231973 w 2804294"/>
              <a:gd name="connsiteY34-6866" fmla="*/ 738793 h 2144680"/>
              <a:gd name="connsiteX35-6867" fmla="*/ 1109309 w 2804294"/>
              <a:gd name="connsiteY35-6868" fmla="*/ 850305 h 2144680"/>
              <a:gd name="connsiteX36-6869" fmla="*/ 640958 w 2804294"/>
              <a:gd name="connsiteY36-6870" fmla="*/ 972968 h 2144680"/>
              <a:gd name="connsiteX37-6871" fmla="*/ 574051 w 2804294"/>
              <a:gd name="connsiteY37-6872" fmla="*/ 1028725 h 2144680"/>
              <a:gd name="connsiteX38-6873" fmla="*/ 440236 w 2804294"/>
              <a:gd name="connsiteY38-6874" fmla="*/ 1352110 h 2144680"/>
              <a:gd name="connsiteX39-6875" fmla="*/ 128002 w 2804294"/>
              <a:gd name="connsiteY39-6876" fmla="*/ 1519378 h 2144680"/>
              <a:gd name="connsiteX40-6877" fmla="*/ 105699 w 2804294"/>
              <a:gd name="connsiteY40-6878" fmla="*/ 1664344 h 2144680"/>
              <a:gd name="connsiteX41-6879" fmla="*/ 27641 w 2804294"/>
              <a:gd name="connsiteY41-6880" fmla="*/ 1775856 h 2144680"/>
              <a:gd name="connsiteX42-6881" fmla="*/ 5338 w 2804294"/>
              <a:gd name="connsiteY42-6882" fmla="*/ 2010032 h 2144680"/>
              <a:gd name="connsiteX43-6883" fmla="*/ 1063 w 2804294"/>
              <a:gd name="connsiteY43-6884" fmla="*/ 1968943 h 2144680"/>
              <a:gd name="connsiteX44-6885" fmla="*/ 17008 w 2804294"/>
              <a:gd name="connsiteY44-6886" fmla="*/ 2021619 h 2144680"/>
              <a:gd name="connsiteX45-6887" fmla="*/ 128636 w 2804294"/>
              <a:gd name="connsiteY45-6888" fmla="*/ 2022266 h 2144680"/>
              <a:gd name="connsiteX46-6889" fmla="*/ 21003 w 2804294"/>
              <a:gd name="connsiteY46-6890" fmla="*/ 2018055 h 2144680"/>
              <a:gd name="connsiteX47-6891" fmla="*/ 346055 w 2804294"/>
              <a:gd name="connsiteY47-6892" fmla="*/ 2112372 h 2144680"/>
              <a:gd name="connsiteX0-6893" fmla="*/ 108153 w 2804294"/>
              <a:gd name="connsiteY0-6894" fmla="*/ 2017751 h 2144680"/>
              <a:gd name="connsiteX1-6895" fmla="*/ 96280 w 2804294"/>
              <a:gd name="connsiteY1-6896" fmla="*/ 2005877 h 2144680"/>
              <a:gd name="connsiteX2-6897" fmla="*/ 102217 w 2804294"/>
              <a:gd name="connsiteY2-6898" fmla="*/ 2017751 h 2144680"/>
              <a:gd name="connsiteX3-6899" fmla="*/ 261945 w 2804294"/>
              <a:gd name="connsiteY3-6900" fmla="*/ 2093323 h 2144680"/>
              <a:gd name="connsiteX4-6901" fmla="*/ 251002 w 2804294"/>
              <a:gd name="connsiteY4-6902" fmla="*/ 2112090 h 2144680"/>
              <a:gd name="connsiteX5-6903" fmla="*/ 588466 w 2804294"/>
              <a:gd name="connsiteY5-6904" fmla="*/ 2093057 h 2144680"/>
              <a:gd name="connsiteX6-6905" fmla="*/ 941719 w 2804294"/>
              <a:gd name="connsiteY6-6906" fmla="*/ 2031026 h 2144680"/>
              <a:gd name="connsiteX7-6907" fmla="*/ 964343 w 2804294"/>
              <a:gd name="connsiteY7-6908" fmla="*/ 1597437 h 2144680"/>
              <a:gd name="connsiteX8-6909" fmla="*/ 2079465 w 2804294"/>
              <a:gd name="connsiteY8-6910" fmla="*/ 1586286 h 2144680"/>
              <a:gd name="connsiteX9-6911" fmla="*/ 2068314 w 2804294"/>
              <a:gd name="connsiteY9-6912" fmla="*/ 738793 h 2144680"/>
              <a:gd name="connsiteX10-6913" fmla="*/ 2224431 w 2804294"/>
              <a:gd name="connsiteY10-6914" fmla="*/ 638432 h 2144680"/>
              <a:gd name="connsiteX11-6915" fmla="*/ 2570119 w 2804294"/>
              <a:gd name="connsiteY11-6916" fmla="*/ 460012 h 2144680"/>
              <a:gd name="connsiteX12-6917" fmla="*/ 2804294 w 2804294"/>
              <a:gd name="connsiteY12-6918" fmla="*/ 471164 h 2144680"/>
              <a:gd name="connsiteX13-6919" fmla="*/ 2804294 w 2804294"/>
              <a:gd name="connsiteY13-6920" fmla="*/ 303895 h 2144680"/>
              <a:gd name="connsiteX14-6921" fmla="*/ 2759690 w 2804294"/>
              <a:gd name="connsiteY14-6922" fmla="*/ 225837 h 2144680"/>
              <a:gd name="connsiteX15-6923" fmla="*/ 2748538 w 2804294"/>
              <a:gd name="connsiteY15-6924" fmla="*/ 192383 h 2144680"/>
              <a:gd name="connsiteX16-6925" fmla="*/ 2692782 w 2804294"/>
              <a:gd name="connsiteY16-6926" fmla="*/ 170081 h 2144680"/>
              <a:gd name="connsiteX17-6927" fmla="*/ 2681631 w 2804294"/>
              <a:gd name="connsiteY17-6928" fmla="*/ 214686 h 2144680"/>
              <a:gd name="connsiteX18-6929" fmla="*/ 2558968 w 2804294"/>
              <a:gd name="connsiteY18-6930" fmla="*/ 181232 h 2144680"/>
              <a:gd name="connsiteX19-6931" fmla="*/ 2525514 w 2804294"/>
              <a:gd name="connsiteY19-6932" fmla="*/ 270442 h 2144680"/>
              <a:gd name="connsiteX20-6933" fmla="*/ 2414002 w 2804294"/>
              <a:gd name="connsiteY20-6934" fmla="*/ 236988 h 2144680"/>
              <a:gd name="connsiteX21-6935" fmla="*/ 2369397 w 2804294"/>
              <a:gd name="connsiteY21-6936" fmla="*/ 270442 h 2144680"/>
              <a:gd name="connsiteX22-6937" fmla="*/ 2291338 w 2804294"/>
              <a:gd name="connsiteY22-6938" fmla="*/ 270442 h 2144680"/>
              <a:gd name="connsiteX23-6939" fmla="*/ 2291338 w 2804294"/>
              <a:gd name="connsiteY23-6940" fmla="*/ 270442 h 2144680"/>
              <a:gd name="connsiteX24-6941" fmla="*/ 2213280 w 2804294"/>
              <a:gd name="connsiteY24-6942" fmla="*/ 315047 h 2144680"/>
              <a:gd name="connsiteX25-6943" fmla="*/ 2431388 w 2804294"/>
              <a:gd name="connsiteY25-6944" fmla="*/ 104999 h 2144680"/>
              <a:gd name="connsiteX26-6945" fmla="*/ 2365894 w 2804294"/>
              <a:gd name="connsiteY26-6946" fmla="*/ 27635 h 2144680"/>
              <a:gd name="connsiteX27-6947" fmla="*/ 2316149 w 2804294"/>
              <a:gd name="connsiteY27-6948" fmla="*/ 0 h 2144680"/>
              <a:gd name="connsiteX28-6949" fmla="*/ 2260399 w 2804294"/>
              <a:gd name="connsiteY28-6950" fmla="*/ 26828 h 2144680"/>
              <a:gd name="connsiteX29-6951" fmla="*/ 2062735 w 2804294"/>
              <a:gd name="connsiteY29-6952" fmla="*/ 81251 h 2144680"/>
              <a:gd name="connsiteX30-6953" fmla="*/ 1798171 w 2804294"/>
              <a:gd name="connsiteY30-6954" fmla="*/ 131727 h 2144680"/>
              <a:gd name="connsiteX31-6955" fmla="*/ 1648887 w 2804294"/>
              <a:gd name="connsiteY31-6956" fmla="*/ 401753 h 2144680"/>
              <a:gd name="connsiteX32-6957" fmla="*/ 1466148 w 2804294"/>
              <a:gd name="connsiteY32-6958" fmla="*/ 604978 h 2144680"/>
              <a:gd name="connsiteX33-6959" fmla="*/ 1231973 w 2804294"/>
              <a:gd name="connsiteY33-6960" fmla="*/ 738793 h 2144680"/>
              <a:gd name="connsiteX34-6961" fmla="*/ 1109309 w 2804294"/>
              <a:gd name="connsiteY34-6962" fmla="*/ 850305 h 2144680"/>
              <a:gd name="connsiteX35-6963" fmla="*/ 640958 w 2804294"/>
              <a:gd name="connsiteY35-6964" fmla="*/ 972968 h 2144680"/>
              <a:gd name="connsiteX36-6965" fmla="*/ 574051 w 2804294"/>
              <a:gd name="connsiteY36-6966" fmla="*/ 1028725 h 2144680"/>
              <a:gd name="connsiteX37-6967" fmla="*/ 440236 w 2804294"/>
              <a:gd name="connsiteY37-6968" fmla="*/ 1352110 h 2144680"/>
              <a:gd name="connsiteX38-6969" fmla="*/ 128002 w 2804294"/>
              <a:gd name="connsiteY38-6970" fmla="*/ 1519378 h 2144680"/>
              <a:gd name="connsiteX39-6971" fmla="*/ 105699 w 2804294"/>
              <a:gd name="connsiteY39-6972" fmla="*/ 1664344 h 2144680"/>
              <a:gd name="connsiteX40-6973" fmla="*/ 27641 w 2804294"/>
              <a:gd name="connsiteY40-6974" fmla="*/ 1775856 h 2144680"/>
              <a:gd name="connsiteX41-6975" fmla="*/ 5338 w 2804294"/>
              <a:gd name="connsiteY41-6976" fmla="*/ 2010032 h 2144680"/>
              <a:gd name="connsiteX42-6977" fmla="*/ 1063 w 2804294"/>
              <a:gd name="connsiteY42-6978" fmla="*/ 1968943 h 2144680"/>
              <a:gd name="connsiteX43-6979" fmla="*/ 17008 w 2804294"/>
              <a:gd name="connsiteY43-6980" fmla="*/ 2021619 h 2144680"/>
              <a:gd name="connsiteX44-6981" fmla="*/ 128636 w 2804294"/>
              <a:gd name="connsiteY44-6982" fmla="*/ 2022266 h 2144680"/>
              <a:gd name="connsiteX45-6983" fmla="*/ 21003 w 2804294"/>
              <a:gd name="connsiteY45-6984" fmla="*/ 2018055 h 2144680"/>
              <a:gd name="connsiteX46-6985" fmla="*/ 346055 w 2804294"/>
              <a:gd name="connsiteY46-6986" fmla="*/ 2112372 h 2144680"/>
              <a:gd name="connsiteX0-6987" fmla="*/ 108153 w 2804294"/>
              <a:gd name="connsiteY0-6988" fmla="*/ 2017751 h 2144680"/>
              <a:gd name="connsiteX1-6989" fmla="*/ 96280 w 2804294"/>
              <a:gd name="connsiteY1-6990" fmla="*/ 2005877 h 2144680"/>
              <a:gd name="connsiteX2-6991" fmla="*/ 102217 w 2804294"/>
              <a:gd name="connsiteY2-6992" fmla="*/ 2017751 h 2144680"/>
              <a:gd name="connsiteX3-6993" fmla="*/ 261945 w 2804294"/>
              <a:gd name="connsiteY3-6994" fmla="*/ 2093323 h 2144680"/>
              <a:gd name="connsiteX4-6995" fmla="*/ 251002 w 2804294"/>
              <a:gd name="connsiteY4-6996" fmla="*/ 2112090 h 2144680"/>
              <a:gd name="connsiteX5-6997" fmla="*/ 588466 w 2804294"/>
              <a:gd name="connsiteY5-6998" fmla="*/ 2093057 h 2144680"/>
              <a:gd name="connsiteX6-6999" fmla="*/ 941719 w 2804294"/>
              <a:gd name="connsiteY6-7000" fmla="*/ 2031026 h 2144680"/>
              <a:gd name="connsiteX7-7001" fmla="*/ 964343 w 2804294"/>
              <a:gd name="connsiteY7-7002" fmla="*/ 1597437 h 2144680"/>
              <a:gd name="connsiteX8-7003" fmla="*/ 2079465 w 2804294"/>
              <a:gd name="connsiteY8-7004" fmla="*/ 1586286 h 2144680"/>
              <a:gd name="connsiteX9-7005" fmla="*/ 2068314 w 2804294"/>
              <a:gd name="connsiteY9-7006" fmla="*/ 738793 h 2144680"/>
              <a:gd name="connsiteX10-7007" fmla="*/ 2224431 w 2804294"/>
              <a:gd name="connsiteY10-7008" fmla="*/ 638432 h 2144680"/>
              <a:gd name="connsiteX11-7009" fmla="*/ 2570119 w 2804294"/>
              <a:gd name="connsiteY11-7010" fmla="*/ 460012 h 2144680"/>
              <a:gd name="connsiteX12-7011" fmla="*/ 2804294 w 2804294"/>
              <a:gd name="connsiteY12-7012" fmla="*/ 471164 h 2144680"/>
              <a:gd name="connsiteX13-7013" fmla="*/ 2804294 w 2804294"/>
              <a:gd name="connsiteY13-7014" fmla="*/ 303895 h 2144680"/>
              <a:gd name="connsiteX14-7015" fmla="*/ 2759690 w 2804294"/>
              <a:gd name="connsiteY14-7016" fmla="*/ 225837 h 2144680"/>
              <a:gd name="connsiteX15-7017" fmla="*/ 2748538 w 2804294"/>
              <a:gd name="connsiteY15-7018" fmla="*/ 192383 h 2144680"/>
              <a:gd name="connsiteX16-7019" fmla="*/ 2692782 w 2804294"/>
              <a:gd name="connsiteY16-7020" fmla="*/ 170081 h 2144680"/>
              <a:gd name="connsiteX17-7021" fmla="*/ 2681631 w 2804294"/>
              <a:gd name="connsiteY17-7022" fmla="*/ 214686 h 2144680"/>
              <a:gd name="connsiteX18-7023" fmla="*/ 2558968 w 2804294"/>
              <a:gd name="connsiteY18-7024" fmla="*/ 181232 h 2144680"/>
              <a:gd name="connsiteX19-7025" fmla="*/ 2525514 w 2804294"/>
              <a:gd name="connsiteY19-7026" fmla="*/ 270442 h 2144680"/>
              <a:gd name="connsiteX20-7027" fmla="*/ 2414002 w 2804294"/>
              <a:gd name="connsiteY20-7028" fmla="*/ 236988 h 2144680"/>
              <a:gd name="connsiteX21-7029" fmla="*/ 2369397 w 2804294"/>
              <a:gd name="connsiteY21-7030" fmla="*/ 270442 h 2144680"/>
              <a:gd name="connsiteX22-7031" fmla="*/ 2291338 w 2804294"/>
              <a:gd name="connsiteY22-7032" fmla="*/ 270442 h 2144680"/>
              <a:gd name="connsiteX23-7033" fmla="*/ 2291338 w 2804294"/>
              <a:gd name="connsiteY23-7034" fmla="*/ 270442 h 2144680"/>
              <a:gd name="connsiteX24-7035" fmla="*/ 2431388 w 2804294"/>
              <a:gd name="connsiteY24-7036" fmla="*/ 104999 h 2144680"/>
              <a:gd name="connsiteX25-7037" fmla="*/ 2365894 w 2804294"/>
              <a:gd name="connsiteY25-7038" fmla="*/ 27635 h 2144680"/>
              <a:gd name="connsiteX26-7039" fmla="*/ 2316149 w 2804294"/>
              <a:gd name="connsiteY26-7040" fmla="*/ 0 h 2144680"/>
              <a:gd name="connsiteX27-7041" fmla="*/ 2260399 w 2804294"/>
              <a:gd name="connsiteY27-7042" fmla="*/ 26828 h 2144680"/>
              <a:gd name="connsiteX28-7043" fmla="*/ 2062735 w 2804294"/>
              <a:gd name="connsiteY28-7044" fmla="*/ 81251 h 2144680"/>
              <a:gd name="connsiteX29-7045" fmla="*/ 1798171 w 2804294"/>
              <a:gd name="connsiteY29-7046" fmla="*/ 131727 h 2144680"/>
              <a:gd name="connsiteX30-7047" fmla="*/ 1648887 w 2804294"/>
              <a:gd name="connsiteY30-7048" fmla="*/ 401753 h 2144680"/>
              <a:gd name="connsiteX31-7049" fmla="*/ 1466148 w 2804294"/>
              <a:gd name="connsiteY31-7050" fmla="*/ 604978 h 2144680"/>
              <a:gd name="connsiteX32-7051" fmla="*/ 1231973 w 2804294"/>
              <a:gd name="connsiteY32-7052" fmla="*/ 738793 h 2144680"/>
              <a:gd name="connsiteX33-7053" fmla="*/ 1109309 w 2804294"/>
              <a:gd name="connsiteY33-7054" fmla="*/ 850305 h 2144680"/>
              <a:gd name="connsiteX34-7055" fmla="*/ 640958 w 2804294"/>
              <a:gd name="connsiteY34-7056" fmla="*/ 972968 h 2144680"/>
              <a:gd name="connsiteX35-7057" fmla="*/ 574051 w 2804294"/>
              <a:gd name="connsiteY35-7058" fmla="*/ 1028725 h 2144680"/>
              <a:gd name="connsiteX36-7059" fmla="*/ 440236 w 2804294"/>
              <a:gd name="connsiteY36-7060" fmla="*/ 1352110 h 2144680"/>
              <a:gd name="connsiteX37-7061" fmla="*/ 128002 w 2804294"/>
              <a:gd name="connsiteY37-7062" fmla="*/ 1519378 h 2144680"/>
              <a:gd name="connsiteX38-7063" fmla="*/ 105699 w 2804294"/>
              <a:gd name="connsiteY38-7064" fmla="*/ 1664344 h 2144680"/>
              <a:gd name="connsiteX39-7065" fmla="*/ 27641 w 2804294"/>
              <a:gd name="connsiteY39-7066" fmla="*/ 1775856 h 2144680"/>
              <a:gd name="connsiteX40-7067" fmla="*/ 5338 w 2804294"/>
              <a:gd name="connsiteY40-7068" fmla="*/ 2010032 h 2144680"/>
              <a:gd name="connsiteX41-7069" fmla="*/ 1063 w 2804294"/>
              <a:gd name="connsiteY41-7070" fmla="*/ 1968943 h 2144680"/>
              <a:gd name="connsiteX42-7071" fmla="*/ 17008 w 2804294"/>
              <a:gd name="connsiteY42-7072" fmla="*/ 2021619 h 2144680"/>
              <a:gd name="connsiteX43-7073" fmla="*/ 128636 w 2804294"/>
              <a:gd name="connsiteY43-7074" fmla="*/ 2022266 h 2144680"/>
              <a:gd name="connsiteX44-7075" fmla="*/ 21003 w 2804294"/>
              <a:gd name="connsiteY44-7076" fmla="*/ 2018055 h 2144680"/>
              <a:gd name="connsiteX45-7077" fmla="*/ 346055 w 2804294"/>
              <a:gd name="connsiteY45-7078" fmla="*/ 2112372 h 2144680"/>
              <a:gd name="connsiteX0-7079" fmla="*/ 108153 w 2804294"/>
              <a:gd name="connsiteY0-7080" fmla="*/ 2017751 h 2144680"/>
              <a:gd name="connsiteX1-7081" fmla="*/ 96280 w 2804294"/>
              <a:gd name="connsiteY1-7082" fmla="*/ 2005877 h 2144680"/>
              <a:gd name="connsiteX2-7083" fmla="*/ 102217 w 2804294"/>
              <a:gd name="connsiteY2-7084" fmla="*/ 2017751 h 2144680"/>
              <a:gd name="connsiteX3-7085" fmla="*/ 261945 w 2804294"/>
              <a:gd name="connsiteY3-7086" fmla="*/ 2093323 h 2144680"/>
              <a:gd name="connsiteX4-7087" fmla="*/ 251002 w 2804294"/>
              <a:gd name="connsiteY4-7088" fmla="*/ 2112090 h 2144680"/>
              <a:gd name="connsiteX5-7089" fmla="*/ 588466 w 2804294"/>
              <a:gd name="connsiteY5-7090" fmla="*/ 2093057 h 2144680"/>
              <a:gd name="connsiteX6-7091" fmla="*/ 941719 w 2804294"/>
              <a:gd name="connsiteY6-7092" fmla="*/ 2031026 h 2144680"/>
              <a:gd name="connsiteX7-7093" fmla="*/ 964343 w 2804294"/>
              <a:gd name="connsiteY7-7094" fmla="*/ 1597437 h 2144680"/>
              <a:gd name="connsiteX8-7095" fmla="*/ 2079465 w 2804294"/>
              <a:gd name="connsiteY8-7096" fmla="*/ 1586286 h 2144680"/>
              <a:gd name="connsiteX9-7097" fmla="*/ 2068314 w 2804294"/>
              <a:gd name="connsiteY9-7098" fmla="*/ 738793 h 2144680"/>
              <a:gd name="connsiteX10-7099" fmla="*/ 2224431 w 2804294"/>
              <a:gd name="connsiteY10-7100" fmla="*/ 638432 h 2144680"/>
              <a:gd name="connsiteX11-7101" fmla="*/ 2570119 w 2804294"/>
              <a:gd name="connsiteY11-7102" fmla="*/ 460012 h 2144680"/>
              <a:gd name="connsiteX12-7103" fmla="*/ 2804294 w 2804294"/>
              <a:gd name="connsiteY12-7104" fmla="*/ 471164 h 2144680"/>
              <a:gd name="connsiteX13-7105" fmla="*/ 2804294 w 2804294"/>
              <a:gd name="connsiteY13-7106" fmla="*/ 303895 h 2144680"/>
              <a:gd name="connsiteX14-7107" fmla="*/ 2759690 w 2804294"/>
              <a:gd name="connsiteY14-7108" fmla="*/ 225837 h 2144680"/>
              <a:gd name="connsiteX15-7109" fmla="*/ 2748538 w 2804294"/>
              <a:gd name="connsiteY15-7110" fmla="*/ 192383 h 2144680"/>
              <a:gd name="connsiteX16-7111" fmla="*/ 2692782 w 2804294"/>
              <a:gd name="connsiteY16-7112" fmla="*/ 170081 h 2144680"/>
              <a:gd name="connsiteX17-7113" fmla="*/ 2681631 w 2804294"/>
              <a:gd name="connsiteY17-7114" fmla="*/ 214686 h 2144680"/>
              <a:gd name="connsiteX18-7115" fmla="*/ 2558968 w 2804294"/>
              <a:gd name="connsiteY18-7116" fmla="*/ 181232 h 2144680"/>
              <a:gd name="connsiteX19-7117" fmla="*/ 2525514 w 2804294"/>
              <a:gd name="connsiteY19-7118" fmla="*/ 270442 h 2144680"/>
              <a:gd name="connsiteX20-7119" fmla="*/ 2414002 w 2804294"/>
              <a:gd name="connsiteY20-7120" fmla="*/ 236988 h 2144680"/>
              <a:gd name="connsiteX21-7121" fmla="*/ 2369397 w 2804294"/>
              <a:gd name="connsiteY21-7122" fmla="*/ 270442 h 2144680"/>
              <a:gd name="connsiteX22-7123" fmla="*/ 2291338 w 2804294"/>
              <a:gd name="connsiteY22-7124" fmla="*/ 270442 h 2144680"/>
              <a:gd name="connsiteX23-7125" fmla="*/ 2431388 w 2804294"/>
              <a:gd name="connsiteY23-7126" fmla="*/ 104999 h 2144680"/>
              <a:gd name="connsiteX24-7127" fmla="*/ 2365894 w 2804294"/>
              <a:gd name="connsiteY24-7128" fmla="*/ 27635 h 2144680"/>
              <a:gd name="connsiteX25-7129" fmla="*/ 2316149 w 2804294"/>
              <a:gd name="connsiteY25-7130" fmla="*/ 0 h 2144680"/>
              <a:gd name="connsiteX26-7131" fmla="*/ 2260399 w 2804294"/>
              <a:gd name="connsiteY26-7132" fmla="*/ 26828 h 2144680"/>
              <a:gd name="connsiteX27-7133" fmla="*/ 2062735 w 2804294"/>
              <a:gd name="connsiteY27-7134" fmla="*/ 81251 h 2144680"/>
              <a:gd name="connsiteX28-7135" fmla="*/ 1798171 w 2804294"/>
              <a:gd name="connsiteY28-7136" fmla="*/ 131727 h 2144680"/>
              <a:gd name="connsiteX29-7137" fmla="*/ 1648887 w 2804294"/>
              <a:gd name="connsiteY29-7138" fmla="*/ 401753 h 2144680"/>
              <a:gd name="connsiteX30-7139" fmla="*/ 1466148 w 2804294"/>
              <a:gd name="connsiteY30-7140" fmla="*/ 604978 h 2144680"/>
              <a:gd name="connsiteX31-7141" fmla="*/ 1231973 w 2804294"/>
              <a:gd name="connsiteY31-7142" fmla="*/ 738793 h 2144680"/>
              <a:gd name="connsiteX32-7143" fmla="*/ 1109309 w 2804294"/>
              <a:gd name="connsiteY32-7144" fmla="*/ 850305 h 2144680"/>
              <a:gd name="connsiteX33-7145" fmla="*/ 640958 w 2804294"/>
              <a:gd name="connsiteY33-7146" fmla="*/ 972968 h 2144680"/>
              <a:gd name="connsiteX34-7147" fmla="*/ 574051 w 2804294"/>
              <a:gd name="connsiteY34-7148" fmla="*/ 1028725 h 2144680"/>
              <a:gd name="connsiteX35-7149" fmla="*/ 440236 w 2804294"/>
              <a:gd name="connsiteY35-7150" fmla="*/ 1352110 h 2144680"/>
              <a:gd name="connsiteX36-7151" fmla="*/ 128002 w 2804294"/>
              <a:gd name="connsiteY36-7152" fmla="*/ 1519378 h 2144680"/>
              <a:gd name="connsiteX37-7153" fmla="*/ 105699 w 2804294"/>
              <a:gd name="connsiteY37-7154" fmla="*/ 1664344 h 2144680"/>
              <a:gd name="connsiteX38-7155" fmla="*/ 27641 w 2804294"/>
              <a:gd name="connsiteY38-7156" fmla="*/ 1775856 h 2144680"/>
              <a:gd name="connsiteX39-7157" fmla="*/ 5338 w 2804294"/>
              <a:gd name="connsiteY39-7158" fmla="*/ 2010032 h 2144680"/>
              <a:gd name="connsiteX40-7159" fmla="*/ 1063 w 2804294"/>
              <a:gd name="connsiteY40-7160" fmla="*/ 1968943 h 2144680"/>
              <a:gd name="connsiteX41-7161" fmla="*/ 17008 w 2804294"/>
              <a:gd name="connsiteY41-7162" fmla="*/ 2021619 h 2144680"/>
              <a:gd name="connsiteX42-7163" fmla="*/ 128636 w 2804294"/>
              <a:gd name="connsiteY42-7164" fmla="*/ 2022266 h 2144680"/>
              <a:gd name="connsiteX43-7165" fmla="*/ 21003 w 2804294"/>
              <a:gd name="connsiteY43-7166" fmla="*/ 2018055 h 2144680"/>
              <a:gd name="connsiteX44-7167" fmla="*/ 346055 w 2804294"/>
              <a:gd name="connsiteY44-7168" fmla="*/ 2112372 h 2144680"/>
              <a:gd name="connsiteX0-7169" fmla="*/ 108153 w 2804294"/>
              <a:gd name="connsiteY0-7170" fmla="*/ 2017751 h 2144680"/>
              <a:gd name="connsiteX1-7171" fmla="*/ 96280 w 2804294"/>
              <a:gd name="connsiteY1-7172" fmla="*/ 2005877 h 2144680"/>
              <a:gd name="connsiteX2-7173" fmla="*/ 102217 w 2804294"/>
              <a:gd name="connsiteY2-7174" fmla="*/ 2017751 h 2144680"/>
              <a:gd name="connsiteX3-7175" fmla="*/ 261945 w 2804294"/>
              <a:gd name="connsiteY3-7176" fmla="*/ 2093323 h 2144680"/>
              <a:gd name="connsiteX4-7177" fmla="*/ 251002 w 2804294"/>
              <a:gd name="connsiteY4-7178" fmla="*/ 2112090 h 2144680"/>
              <a:gd name="connsiteX5-7179" fmla="*/ 588466 w 2804294"/>
              <a:gd name="connsiteY5-7180" fmla="*/ 2093057 h 2144680"/>
              <a:gd name="connsiteX6-7181" fmla="*/ 941719 w 2804294"/>
              <a:gd name="connsiteY6-7182" fmla="*/ 2031026 h 2144680"/>
              <a:gd name="connsiteX7-7183" fmla="*/ 964343 w 2804294"/>
              <a:gd name="connsiteY7-7184" fmla="*/ 1597437 h 2144680"/>
              <a:gd name="connsiteX8-7185" fmla="*/ 2079465 w 2804294"/>
              <a:gd name="connsiteY8-7186" fmla="*/ 1586286 h 2144680"/>
              <a:gd name="connsiteX9-7187" fmla="*/ 2068314 w 2804294"/>
              <a:gd name="connsiteY9-7188" fmla="*/ 738793 h 2144680"/>
              <a:gd name="connsiteX10-7189" fmla="*/ 2224431 w 2804294"/>
              <a:gd name="connsiteY10-7190" fmla="*/ 638432 h 2144680"/>
              <a:gd name="connsiteX11-7191" fmla="*/ 2570119 w 2804294"/>
              <a:gd name="connsiteY11-7192" fmla="*/ 460012 h 2144680"/>
              <a:gd name="connsiteX12-7193" fmla="*/ 2804294 w 2804294"/>
              <a:gd name="connsiteY12-7194" fmla="*/ 471164 h 2144680"/>
              <a:gd name="connsiteX13-7195" fmla="*/ 2804294 w 2804294"/>
              <a:gd name="connsiteY13-7196" fmla="*/ 303895 h 2144680"/>
              <a:gd name="connsiteX14-7197" fmla="*/ 2759690 w 2804294"/>
              <a:gd name="connsiteY14-7198" fmla="*/ 225837 h 2144680"/>
              <a:gd name="connsiteX15-7199" fmla="*/ 2748538 w 2804294"/>
              <a:gd name="connsiteY15-7200" fmla="*/ 192383 h 2144680"/>
              <a:gd name="connsiteX16-7201" fmla="*/ 2692782 w 2804294"/>
              <a:gd name="connsiteY16-7202" fmla="*/ 170081 h 2144680"/>
              <a:gd name="connsiteX17-7203" fmla="*/ 2681631 w 2804294"/>
              <a:gd name="connsiteY17-7204" fmla="*/ 214686 h 2144680"/>
              <a:gd name="connsiteX18-7205" fmla="*/ 2558968 w 2804294"/>
              <a:gd name="connsiteY18-7206" fmla="*/ 181232 h 2144680"/>
              <a:gd name="connsiteX19-7207" fmla="*/ 2525514 w 2804294"/>
              <a:gd name="connsiteY19-7208" fmla="*/ 270442 h 2144680"/>
              <a:gd name="connsiteX20-7209" fmla="*/ 2414002 w 2804294"/>
              <a:gd name="connsiteY20-7210" fmla="*/ 236988 h 2144680"/>
              <a:gd name="connsiteX21-7211" fmla="*/ 2369397 w 2804294"/>
              <a:gd name="connsiteY21-7212" fmla="*/ 270442 h 2144680"/>
              <a:gd name="connsiteX22-7213" fmla="*/ 2431388 w 2804294"/>
              <a:gd name="connsiteY22-7214" fmla="*/ 104999 h 2144680"/>
              <a:gd name="connsiteX23-7215" fmla="*/ 2365894 w 2804294"/>
              <a:gd name="connsiteY23-7216" fmla="*/ 27635 h 2144680"/>
              <a:gd name="connsiteX24-7217" fmla="*/ 2316149 w 2804294"/>
              <a:gd name="connsiteY24-7218" fmla="*/ 0 h 2144680"/>
              <a:gd name="connsiteX25-7219" fmla="*/ 2260399 w 2804294"/>
              <a:gd name="connsiteY25-7220" fmla="*/ 26828 h 2144680"/>
              <a:gd name="connsiteX26-7221" fmla="*/ 2062735 w 2804294"/>
              <a:gd name="connsiteY26-7222" fmla="*/ 81251 h 2144680"/>
              <a:gd name="connsiteX27-7223" fmla="*/ 1798171 w 2804294"/>
              <a:gd name="connsiteY27-7224" fmla="*/ 131727 h 2144680"/>
              <a:gd name="connsiteX28-7225" fmla="*/ 1648887 w 2804294"/>
              <a:gd name="connsiteY28-7226" fmla="*/ 401753 h 2144680"/>
              <a:gd name="connsiteX29-7227" fmla="*/ 1466148 w 2804294"/>
              <a:gd name="connsiteY29-7228" fmla="*/ 604978 h 2144680"/>
              <a:gd name="connsiteX30-7229" fmla="*/ 1231973 w 2804294"/>
              <a:gd name="connsiteY30-7230" fmla="*/ 738793 h 2144680"/>
              <a:gd name="connsiteX31-7231" fmla="*/ 1109309 w 2804294"/>
              <a:gd name="connsiteY31-7232" fmla="*/ 850305 h 2144680"/>
              <a:gd name="connsiteX32-7233" fmla="*/ 640958 w 2804294"/>
              <a:gd name="connsiteY32-7234" fmla="*/ 972968 h 2144680"/>
              <a:gd name="connsiteX33-7235" fmla="*/ 574051 w 2804294"/>
              <a:gd name="connsiteY33-7236" fmla="*/ 1028725 h 2144680"/>
              <a:gd name="connsiteX34-7237" fmla="*/ 440236 w 2804294"/>
              <a:gd name="connsiteY34-7238" fmla="*/ 1352110 h 2144680"/>
              <a:gd name="connsiteX35-7239" fmla="*/ 128002 w 2804294"/>
              <a:gd name="connsiteY35-7240" fmla="*/ 1519378 h 2144680"/>
              <a:gd name="connsiteX36-7241" fmla="*/ 105699 w 2804294"/>
              <a:gd name="connsiteY36-7242" fmla="*/ 1664344 h 2144680"/>
              <a:gd name="connsiteX37-7243" fmla="*/ 27641 w 2804294"/>
              <a:gd name="connsiteY37-7244" fmla="*/ 1775856 h 2144680"/>
              <a:gd name="connsiteX38-7245" fmla="*/ 5338 w 2804294"/>
              <a:gd name="connsiteY38-7246" fmla="*/ 2010032 h 2144680"/>
              <a:gd name="connsiteX39-7247" fmla="*/ 1063 w 2804294"/>
              <a:gd name="connsiteY39-7248" fmla="*/ 1968943 h 2144680"/>
              <a:gd name="connsiteX40-7249" fmla="*/ 17008 w 2804294"/>
              <a:gd name="connsiteY40-7250" fmla="*/ 2021619 h 2144680"/>
              <a:gd name="connsiteX41-7251" fmla="*/ 128636 w 2804294"/>
              <a:gd name="connsiteY41-7252" fmla="*/ 2022266 h 2144680"/>
              <a:gd name="connsiteX42-7253" fmla="*/ 21003 w 2804294"/>
              <a:gd name="connsiteY42-7254" fmla="*/ 2018055 h 2144680"/>
              <a:gd name="connsiteX43-7255" fmla="*/ 346055 w 2804294"/>
              <a:gd name="connsiteY43-7256" fmla="*/ 2112372 h 2144680"/>
              <a:gd name="connsiteX0-7257" fmla="*/ 108153 w 2804294"/>
              <a:gd name="connsiteY0-7258" fmla="*/ 2017751 h 2144680"/>
              <a:gd name="connsiteX1-7259" fmla="*/ 96280 w 2804294"/>
              <a:gd name="connsiteY1-7260" fmla="*/ 2005877 h 2144680"/>
              <a:gd name="connsiteX2-7261" fmla="*/ 102217 w 2804294"/>
              <a:gd name="connsiteY2-7262" fmla="*/ 2017751 h 2144680"/>
              <a:gd name="connsiteX3-7263" fmla="*/ 261945 w 2804294"/>
              <a:gd name="connsiteY3-7264" fmla="*/ 2093323 h 2144680"/>
              <a:gd name="connsiteX4-7265" fmla="*/ 251002 w 2804294"/>
              <a:gd name="connsiteY4-7266" fmla="*/ 2112090 h 2144680"/>
              <a:gd name="connsiteX5-7267" fmla="*/ 588466 w 2804294"/>
              <a:gd name="connsiteY5-7268" fmla="*/ 2093057 h 2144680"/>
              <a:gd name="connsiteX6-7269" fmla="*/ 941719 w 2804294"/>
              <a:gd name="connsiteY6-7270" fmla="*/ 2031026 h 2144680"/>
              <a:gd name="connsiteX7-7271" fmla="*/ 964343 w 2804294"/>
              <a:gd name="connsiteY7-7272" fmla="*/ 1597437 h 2144680"/>
              <a:gd name="connsiteX8-7273" fmla="*/ 2079465 w 2804294"/>
              <a:gd name="connsiteY8-7274" fmla="*/ 1586286 h 2144680"/>
              <a:gd name="connsiteX9-7275" fmla="*/ 2068314 w 2804294"/>
              <a:gd name="connsiteY9-7276" fmla="*/ 738793 h 2144680"/>
              <a:gd name="connsiteX10-7277" fmla="*/ 2224431 w 2804294"/>
              <a:gd name="connsiteY10-7278" fmla="*/ 638432 h 2144680"/>
              <a:gd name="connsiteX11-7279" fmla="*/ 2570119 w 2804294"/>
              <a:gd name="connsiteY11-7280" fmla="*/ 460012 h 2144680"/>
              <a:gd name="connsiteX12-7281" fmla="*/ 2804294 w 2804294"/>
              <a:gd name="connsiteY12-7282" fmla="*/ 471164 h 2144680"/>
              <a:gd name="connsiteX13-7283" fmla="*/ 2804294 w 2804294"/>
              <a:gd name="connsiteY13-7284" fmla="*/ 303895 h 2144680"/>
              <a:gd name="connsiteX14-7285" fmla="*/ 2759690 w 2804294"/>
              <a:gd name="connsiteY14-7286" fmla="*/ 225837 h 2144680"/>
              <a:gd name="connsiteX15-7287" fmla="*/ 2748538 w 2804294"/>
              <a:gd name="connsiteY15-7288" fmla="*/ 192383 h 2144680"/>
              <a:gd name="connsiteX16-7289" fmla="*/ 2692782 w 2804294"/>
              <a:gd name="connsiteY16-7290" fmla="*/ 170081 h 2144680"/>
              <a:gd name="connsiteX17-7291" fmla="*/ 2681631 w 2804294"/>
              <a:gd name="connsiteY17-7292" fmla="*/ 214686 h 2144680"/>
              <a:gd name="connsiteX18-7293" fmla="*/ 2558968 w 2804294"/>
              <a:gd name="connsiteY18-7294" fmla="*/ 181232 h 2144680"/>
              <a:gd name="connsiteX19-7295" fmla="*/ 2525514 w 2804294"/>
              <a:gd name="connsiteY19-7296" fmla="*/ 270442 h 2144680"/>
              <a:gd name="connsiteX20-7297" fmla="*/ 2414002 w 2804294"/>
              <a:gd name="connsiteY20-7298" fmla="*/ 236988 h 2144680"/>
              <a:gd name="connsiteX21-7299" fmla="*/ 2440538 w 2804294"/>
              <a:gd name="connsiteY21-7300" fmla="*/ 198947 h 2144680"/>
              <a:gd name="connsiteX22-7301" fmla="*/ 2431388 w 2804294"/>
              <a:gd name="connsiteY22-7302" fmla="*/ 104999 h 2144680"/>
              <a:gd name="connsiteX23-7303" fmla="*/ 2365894 w 2804294"/>
              <a:gd name="connsiteY23-7304" fmla="*/ 27635 h 2144680"/>
              <a:gd name="connsiteX24-7305" fmla="*/ 2316149 w 2804294"/>
              <a:gd name="connsiteY24-7306" fmla="*/ 0 h 2144680"/>
              <a:gd name="connsiteX25-7307" fmla="*/ 2260399 w 2804294"/>
              <a:gd name="connsiteY25-7308" fmla="*/ 26828 h 2144680"/>
              <a:gd name="connsiteX26-7309" fmla="*/ 2062735 w 2804294"/>
              <a:gd name="connsiteY26-7310" fmla="*/ 81251 h 2144680"/>
              <a:gd name="connsiteX27-7311" fmla="*/ 1798171 w 2804294"/>
              <a:gd name="connsiteY27-7312" fmla="*/ 131727 h 2144680"/>
              <a:gd name="connsiteX28-7313" fmla="*/ 1648887 w 2804294"/>
              <a:gd name="connsiteY28-7314" fmla="*/ 401753 h 2144680"/>
              <a:gd name="connsiteX29-7315" fmla="*/ 1466148 w 2804294"/>
              <a:gd name="connsiteY29-7316" fmla="*/ 604978 h 2144680"/>
              <a:gd name="connsiteX30-7317" fmla="*/ 1231973 w 2804294"/>
              <a:gd name="connsiteY30-7318" fmla="*/ 738793 h 2144680"/>
              <a:gd name="connsiteX31-7319" fmla="*/ 1109309 w 2804294"/>
              <a:gd name="connsiteY31-7320" fmla="*/ 850305 h 2144680"/>
              <a:gd name="connsiteX32-7321" fmla="*/ 640958 w 2804294"/>
              <a:gd name="connsiteY32-7322" fmla="*/ 972968 h 2144680"/>
              <a:gd name="connsiteX33-7323" fmla="*/ 574051 w 2804294"/>
              <a:gd name="connsiteY33-7324" fmla="*/ 1028725 h 2144680"/>
              <a:gd name="connsiteX34-7325" fmla="*/ 440236 w 2804294"/>
              <a:gd name="connsiteY34-7326" fmla="*/ 1352110 h 2144680"/>
              <a:gd name="connsiteX35-7327" fmla="*/ 128002 w 2804294"/>
              <a:gd name="connsiteY35-7328" fmla="*/ 1519378 h 2144680"/>
              <a:gd name="connsiteX36-7329" fmla="*/ 105699 w 2804294"/>
              <a:gd name="connsiteY36-7330" fmla="*/ 1664344 h 2144680"/>
              <a:gd name="connsiteX37-7331" fmla="*/ 27641 w 2804294"/>
              <a:gd name="connsiteY37-7332" fmla="*/ 1775856 h 2144680"/>
              <a:gd name="connsiteX38-7333" fmla="*/ 5338 w 2804294"/>
              <a:gd name="connsiteY38-7334" fmla="*/ 2010032 h 2144680"/>
              <a:gd name="connsiteX39-7335" fmla="*/ 1063 w 2804294"/>
              <a:gd name="connsiteY39-7336" fmla="*/ 1968943 h 2144680"/>
              <a:gd name="connsiteX40-7337" fmla="*/ 17008 w 2804294"/>
              <a:gd name="connsiteY40-7338" fmla="*/ 2021619 h 2144680"/>
              <a:gd name="connsiteX41-7339" fmla="*/ 128636 w 2804294"/>
              <a:gd name="connsiteY41-7340" fmla="*/ 2022266 h 2144680"/>
              <a:gd name="connsiteX42-7341" fmla="*/ 21003 w 2804294"/>
              <a:gd name="connsiteY42-7342" fmla="*/ 2018055 h 2144680"/>
              <a:gd name="connsiteX43-7343" fmla="*/ 346055 w 2804294"/>
              <a:gd name="connsiteY43-7344" fmla="*/ 2112372 h 2144680"/>
              <a:gd name="connsiteX0-7345" fmla="*/ 108153 w 2804294"/>
              <a:gd name="connsiteY0-7346" fmla="*/ 2017751 h 2144680"/>
              <a:gd name="connsiteX1-7347" fmla="*/ 96280 w 2804294"/>
              <a:gd name="connsiteY1-7348" fmla="*/ 2005877 h 2144680"/>
              <a:gd name="connsiteX2-7349" fmla="*/ 102217 w 2804294"/>
              <a:gd name="connsiteY2-7350" fmla="*/ 2017751 h 2144680"/>
              <a:gd name="connsiteX3-7351" fmla="*/ 261945 w 2804294"/>
              <a:gd name="connsiteY3-7352" fmla="*/ 2093323 h 2144680"/>
              <a:gd name="connsiteX4-7353" fmla="*/ 251002 w 2804294"/>
              <a:gd name="connsiteY4-7354" fmla="*/ 2112090 h 2144680"/>
              <a:gd name="connsiteX5-7355" fmla="*/ 588466 w 2804294"/>
              <a:gd name="connsiteY5-7356" fmla="*/ 2093057 h 2144680"/>
              <a:gd name="connsiteX6-7357" fmla="*/ 941719 w 2804294"/>
              <a:gd name="connsiteY6-7358" fmla="*/ 2031026 h 2144680"/>
              <a:gd name="connsiteX7-7359" fmla="*/ 964343 w 2804294"/>
              <a:gd name="connsiteY7-7360" fmla="*/ 1597437 h 2144680"/>
              <a:gd name="connsiteX8-7361" fmla="*/ 2079465 w 2804294"/>
              <a:gd name="connsiteY8-7362" fmla="*/ 1586286 h 2144680"/>
              <a:gd name="connsiteX9-7363" fmla="*/ 2068314 w 2804294"/>
              <a:gd name="connsiteY9-7364" fmla="*/ 738793 h 2144680"/>
              <a:gd name="connsiteX10-7365" fmla="*/ 2224431 w 2804294"/>
              <a:gd name="connsiteY10-7366" fmla="*/ 638432 h 2144680"/>
              <a:gd name="connsiteX11-7367" fmla="*/ 2570119 w 2804294"/>
              <a:gd name="connsiteY11-7368" fmla="*/ 460012 h 2144680"/>
              <a:gd name="connsiteX12-7369" fmla="*/ 2804294 w 2804294"/>
              <a:gd name="connsiteY12-7370" fmla="*/ 471164 h 2144680"/>
              <a:gd name="connsiteX13-7371" fmla="*/ 2804294 w 2804294"/>
              <a:gd name="connsiteY13-7372" fmla="*/ 303895 h 2144680"/>
              <a:gd name="connsiteX14-7373" fmla="*/ 2759690 w 2804294"/>
              <a:gd name="connsiteY14-7374" fmla="*/ 225837 h 2144680"/>
              <a:gd name="connsiteX15-7375" fmla="*/ 2748538 w 2804294"/>
              <a:gd name="connsiteY15-7376" fmla="*/ 192383 h 2144680"/>
              <a:gd name="connsiteX16-7377" fmla="*/ 2692782 w 2804294"/>
              <a:gd name="connsiteY16-7378" fmla="*/ 170081 h 2144680"/>
              <a:gd name="connsiteX17-7379" fmla="*/ 2681631 w 2804294"/>
              <a:gd name="connsiteY17-7380" fmla="*/ 214686 h 2144680"/>
              <a:gd name="connsiteX18-7381" fmla="*/ 2558968 w 2804294"/>
              <a:gd name="connsiteY18-7382" fmla="*/ 181232 h 2144680"/>
              <a:gd name="connsiteX19-7383" fmla="*/ 2525514 w 2804294"/>
              <a:gd name="connsiteY19-7384" fmla="*/ 270442 h 2144680"/>
              <a:gd name="connsiteX20-7385" fmla="*/ 2414002 w 2804294"/>
              <a:gd name="connsiteY20-7386" fmla="*/ 236988 h 2144680"/>
              <a:gd name="connsiteX21-7387" fmla="*/ 2440538 w 2804294"/>
              <a:gd name="connsiteY21-7388" fmla="*/ 198947 h 2144680"/>
              <a:gd name="connsiteX22-7389" fmla="*/ 2431388 w 2804294"/>
              <a:gd name="connsiteY22-7390" fmla="*/ 104999 h 2144680"/>
              <a:gd name="connsiteX23-7391" fmla="*/ 2365894 w 2804294"/>
              <a:gd name="connsiteY23-7392" fmla="*/ 27635 h 2144680"/>
              <a:gd name="connsiteX24-7393" fmla="*/ 2316149 w 2804294"/>
              <a:gd name="connsiteY24-7394" fmla="*/ 0 h 2144680"/>
              <a:gd name="connsiteX25-7395" fmla="*/ 2260399 w 2804294"/>
              <a:gd name="connsiteY25-7396" fmla="*/ 26828 h 2144680"/>
              <a:gd name="connsiteX26-7397" fmla="*/ 2062735 w 2804294"/>
              <a:gd name="connsiteY26-7398" fmla="*/ 81251 h 2144680"/>
              <a:gd name="connsiteX27-7399" fmla="*/ 1798171 w 2804294"/>
              <a:gd name="connsiteY27-7400" fmla="*/ 131727 h 2144680"/>
              <a:gd name="connsiteX28-7401" fmla="*/ 1648887 w 2804294"/>
              <a:gd name="connsiteY28-7402" fmla="*/ 401753 h 2144680"/>
              <a:gd name="connsiteX29-7403" fmla="*/ 1466148 w 2804294"/>
              <a:gd name="connsiteY29-7404" fmla="*/ 604978 h 2144680"/>
              <a:gd name="connsiteX30-7405" fmla="*/ 1231973 w 2804294"/>
              <a:gd name="connsiteY30-7406" fmla="*/ 738793 h 2144680"/>
              <a:gd name="connsiteX31-7407" fmla="*/ 1109309 w 2804294"/>
              <a:gd name="connsiteY31-7408" fmla="*/ 850305 h 2144680"/>
              <a:gd name="connsiteX32-7409" fmla="*/ 640958 w 2804294"/>
              <a:gd name="connsiteY32-7410" fmla="*/ 972968 h 2144680"/>
              <a:gd name="connsiteX33-7411" fmla="*/ 574051 w 2804294"/>
              <a:gd name="connsiteY33-7412" fmla="*/ 1028725 h 2144680"/>
              <a:gd name="connsiteX34-7413" fmla="*/ 440236 w 2804294"/>
              <a:gd name="connsiteY34-7414" fmla="*/ 1352110 h 2144680"/>
              <a:gd name="connsiteX35-7415" fmla="*/ 128002 w 2804294"/>
              <a:gd name="connsiteY35-7416" fmla="*/ 1519378 h 2144680"/>
              <a:gd name="connsiteX36-7417" fmla="*/ 105699 w 2804294"/>
              <a:gd name="connsiteY36-7418" fmla="*/ 1664344 h 2144680"/>
              <a:gd name="connsiteX37-7419" fmla="*/ 27641 w 2804294"/>
              <a:gd name="connsiteY37-7420" fmla="*/ 1775856 h 2144680"/>
              <a:gd name="connsiteX38-7421" fmla="*/ 5338 w 2804294"/>
              <a:gd name="connsiteY38-7422" fmla="*/ 2010032 h 2144680"/>
              <a:gd name="connsiteX39-7423" fmla="*/ 1063 w 2804294"/>
              <a:gd name="connsiteY39-7424" fmla="*/ 1968943 h 2144680"/>
              <a:gd name="connsiteX40-7425" fmla="*/ 17008 w 2804294"/>
              <a:gd name="connsiteY40-7426" fmla="*/ 2021619 h 2144680"/>
              <a:gd name="connsiteX41-7427" fmla="*/ 128636 w 2804294"/>
              <a:gd name="connsiteY41-7428" fmla="*/ 2022266 h 2144680"/>
              <a:gd name="connsiteX42-7429" fmla="*/ 21003 w 2804294"/>
              <a:gd name="connsiteY42-7430" fmla="*/ 2018055 h 2144680"/>
              <a:gd name="connsiteX43-7431" fmla="*/ 346055 w 2804294"/>
              <a:gd name="connsiteY43-7432" fmla="*/ 2112372 h 2144680"/>
              <a:gd name="connsiteX0-7433" fmla="*/ 108153 w 2804294"/>
              <a:gd name="connsiteY0-7434" fmla="*/ 2017751 h 2144680"/>
              <a:gd name="connsiteX1-7435" fmla="*/ 96280 w 2804294"/>
              <a:gd name="connsiteY1-7436" fmla="*/ 2005877 h 2144680"/>
              <a:gd name="connsiteX2-7437" fmla="*/ 102217 w 2804294"/>
              <a:gd name="connsiteY2-7438" fmla="*/ 2017751 h 2144680"/>
              <a:gd name="connsiteX3-7439" fmla="*/ 261945 w 2804294"/>
              <a:gd name="connsiteY3-7440" fmla="*/ 2093323 h 2144680"/>
              <a:gd name="connsiteX4-7441" fmla="*/ 251002 w 2804294"/>
              <a:gd name="connsiteY4-7442" fmla="*/ 2112090 h 2144680"/>
              <a:gd name="connsiteX5-7443" fmla="*/ 588466 w 2804294"/>
              <a:gd name="connsiteY5-7444" fmla="*/ 2093057 h 2144680"/>
              <a:gd name="connsiteX6-7445" fmla="*/ 941719 w 2804294"/>
              <a:gd name="connsiteY6-7446" fmla="*/ 2031026 h 2144680"/>
              <a:gd name="connsiteX7-7447" fmla="*/ 964343 w 2804294"/>
              <a:gd name="connsiteY7-7448" fmla="*/ 1597437 h 2144680"/>
              <a:gd name="connsiteX8-7449" fmla="*/ 2079465 w 2804294"/>
              <a:gd name="connsiteY8-7450" fmla="*/ 1586286 h 2144680"/>
              <a:gd name="connsiteX9-7451" fmla="*/ 2068314 w 2804294"/>
              <a:gd name="connsiteY9-7452" fmla="*/ 738793 h 2144680"/>
              <a:gd name="connsiteX10-7453" fmla="*/ 2224431 w 2804294"/>
              <a:gd name="connsiteY10-7454" fmla="*/ 638432 h 2144680"/>
              <a:gd name="connsiteX11-7455" fmla="*/ 2570119 w 2804294"/>
              <a:gd name="connsiteY11-7456" fmla="*/ 460012 h 2144680"/>
              <a:gd name="connsiteX12-7457" fmla="*/ 2804294 w 2804294"/>
              <a:gd name="connsiteY12-7458" fmla="*/ 471164 h 2144680"/>
              <a:gd name="connsiteX13-7459" fmla="*/ 2804294 w 2804294"/>
              <a:gd name="connsiteY13-7460" fmla="*/ 303895 h 2144680"/>
              <a:gd name="connsiteX14-7461" fmla="*/ 2759690 w 2804294"/>
              <a:gd name="connsiteY14-7462" fmla="*/ 225837 h 2144680"/>
              <a:gd name="connsiteX15-7463" fmla="*/ 2748538 w 2804294"/>
              <a:gd name="connsiteY15-7464" fmla="*/ 192383 h 2144680"/>
              <a:gd name="connsiteX16-7465" fmla="*/ 2692782 w 2804294"/>
              <a:gd name="connsiteY16-7466" fmla="*/ 170081 h 2144680"/>
              <a:gd name="connsiteX17-7467" fmla="*/ 2681631 w 2804294"/>
              <a:gd name="connsiteY17-7468" fmla="*/ 214686 h 2144680"/>
              <a:gd name="connsiteX18-7469" fmla="*/ 2558968 w 2804294"/>
              <a:gd name="connsiteY18-7470" fmla="*/ 181232 h 2144680"/>
              <a:gd name="connsiteX19-7471" fmla="*/ 2525514 w 2804294"/>
              <a:gd name="connsiteY19-7472" fmla="*/ 270442 h 2144680"/>
              <a:gd name="connsiteX20-7473" fmla="*/ 2414002 w 2804294"/>
              <a:gd name="connsiteY20-7474" fmla="*/ 236988 h 2144680"/>
              <a:gd name="connsiteX21-7475" fmla="*/ 2440538 w 2804294"/>
              <a:gd name="connsiteY21-7476" fmla="*/ 198947 h 2144680"/>
              <a:gd name="connsiteX22-7477" fmla="*/ 2431388 w 2804294"/>
              <a:gd name="connsiteY22-7478" fmla="*/ 104999 h 2144680"/>
              <a:gd name="connsiteX23-7479" fmla="*/ 2365894 w 2804294"/>
              <a:gd name="connsiteY23-7480" fmla="*/ 27635 h 2144680"/>
              <a:gd name="connsiteX24-7481" fmla="*/ 2316149 w 2804294"/>
              <a:gd name="connsiteY24-7482" fmla="*/ 0 h 2144680"/>
              <a:gd name="connsiteX25-7483" fmla="*/ 2260399 w 2804294"/>
              <a:gd name="connsiteY25-7484" fmla="*/ 26828 h 2144680"/>
              <a:gd name="connsiteX26-7485" fmla="*/ 2062735 w 2804294"/>
              <a:gd name="connsiteY26-7486" fmla="*/ 81251 h 2144680"/>
              <a:gd name="connsiteX27-7487" fmla="*/ 1798171 w 2804294"/>
              <a:gd name="connsiteY27-7488" fmla="*/ 131727 h 2144680"/>
              <a:gd name="connsiteX28-7489" fmla="*/ 1648887 w 2804294"/>
              <a:gd name="connsiteY28-7490" fmla="*/ 401753 h 2144680"/>
              <a:gd name="connsiteX29-7491" fmla="*/ 1466148 w 2804294"/>
              <a:gd name="connsiteY29-7492" fmla="*/ 604978 h 2144680"/>
              <a:gd name="connsiteX30-7493" fmla="*/ 1231973 w 2804294"/>
              <a:gd name="connsiteY30-7494" fmla="*/ 738793 h 2144680"/>
              <a:gd name="connsiteX31-7495" fmla="*/ 1109309 w 2804294"/>
              <a:gd name="connsiteY31-7496" fmla="*/ 850305 h 2144680"/>
              <a:gd name="connsiteX32-7497" fmla="*/ 640958 w 2804294"/>
              <a:gd name="connsiteY32-7498" fmla="*/ 972968 h 2144680"/>
              <a:gd name="connsiteX33-7499" fmla="*/ 574051 w 2804294"/>
              <a:gd name="connsiteY33-7500" fmla="*/ 1028725 h 2144680"/>
              <a:gd name="connsiteX34-7501" fmla="*/ 440236 w 2804294"/>
              <a:gd name="connsiteY34-7502" fmla="*/ 1352110 h 2144680"/>
              <a:gd name="connsiteX35-7503" fmla="*/ 128002 w 2804294"/>
              <a:gd name="connsiteY35-7504" fmla="*/ 1519378 h 2144680"/>
              <a:gd name="connsiteX36-7505" fmla="*/ 105699 w 2804294"/>
              <a:gd name="connsiteY36-7506" fmla="*/ 1664344 h 2144680"/>
              <a:gd name="connsiteX37-7507" fmla="*/ 27641 w 2804294"/>
              <a:gd name="connsiteY37-7508" fmla="*/ 1775856 h 2144680"/>
              <a:gd name="connsiteX38-7509" fmla="*/ 5338 w 2804294"/>
              <a:gd name="connsiteY38-7510" fmla="*/ 2010032 h 2144680"/>
              <a:gd name="connsiteX39-7511" fmla="*/ 1063 w 2804294"/>
              <a:gd name="connsiteY39-7512" fmla="*/ 1968943 h 2144680"/>
              <a:gd name="connsiteX40-7513" fmla="*/ 17008 w 2804294"/>
              <a:gd name="connsiteY40-7514" fmla="*/ 2021619 h 2144680"/>
              <a:gd name="connsiteX41-7515" fmla="*/ 128636 w 2804294"/>
              <a:gd name="connsiteY41-7516" fmla="*/ 2022266 h 2144680"/>
              <a:gd name="connsiteX42-7517" fmla="*/ 21003 w 2804294"/>
              <a:gd name="connsiteY42-7518" fmla="*/ 2018055 h 2144680"/>
              <a:gd name="connsiteX43-7519" fmla="*/ 346055 w 2804294"/>
              <a:gd name="connsiteY43-7520" fmla="*/ 2112372 h 2144680"/>
              <a:gd name="connsiteX0-7521" fmla="*/ 108153 w 2804294"/>
              <a:gd name="connsiteY0-7522" fmla="*/ 2017751 h 2144680"/>
              <a:gd name="connsiteX1-7523" fmla="*/ 96280 w 2804294"/>
              <a:gd name="connsiteY1-7524" fmla="*/ 2005877 h 2144680"/>
              <a:gd name="connsiteX2-7525" fmla="*/ 102217 w 2804294"/>
              <a:gd name="connsiteY2-7526" fmla="*/ 2017751 h 2144680"/>
              <a:gd name="connsiteX3-7527" fmla="*/ 261945 w 2804294"/>
              <a:gd name="connsiteY3-7528" fmla="*/ 2093323 h 2144680"/>
              <a:gd name="connsiteX4-7529" fmla="*/ 251002 w 2804294"/>
              <a:gd name="connsiteY4-7530" fmla="*/ 2112090 h 2144680"/>
              <a:gd name="connsiteX5-7531" fmla="*/ 588466 w 2804294"/>
              <a:gd name="connsiteY5-7532" fmla="*/ 2093057 h 2144680"/>
              <a:gd name="connsiteX6-7533" fmla="*/ 941719 w 2804294"/>
              <a:gd name="connsiteY6-7534" fmla="*/ 2031026 h 2144680"/>
              <a:gd name="connsiteX7-7535" fmla="*/ 964343 w 2804294"/>
              <a:gd name="connsiteY7-7536" fmla="*/ 1597437 h 2144680"/>
              <a:gd name="connsiteX8-7537" fmla="*/ 2079465 w 2804294"/>
              <a:gd name="connsiteY8-7538" fmla="*/ 1586286 h 2144680"/>
              <a:gd name="connsiteX9-7539" fmla="*/ 2068314 w 2804294"/>
              <a:gd name="connsiteY9-7540" fmla="*/ 738793 h 2144680"/>
              <a:gd name="connsiteX10-7541" fmla="*/ 2224431 w 2804294"/>
              <a:gd name="connsiteY10-7542" fmla="*/ 638432 h 2144680"/>
              <a:gd name="connsiteX11-7543" fmla="*/ 2570119 w 2804294"/>
              <a:gd name="connsiteY11-7544" fmla="*/ 460012 h 2144680"/>
              <a:gd name="connsiteX12-7545" fmla="*/ 2804294 w 2804294"/>
              <a:gd name="connsiteY12-7546" fmla="*/ 471164 h 2144680"/>
              <a:gd name="connsiteX13-7547" fmla="*/ 2804294 w 2804294"/>
              <a:gd name="connsiteY13-7548" fmla="*/ 303895 h 2144680"/>
              <a:gd name="connsiteX14-7549" fmla="*/ 2759690 w 2804294"/>
              <a:gd name="connsiteY14-7550" fmla="*/ 225837 h 2144680"/>
              <a:gd name="connsiteX15-7551" fmla="*/ 2748538 w 2804294"/>
              <a:gd name="connsiteY15-7552" fmla="*/ 192383 h 2144680"/>
              <a:gd name="connsiteX16-7553" fmla="*/ 2692782 w 2804294"/>
              <a:gd name="connsiteY16-7554" fmla="*/ 170081 h 2144680"/>
              <a:gd name="connsiteX17-7555" fmla="*/ 2681631 w 2804294"/>
              <a:gd name="connsiteY17-7556" fmla="*/ 214686 h 2144680"/>
              <a:gd name="connsiteX18-7557" fmla="*/ 2558968 w 2804294"/>
              <a:gd name="connsiteY18-7558" fmla="*/ 181232 h 2144680"/>
              <a:gd name="connsiteX19-7559" fmla="*/ 2525514 w 2804294"/>
              <a:gd name="connsiteY19-7560" fmla="*/ 270442 h 2144680"/>
              <a:gd name="connsiteX20-7561" fmla="*/ 2414002 w 2804294"/>
              <a:gd name="connsiteY20-7562" fmla="*/ 236988 h 2144680"/>
              <a:gd name="connsiteX21-7563" fmla="*/ 2440538 w 2804294"/>
              <a:gd name="connsiteY21-7564" fmla="*/ 198947 h 2144680"/>
              <a:gd name="connsiteX22-7565" fmla="*/ 2431388 w 2804294"/>
              <a:gd name="connsiteY22-7566" fmla="*/ 104999 h 2144680"/>
              <a:gd name="connsiteX23-7567" fmla="*/ 2365894 w 2804294"/>
              <a:gd name="connsiteY23-7568" fmla="*/ 27635 h 2144680"/>
              <a:gd name="connsiteX24-7569" fmla="*/ 2316149 w 2804294"/>
              <a:gd name="connsiteY24-7570" fmla="*/ 0 h 2144680"/>
              <a:gd name="connsiteX25-7571" fmla="*/ 2260399 w 2804294"/>
              <a:gd name="connsiteY25-7572" fmla="*/ 26828 h 2144680"/>
              <a:gd name="connsiteX26-7573" fmla="*/ 2062735 w 2804294"/>
              <a:gd name="connsiteY26-7574" fmla="*/ 81251 h 2144680"/>
              <a:gd name="connsiteX27-7575" fmla="*/ 1797975 w 2804294"/>
              <a:gd name="connsiteY27-7576" fmla="*/ 131705 h 2144680"/>
              <a:gd name="connsiteX28-7577" fmla="*/ 1648887 w 2804294"/>
              <a:gd name="connsiteY28-7578" fmla="*/ 401753 h 2144680"/>
              <a:gd name="connsiteX29-7579" fmla="*/ 1466148 w 2804294"/>
              <a:gd name="connsiteY29-7580" fmla="*/ 604978 h 2144680"/>
              <a:gd name="connsiteX30-7581" fmla="*/ 1231973 w 2804294"/>
              <a:gd name="connsiteY30-7582" fmla="*/ 738793 h 2144680"/>
              <a:gd name="connsiteX31-7583" fmla="*/ 1109309 w 2804294"/>
              <a:gd name="connsiteY31-7584" fmla="*/ 850305 h 2144680"/>
              <a:gd name="connsiteX32-7585" fmla="*/ 640958 w 2804294"/>
              <a:gd name="connsiteY32-7586" fmla="*/ 972968 h 2144680"/>
              <a:gd name="connsiteX33-7587" fmla="*/ 574051 w 2804294"/>
              <a:gd name="connsiteY33-7588" fmla="*/ 1028725 h 2144680"/>
              <a:gd name="connsiteX34-7589" fmla="*/ 440236 w 2804294"/>
              <a:gd name="connsiteY34-7590" fmla="*/ 1352110 h 2144680"/>
              <a:gd name="connsiteX35-7591" fmla="*/ 128002 w 2804294"/>
              <a:gd name="connsiteY35-7592" fmla="*/ 1519378 h 2144680"/>
              <a:gd name="connsiteX36-7593" fmla="*/ 105699 w 2804294"/>
              <a:gd name="connsiteY36-7594" fmla="*/ 1664344 h 2144680"/>
              <a:gd name="connsiteX37-7595" fmla="*/ 27641 w 2804294"/>
              <a:gd name="connsiteY37-7596" fmla="*/ 1775856 h 2144680"/>
              <a:gd name="connsiteX38-7597" fmla="*/ 5338 w 2804294"/>
              <a:gd name="connsiteY38-7598" fmla="*/ 2010032 h 2144680"/>
              <a:gd name="connsiteX39-7599" fmla="*/ 1063 w 2804294"/>
              <a:gd name="connsiteY39-7600" fmla="*/ 1968943 h 2144680"/>
              <a:gd name="connsiteX40-7601" fmla="*/ 17008 w 2804294"/>
              <a:gd name="connsiteY40-7602" fmla="*/ 2021619 h 2144680"/>
              <a:gd name="connsiteX41-7603" fmla="*/ 128636 w 2804294"/>
              <a:gd name="connsiteY41-7604" fmla="*/ 2022266 h 2144680"/>
              <a:gd name="connsiteX42-7605" fmla="*/ 21003 w 2804294"/>
              <a:gd name="connsiteY42-7606" fmla="*/ 2018055 h 2144680"/>
              <a:gd name="connsiteX43-7607" fmla="*/ 346055 w 2804294"/>
              <a:gd name="connsiteY43-7608" fmla="*/ 2112372 h 2144680"/>
              <a:gd name="connsiteX0-7609" fmla="*/ 108153 w 2804294"/>
              <a:gd name="connsiteY0-7610" fmla="*/ 2017751 h 2144680"/>
              <a:gd name="connsiteX1-7611" fmla="*/ 96280 w 2804294"/>
              <a:gd name="connsiteY1-7612" fmla="*/ 2005877 h 2144680"/>
              <a:gd name="connsiteX2-7613" fmla="*/ 102217 w 2804294"/>
              <a:gd name="connsiteY2-7614" fmla="*/ 2017751 h 2144680"/>
              <a:gd name="connsiteX3-7615" fmla="*/ 261945 w 2804294"/>
              <a:gd name="connsiteY3-7616" fmla="*/ 2093323 h 2144680"/>
              <a:gd name="connsiteX4-7617" fmla="*/ 251002 w 2804294"/>
              <a:gd name="connsiteY4-7618" fmla="*/ 2112090 h 2144680"/>
              <a:gd name="connsiteX5-7619" fmla="*/ 588466 w 2804294"/>
              <a:gd name="connsiteY5-7620" fmla="*/ 2093057 h 2144680"/>
              <a:gd name="connsiteX6-7621" fmla="*/ 941719 w 2804294"/>
              <a:gd name="connsiteY6-7622" fmla="*/ 2031026 h 2144680"/>
              <a:gd name="connsiteX7-7623" fmla="*/ 964343 w 2804294"/>
              <a:gd name="connsiteY7-7624" fmla="*/ 1597437 h 2144680"/>
              <a:gd name="connsiteX8-7625" fmla="*/ 2079465 w 2804294"/>
              <a:gd name="connsiteY8-7626" fmla="*/ 1586286 h 2144680"/>
              <a:gd name="connsiteX9-7627" fmla="*/ 2068314 w 2804294"/>
              <a:gd name="connsiteY9-7628" fmla="*/ 738793 h 2144680"/>
              <a:gd name="connsiteX10-7629" fmla="*/ 2224431 w 2804294"/>
              <a:gd name="connsiteY10-7630" fmla="*/ 638432 h 2144680"/>
              <a:gd name="connsiteX11-7631" fmla="*/ 2570119 w 2804294"/>
              <a:gd name="connsiteY11-7632" fmla="*/ 460012 h 2144680"/>
              <a:gd name="connsiteX12-7633" fmla="*/ 2804294 w 2804294"/>
              <a:gd name="connsiteY12-7634" fmla="*/ 471164 h 2144680"/>
              <a:gd name="connsiteX13-7635" fmla="*/ 2804294 w 2804294"/>
              <a:gd name="connsiteY13-7636" fmla="*/ 303895 h 2144680"/>
              <a:gd name="connsiteX14-7637" fmla="*/ 2759690 w 2804294"/>
              <a:gd name="connsiteY14-7638" fmla="*/ 225837 h 2144680"/>
              <a:gd name="connsiteX15-7639" fmla="*/ 2748538 w 2804294"/>
              <a:gd name="connsiteY15-7640" fmla="*/ 192383 h 2144680"/>
              <a:gd name="connsiteX16-7641" fmla="*/ 2692782 w 2804294"/>
              <a:gd name="connsiteY16-7642" fmla="*/ 170081 h 2144680"/>
              <a:gd name="connsiteX17-7643" fmla="*/ 2681631 w 2804294"/>
              <a:gd name="connsiteY17-7644" fmla="*/ 214686 h 2144680"/>
              <a:gd name="connsiteX18-7645" fmla="*/ 2558968 w 2804294"/>
              <a:gd name="connsiteY18-7646" fmla="*/ 181232 h 2144680"/>
              <a:gd name="connsiteX19-7647" fmla="*/ 2525514 w 2804294"/>
              <a:gd name="connsiteY19-7648" fmla="*/ 270442 h 2144680"/>
              <a:gd name="connsiteX20-7649" fmla="*/ 2414002 w 2804294"/>
              <a:gd name="connsiteY20-7650" fmla="*/ 236988 h 2144680"/>
              <a:gd name="connsiteX21-7651" fmla="*/ 2440538 w 2804294"/>
              <a:gd name="connsiteY21-7652" fmla="*/ 198947 h 2144680"/>
              <a:gd name="connsiteX22-7653" fmla="*/ 2431388 w 2804294"/>
              <a:gd name="connsiteY22-7654" fmla="*/ 104999 h 2144680"/>
              <a:gd name="connsiteX23-7655" fmla="*/ 2365894 w 2804294"/>
              <a:gd name="connsiteY23-7656" fmla="*/ 27635 h 2144680"/>
              <a:gd name="connsiteX24-7657" fmla="*/ 2316149 w 2804294"/>
              <a:gd name="connsiteY24-7658" fmla="*/ 0 h 2144680"/>
              <a:gd name="connsiteX25-7659" fmla="*/ 2260399 w 2804294"/>
              <a:gd name="connsiteY25-7660" fmla="*/ 26828 h 2144680"/>
              <a:gd name="connsiteX26-7661" fmla="*/ 2062735 w 2804294"/>
              <a:gd name="connsiteY26-7662" fmla="*/ 81251 h 2144680"/>
              <a:gd name="connsiteX27-7663" fmla="*/ 1797975 w 2804294"/>
              <a:gd name="connsiteY27-7664" fmla="*/ 131705 h 2144680"/>
              <a:gd name="connsiteX28-7665" fmla="*/ 1648887 w 2804294"/>
              <a:gd name="connsiteY28-7666" fmla="*/ 401753 h 2144680"/>
              <a:gd name="connsiteX29-7667" fmla="*/ 1466148 w 2804294"/>
              <a:gd name="connsiteY29-7668" fmla="*/ 604978 h 2144680"/>
              <a:gd name="connsiteX30-7669" fmla="*/ 1231973 w 2804294"/>
              <a:gd name="connsiteY30-7670" fmla="*/ 738793 h 2144680"/>
              <a:gd name="connsiteX31-7671" fmla="*/ 1109309 w 2804294"/>
              <a:gd name="connsiteY31-7672" fmla="*/ 850305 h 2144680"/>
              <a:gd name="connsiteX32-7673" fmla="*/ 640958 w 2804294"/>
              <a:gd name="connsiteY32-7674" fmla="*/ 972968 h 2144680"/>
              <a:gd name="connsiteX33-7675" fmla="*/ 574051 w 2804294"/>
              <a:gd name="connsiteY33-7676" fmla="*/ 1028725 h 2144680"/>
              <a:gd name="connsiteX34-7677" fmla="*/ 440236 w 2804294"/>
              <a:gd name="connsiteY34-7678" fmla="*/ 1352110 h 2144680"/>
              <a:gd name="connsiteX35-7679" fmla="*/ 128002 w 2804294"/>
              <a:gd name="connsiteY35-7680" fmla="*/ 1519378 h 2144680"/>
              <a:gd name="connsiteX36-7681" fmla="*/ 105699 w 2804294"/>
              <a:gd name="connsiteY36-7682" fmla="*/ 1664344 h 2144680"/>
              <a:gd name="connsiteX37-7683" fmla="*/ 27641 w 2804294"/>
              <a:gd name="connsiteY37-7684" fmla="*/ 1775856 h 2144680"/>
              <a:gd name="connsiteX38-7685" fmla="*/ 5338 w 2804294"/>
              <a:gd name="connsiteY38-7686" fmla="*/ 2010032 h 2144680"/>
              <a:gd name="connsiteX39-7687" fmla="*/ 1063 w 2804294"/>
              <a:gd name="connsiteY39-7688" fmla="*/ 1968943 h 2144680"/>
              <a:gd name="connsiteX40-7689" fmla="*/ 17008 w 2804294"/>
              <a:gd name="connsiteY40-7690" fmla="*/ 2021619 h 2144680"/>
              <a:gd name="connsiteX41-7691" fmla="*/ 128636 w 2804294"/>
              <a:gd name="connsiteY41-7692" fmla="*/ 2022266 h 2144680"/>
              <a:gd name="connsiteX42-7693" fmla="*/ 21003 w 2804294"/>
              <a:gd name="connsiteY42-7694" fmla="*/ 2018055 h 2144680"/>
              <a:gd name="connsiteX43-7695" fmla="*/ 346055 w 2804294"/>
              <a:gd name="connsiteY43-7696" fmla="*/ 2112372 h 2144680"/>
              <a:gd name="connsiteX0-7697" fmla="*/ 108153 w 2804294"/>
              <a:gd name="connsiteY0-7698" fmla="*/ 2017751 h 2144680"/>
              <a:gd name="connsiteX1-7699" fmla="*/ 96280 w 2804294"/>
              <a:gd name="connsiteY1-7700" fmla="*/ 2005877 h 2144680"/>
              <a:gd name="connsiteX2-7701" fmla="*/ 102217 w 2804294"/>
              <a:gd name="connsiteY2-7702" fmla="*/ 2017751 h 2144680"/>
              <a:gd name="connsiteX3-7703" fmla="*/ 261945 w 2804294"/>
              <a:gd name="connsiteY3-7704" fmla="*/ 2093323 h 2144680"/>
              <a:gd name="connsiteX4-7705" fmla="*/ 251002 w 2804294"/>
              <a:gd name="connsiteY4-7706" fmla="*/ 2112090 h 2144680"/>
              <a:gd name="connsiteX5-7707" fmla="*/ 588466 w 2804294"/>
              <a:gd name="connsiteY5-7708" fmla="*/ 2093057 h 2144680"/>
              <a:gd name="connsiteX6-7709" fmla="*/ 941719 w 2804294"/>
              <a:gd name="connsiteY6-7710" fmla="*/ 2031026 h 2144680"/>
              <a:gd name="connsiteX7-7711" fmla="*/ 964343 w 2804294"/>
              <a:gd name="connsiteY7-7712" fmla="*/ 1597437 h 2144680"/>
              <a:gd name="connsiteX8-7713" fmla="*/ 2079465 w 2804294"/>
              <a:gd name="connsiteY8-7714" fmla="*/ 1586286 h 2144680"/>
              <a:gd name="connsiteX9-7715" fmla="*/ 2068314 w 2804294"/>
              <a:gd name="connsiteY9-7716" fmla="*/ 738793 h 2144680"/>
              <a:gd name="connsiteX10-7717" fmla="*/ 2224431 w 2804294"/>
              <a:gd name="connsiteY10-7718" fmla="*/ 638432 h 2144680"/>
              <a:gd name="connsiteX11-7719" fmla="*/ 2570119 w 2804294"/>
              <a:gd name="connsiteY11-7720" fmla="*/ 460012 h 2144680"/>
              <a:gd name="connsiteX12-7721" fmla="*/ 2804294 w 2804294"/>
              <a:gd name="connsiteY12-7722" fmla="*/ 471164 h 2144680"/>
              <a:gd name="connsiteX13-7723" fmla="*/ 2804294 w 2804294"/>
              <a:gd name="connsiteY13-7724" fmla="*/ 303895 h 2144680"/>
              <a:gd name="connsiteX14-7725" fmla="*/ 2759690 w 2804294"/>
              <a:gd name="connsiteY14-7726" fmla="*/ 225837 h 2144680"/>
              <a:gd name="connsiteX15-7727" fmla="*/ 2748538 w 2804294"/>
              <a:gd name="connsiteY15-7728" fmla="*/ 192383 h 2144680"/>
              <a:gd name="connsiteX16-7729" fmla="*/ 2692782 w 2804294"/>
              <a:gd name="connsiteY16-7730" fmla="*/ 170081 h 2144680"/>
              <a:gd name="connsiteX17-7731" fmla="*/ 2681631 w 2804294"/>
              <a:gd name="connsiteY17-7732" fmla="*/ 214686 h 2144680"/>
              <a:gd name="connsiteX18-7733" fmla="*/ 2558968 w 2804294"/>
              <a:gd name="connsiteY18-7734" fmla="*/ 181232 h 2144680"/>
              <a:gd name="connsiteX19-7735" fmla="*/ 2525514 w 2804294"/>
              <a:gd name="connsiteY19-7736" fmla="*/ 270442 h 2144680"/>
              <a:gd name="connsiteX20-7737" fmla="*/ 2414002 w 2804294"/>
              <a:gd name="connsiteY20-7738" fmla="*/ 236988 h 2144680"/>
              <a:gd name="connsiteX21-7739" fmla="*/ 2440538 w 2804294"/>
              <a:gd name="connsiteY21-7740" fmla="*/ 198947 h 2144680"/>
              <a:gd name="connsiteX22-7741" fmla="*/ 2431388 w 2804294"/>
              <a:gd name="connsiteY22-7742" fmla="*/ 104999 h 2144680"/>
              <a:gd name="connsiteX23-7743" fmla="*/ 2365894 w 2804294"/>
              <a:gd name="connsiteY23-7744" fmla="*/ 27635 h 2144680"/>
              <a:gd name="connsiteX24-7745" fmla="*/ 2316149 w 2804294"/>
              <a:gd name="connsiteY24-7746" fmla="*/ 0 h 2144680"/>
              <a:gd name="connsiteX25-7747" fmla="*/ 2260399 w 2804294"/>
              <a:gd name="connsiteY25-7748" fmla="*/ 26828 h 2144680"/>
              <a:gd name="connsiteX26-7749" fmla="*/ 2062735 w 2804294"/>
              <a:gd name="connsiteY26-7750" fmla="*/ 81251 h 2144680"/>
              <a:gd name="connsiteX27-7751" fmla="*/ 1797975 w 2804294"/>
              <a:gd name="connsiteY27-7752" fmla="*/ 131705 h 2144680"/>
              <a:gd name="connsiteX28-7753" fmla="*/ 1648887 w 2804294"/>
              <a:gd name="connsiteY28-7754" fmla="*/ 401753 h 2144680"/>
              <a:gd name="connsiteX29-7755" fmla="*/ 1466148 w 2804294"/>
              <a:gd name="connsiteY29-7756" fmla="*/ 604978 h 2144680"/>
              <a:gd name="connsiteX30-7757" fmla="*/ 1231973 w 2804294"/>
              <a:gd name="connsiteY30-7758" fmla="*/ 738793 h 2144680"/>
              <a:gd name="connsiteX31-7759" fmla="*/ 1109309 w 2804294"/>
              <a:gd name="connsiteY31-7760" fmla="*/ 850305 h 2144680"/>
              <a:gd name="connsiteX32-7761" fmla="*/ 640958 w 2804294"/>
              <a:gd name="connsiteY32-7762" fmla="*/ 972968 h 2144680"/>
              <a:gd name="connsiteX33-7763" fmla="*/ 574051 w 2804294"/>
              <a:gd name="connsiteY33-7764" fmla="*/ 1028725 h 2144680"/>
              <a:gd name="connsiteX34-7765" fmla="*/ 440236 w 2804294"/>
              <a:gd name="connsiteY34-7766" fmla="*/ 1352110 h 2144680"/>
              <a:gd name="connsiteX35-7767" fmla="*/ 128002 w 2804294"/>
              <a:gd name="connsiteY35-7768" fmla="*/ 1519378 h 2144680"/>
              <a:gd name="connsiteX36-7769" fmla="*/ 105699 w 2804294"/>
              <a:gd name="connsiteY36-7770" fmla="*/ 1664344 h 2144680"/>
              <a:gd name="connsiteX37-7771" fmla="*/ 27641 w 2804294"/>
              <a:gd name="connsiteY37-7772" fmla="*/ 1775856 h 2144680"/>
              <a:gd name="connsiteX38-7773" fmla="*/ 5338 w 2804294"/>
              <a:gd name="connsiteY38-7774" fmla="*/ 2010032 h 2144680"/>
              <a:gd name="connsiteX39-7775" fmla="*/ 1063 w 2804294"/>
              <a:gd name="connsiteY39-7776" fmla="*/ 1968943 h 2144680"/>
              <a:gd name="connsiteX40-7777" fmla="*/ 17008 w 2804294"/>
              <a:gd name="connsiteY40-7778" fmla="*/ 2021619 h 2144680"/>
              <a:gd name="connsiteX41-7779" fmla="*/ 128636 w 2804294"/>
              <a:gd name="connsiteY41-7780" fmla="*/ 2022266 h 2144680"/>
              <a:gd name="connsiteX42-7781" fmla="*/ 21003 w 2804294"/>
              <a:gd name="connsiteY42-7782" fmla="*/ 2018055 h 2144680"/>
              <a:gd name="connsiteX43-7783" fmla="*/ 346055 w 2804294"/>
              <a:gd name="connsiteY43-7784" fmla="*/ 2112372 h 2144680"/>
              <a:gd name="connsiteX0-7785" fmla="*/ 108153 w 2804294"/>
              <a:gd name="connsiteY0-7786" fmla="*/ 2017751 h 2144680"/>
              <a:gd name="connsiteX1-7787" fmla="*/ 96280 w 2804294"/>
              <a:gd name="connsiteY1-7788" fmla="*/ 2005877 h 2144680"/>
              <a:gd name="connsiteX2-7789" fmla="*/ 102217 w 2804294"/>
              <a:gd name="connsiteY2-7790" fmla="*/ 2017751 h 2144680"/>
              <a:gd name="connsiteX3-7791" fmla="*/ 261945 w 2804294"/>
              <a:gd name="connsiteY3-7792" fmla="*/ 2093323 h 2144680"/>
              <a:gd name="connsiteX4-7793" fmla="*/ 251002 w 2804294"/>
              <a:gd name="connsiteY4-7794" fmla="*/ 2112090 h 2144680"/>
              <a:gd name="connsiteX5-7795" fmla="*/ 588466 w 2804294"/>
              <a:gd name="connsiteY5-7796" fmla="*/ 2093057 h 2144680"/>
              <a:gd name="connsiteX6-7797" fmla="*/ 941719 w 2804294"/>
              <a:gd name="connsiteY6-7798" fmla="*/ 2031026 h 2144680"/>
              <a:gd name="connsiteX7-7799" fmla="*/ 964343 w 2804294"/>
              <a:gd name="connsiteY7-7800" fmla="*/ 1597437 h 2144680"/>
              <a:gd name="connsiteX8-7801" fmla="*/ 2079465 w 2804294"/>
              <a:gd name="connsiteY8-7802" fmla="*/ 1586286 h 2144680"/>
              <a:gd name="connsiteX9-7803" fmla="*/ 2068314 w 2804294"/>
              <a:gd name="connsiteY9-7804" fmla="*/ 738793 h 2144680"/>
              <a:gd name="connsiteX10-7805" fmla="*/ 2224431 w 2804294"/>
              <a:gd name="connsiteY10-7806" fmla="*/ 638432 h 2144680"/>
              <a:gd name="connsiteX11-7807" fmla="*/ 2570119 w 2804294"/>
              <a:gd name="connsiteY11-7808" fmla="*/ 460012 h 2144680"/>
              <a:gd name="connsiteX12-7809" fmla="*/ 2804294 w 2804294"/>
              <a:gd name="connsiteY12-7810" fmla="*/ 471164 h 2144680"/>
              <a:gd name="connsiteX13-7811" fmla="*/ 2804294 w 2804294"/>
              <a:gd name="connsiteY13-7812" fmla="*/ 303895 h 2144680"/>
              <a:gd name="connsiteX14-7813" fmla="*/ 2759690 w 2804294"/>
              <a:gd name="connsiteY14-7814" fmla="*/ 225837 h 2144680"/>
              <a:gd name="connsiteX15-7815" fmla="*/ 2748538 w 2804294"/>
              <a:gd name="connsiteY15-7816" fmla="*/ 192383 h 2144680"/>
              <a:gd name="connsiteX16-7817" fmla="*/ 2692782 w 2804294"/>
              <a:gd name="connsiteY16-7818" fmla="*/ 170081 h 2144680"/>
              <a:gd name="connsiteX17-7819" fmla="*/ 2681631 w 2804294"/>
              <a:gd name="connsiteY17-7820" fmla="*/ 214686 h 2144680"/>
              <a:gd name="connsiteX18-7821" fmla="*/ 2558968 w 2804294"/>
              <a:gd name="connsiteY18-7822" fmla="*/ 181232 h 2144680"/>
              <a:gd name="connsiteX19-7823" fmla="*/ 2525514 w 2804294"/>
              <a:gd name="connsiteY19-7824" fmla="*/ 270442 h 2144680"/>
              <a:gd name="connsiteX20-7825" fmla="*/ 2414002 w 2804294"/>
              <a:gd name="connsiteY20-7826" fmla="*/ 236988 h 2144680"/>
              <a:gd name="connsiteX21-7827" fmla="*/ 2440538 w 2804294"/>
              <a:gd name="connsiteY21-7828" fmla="*/ 198947 h 2144680"/>
              <a:gd name="connsiteX22-7829" fmla="*/ 2431388 w 2804294"/>
              <a:gd name="connsiteY22-7830" fmla="*/ 104999 h 2144680"/>
              <a:gd name="connsiteX23-7831" fmla="*/ 2365894 w 2804294"/>
              <a:gd name="connsiteY23-7832" fmla="*/ 27635 h 2144680"/>
              <a:gd name="connsiteX24-7833" fmla="*/ 2316149 w 2804294"/>
              <a:gd name="connsiteY24-7834" fmla="*/ 0 h 2144680"/>
              <a:gd name="connsiteX25-7835" fmla="*/ 2260399 w 2804294"/>
              <a:gd name="connsiteY25-7836" fmla="*/ 26828 h 2144680"/>
              <a:gd name="connsiteX26-7837" fmla="*/ 2062735 w 2804294"/>
              <a:gd name="connsiteY26-7838" fmla="*/ 81251 h 2144680"/>
              <a:gd name="connsiteX27-7839" fmla="*/ 1654887 w 2804294"/>
              <a:gd name="connsiteY27-7840" fmla="*/ 131683 h 2144680"/>
              <a:gd name="connsiteX28-7841" fmla="*/ 1648887 w 2804294"/>
              <a:gd name="connsiteY28-7842" fmla="*/ 401753 h 2144680"/>
              <a:gd name="connsiteX29-7843" fmla="*/ 1466148 w 2804294"/>
              <a:gd name="connsiteY29-7844" fmla="*/ 604978 h 2144680"/>
              <a:gd name="connsiteX30-7845" fmla="*/ 1231973 w 2804294"/>
              <a:gd name="connsiteY30-7846" fmla="*/ 738793 h 2144680"/>
              <a:gd name="connsiteX31-7847" fmla="*/ 1109309 w 2804294"/>
              <a:gd name="connsiteY31-7848" fmla="*/ 850305 h 2144680"/>
              <a:gd name="connsiteX32-7849" fmla="*/ 640958 w 2804294"/>
              <a:gd name="connsiteY32-7850" fmla="*/ 972968 h 2144680"/>
              <a:gd name="connsiteX33-7851" fmla="*/ 574051 w 2804294"/>
              <a:gd name="connsiteY33-7852" fmla="*/ 1028725 h 2144680"/>
              <a:gd name="connsiteX34-7853" fmla="*/ 440236 w 2804294"/>
              <a:gd name="connsiteY34-7854" fmla="*/ 1352110 h 2144680"/>
              <a:gd name="connsiteX35-7855" fmla="*/ 128002 w 2804294"/>
              <a:gd name="connsiteY35-7856" fmla="*/ 1519378 h 2144680"/>
              <a:gd name="connsiteX36-7857" fmla="*/ 105699 w 2804294"/>
              <a:gd name="connsiteY36-7858" fmla="*/ 1664344 h 2144680"/>
              <a:gd name="connsiteX37-7859" fmla="*/ 27641 w 2804294"/>
              <a:gd name="connsiteY37-7860" fmla="*/ 1775856 h 2144680"/>
              <a:gd name="connsiteX38-7861" fmla="*/ 5338 w 2804294"/>
              <a:gd name="connsiteY38-7862" fmla="*/ 2010032 h 2144680"/>
              <a:gd name="connsiteX39-7863" fmla="*/ 1063 w 2804294"/>
              <a:gd name="connsiteY39-7864" fmla="*/ 1968943 h 2144680"/>
              <a:gd name="connsiteX40-7865" fmla="*/ 17008 w 2804294"/>
              <a:gd name="connsiteY40-7866" fmla="*/ 2021619 h 2144680"/>
              <a:gd name="connsiteX41-7867" fmla="*/ 128636 w 2804294"/>
              <a:gd name="connsiteY41-7868" fmla="*/ 2022266 h 2144680"/>
              <a:gd name="connsiteX42-7869" fmla="*/ 21003 w 2804294"/>
              <a:gd name="connsiteY42-7870" fmla="*/ 2018055 h 2144680"/>
              <a:gd name="connsiteX43-7871" fmla="*/ 346055 w 2804294"/>
              <a:gd name="connsiteY43-7872" fmla="*/ 2112372 h 2144680"/>
              <a:gd name="connsiteX0-7873" fmla="*/ 108153 w 2804294"/>
              <a:gd name="connsiteY0-7874" fmla="*/ 2017751 h 2144680"/>
              <a:gd name="connsiteX1-7875" fmla="*/ 96280 w 2804294"/>
              <a:gd name="connsiteY1-7876" fmla="*/ 2005877 h 2144680"/>
              <a:gd name="connsiteX2-7877" fmla="*/ 102217 w 2804294"/>
              <a:gd name="connsiteY2-7878" fmla="*/ 2017751 h 2144680"/>
              <a:gd name="connsiteX3-7879" fmla="*/ 261945 w 2804294"/>
              <a:gd name="connsiteY3-7880" fmla="*/ 2093323 h 2144680"/>
              <a:gd name="connsiteX4-7881" fmla="*/ 251002 w 2804294"/>
              <a:gd name="connsiteY4-7882" fmla="*/ 2112090 h 2144680"/>
              <a:gd name="connsiteX5-7883" fmla="*/ 588466 w 2804294"/>
              <a:gd name="connsiteY5-7884" fmla="*/ 2093057 h 2144680"/>
              <a:gd name="connsiteX6-7885" fmla="*/ 941719 w 2804294"/>
              <a:gd name="connsiteY6-7886" fmla="*/ 2031026 h 2144680"/>
              <a:gd name="connsiteX7-7887" fmla="*/ 964343 w 2804294"/>
              <a:gd name="connsiteY7-7888" fmla="*/ 1597437 h 2144680"/>
              <a:gd name="connsiteX8-7889" fmla="*/ 2079465 w 2804294"/>
              <a:gd name="connsiteY8-7890" fmla="*/ 1586286 h 2144680"/>
              <a:gd name="connsiteX9-7891" fmla="*/ 2068314 w 2804294"/>
              <a:gd name="connsiteY9-7892" fmla="*/ 738793 h 2144680"/>
              <a:gd name="connsiteX10-7893" fmla="*/ 2224431 w 2804294"/>
              <a:gd name="connsiteY10-7894" fmla="*/ 638432 h 2144680"/>
              <a:gd name="connsiteX11-7895" fmla="*/ 2570119 w 2804294"/>
              <a:gd name="connsiteY11-7896" fmla="*/ 460012 h 2144680"/>
              <a:gd name="connsiteX12-7897" fmla="*/ 2804294 w 2804294"/>
              <a:gd name="connsiteY12-7898" fmla="*/ 471164 h 2144680"/>
              <a:gd name="connsiteX13-7899" fmla="*/ 2804294 w 2804294"/>
              <a:gd name="connsiteY13-7900" fmla="*/ 303895 h 2144680"/>
              <a:gd name="connsiteX14-7901" fmla="*/ 2759690 w 2804294"/>
              <a:gd name="connsiteY14-7902" fmla="*/ 225837 h 2144680"/>
              <a:gd name="connsiteX15-7903" fmla="*/ 2748538 w 2804294"/>
              <a:gd name="connsiteY15-7904" fmla="*/ 192383 h 2144680"/>
              <a:gd name="connsiteX16-7905" fmla="*/ 2692782 w 2804294"/>
              <a:gd name="connsiteY16-7906" fmla="*/ 170081 h 2144680"/>
              <a:gd name="connsiteX17-7907" fmla="*/ 2681631 w 2804294"/>
              <a:gd name="connsiteY17-7908" fmla="*/ 214686 h 2144680"/>
              <a:gd name="connsiteX18-7909" fmla="*/ 2558968 w 2804294"/>
              <a:gd name="connsiteY18-7910" fmla="*/ 181232 h 2144680"/>
              <a:gd name="connsiteX19-7911" fmla="*/ 2525514 w 2804294"/>
              <a:gd name="connsiteY19-7912" fmla="*/ 270442 h 2144680"/>
              <a:gd name="connsiteX20-7913" fmla="*/ 2414002 w 2804294"/>
              <a:gd name="connsiteY20-7914" fmla="*/ 236988 h 2144680"/>
              <a:gd name="connsiteX21-7915" fmla="*/ 2440538 w 2804294"/>
              <a:gd name="connsiteY21-7916" fmla="*/ 198947 h 2144680"/>
              <a:gd name="connsiteX22-7917" fmla="*/ 2431388 w 2804294"/>
              <a:gd name="connsiteY22-7918" fmla="*/ 104999 h 2144680"/>
              <a:gd name="connsiteX23-7919" fmla="*/ 2365894 w 2804294"/>
              <a:gd name="connsiteY23-7920" fmla="*/ 27635 h 2144680"/>
              <a:gd name="connsiteX24-7921" fmla="*/ 2316149 w 2804294"/>
              <a:gd name="connsiteY24-7922" fmla="*/ 0 h 2144680"/>
              <a:gd name="connsiteX25-7923" fmla="*/ 2260399 w 2804294"/>
              <a:gd name="connsiteY25-7924" fmla="*/ 26828 h 2144680"/>
              <a:gd name="connsiteX26-7925" fmla="*/ 2062735 w 2804294"/>
              <a:gd name="connsiteY26-7926" fmla="*/ 81251 h 2144680"/>
              <a:gd name="connsiteX27-7927" fmla="*/ 1654887 w 2804294"/>
              <a:gd name="connsiteY27-7928" fmla="*/ 131683 h 2144680"/>
              <a:gd name="connsiteX28-7929" fmla="*/ 1648887 w 2804294"/>
              <a:gd name="connsiteY28-7930" fmla="*/ 401753 h 2144680"/>
              <a:gd name="connsiteX29-7931" fmla="*/ 1466148 w 2804294"/>
              <a:gd name="connsiteY29-7932" fmla="*/ 604978 h 2144680"/>
              <a:gd name="connsiteX30-7933" fmla="*/ 1231973 w 2804294"/>
              <a:gd name="connsiteY30-7934" fmla="*/ 738793 h 2144680"/>
              <a:gd name="connsiteX31-7935" fmla="*/ 1109309 w 2804294"/>
              <a:gd name="connsiteY31-7936" fmla="*/ 850305 h 2144680"/>
              <a:gd name="connsiteX32-7937" fmla="*/ 640958 w 2804294"/>
              <a:gd name="connsiteY32-7938" fmla="*/ 972968 h 2144680"/>
              <a:gd name="connsiteX33-7939" fmla="*/ 574051 w 2804294"/>
              <a:gd name="connsiteY33-7940" fmla="*/ 1028725 h 2144680"/>
              <a:gd name="connsiteX34-7941" fmla="*/ 440236 w 2804294"/>
              <a:gd name="connsiteY34-7942" fmla="*/ 1352110 h 2144680"/>
              <a:gd name="connsiteX35-7943" fmla="*/ 128002 w 2804294"/>
              <a:gd name="connsiteY35-7944" fmla="*/ 1519378 h 2144680"/>
              <a:gd name="connsiteX36-7945" fmla="*/ 105699 w 2804294"/>
              <a:gd name="connsiteY36-7946" fmla="*/ 1664344 h 2144680"/>
              <a:gd name="connsiteX37-7947" fmla="*/ 27641 w 2804294"/>
              <a:gd name="connsiteY37-7948" fmla="*/ 1775856 h 2144680"/>
              <a:gd name="connsiteX38-7949" fmla="*/ 5338 w 2804294"/>
              <a:gd name="connsiteY38-7950" fmla="*/ 2010032 h 2144680"/>
              <a:gd name="connsiteX39-7951" fmla="*/ 1063 w 2804294"/>
              <a:gd name="connsiteY39-7952" fmla="*/ 1968943 h 2144680"/>
              <a:gd name="connsiteX40-7953" fmla="*/ 17008 w 2804294"/>
              <a:gd name="connsiteY40-7954" fmla="*/ 2021619 h 2144680"/>
              <a:gd name="connsiteX41-7955" fmla="*/ 128636 w 2804294"/>
              <a:gd name="connsiteY41-7956" fmla="*/ 2022266 h 2144680"/>
              <a:gd name="connsiteX42-7957" fmla="*/ 21003 w 2804294"/>
              <a:gd name="connsiteY42-7958" fmla="*/ 2018055 h 2144680"/>
              <a:gd name="connsiteX43-7959" fmla="*/ 346055 w 2804294"/>
              <a:gd name="connsiteY43-7960" fmla="*/ 2112372 h 2144680"/>
              <a:gd name="connsiteX0-7961" fmla="*/ 108153 w 2804294"/>
              <a:gd name="connsiteY0-7962" fmla="*/ 2017751 h 2144680"/>
              <a:gd name="connsiteX1-7963" fmla="*/ 96280 w 2804294"/>
              <a:gd name="connsiteY1-7964" fmla="*/ 2005877 h 2144680"/>
              <a:gd name="connsiteX2-7965" fmla="*/ 102217 w 2804294"/>
              <a:gd name="connsiteY2-7966" fmla="*/ 2017751 h 2144680"/>
              <a:gd name="connsiteX3-7967" fmla="*/ 261945 w 2804294"/>
              <a:gd name="connsiteY3-7968" fmla="*/ 2093323 h 2144680"/>
              <a:gd name="connsiteX4-7969" fmla="*/ 251002 w 2804294"/>
              <a:gd name="connsiteY4-7970" fmla="*/ 2112090 h 2144680"/>
              <a:gd name="connsiteX5-7971" fmla="*/ 588466 w 2804294"/>
              <a:gd name="connsiteY5-7972" fmla="*/ 2093057 h 2144680"/>
              <a:gd name="connsiteX6-7973" fmla="*/ 941719 w 2804294"/>
              <a:gd name="connsiteY6-7974" fmla="*/ 2031026 h 2144680"/>
              <a:gd name="connsiteX7-7975" fmla="*/ 964343 w 2804294"/>
              <a:gd name="connsiteY7-7976" fmla="*/ 1597437 h 2144680"/>
              <a:gd name="connsiteX8-7977" fmla="*/ 2079465 w 2804294"/>
              <a:gd name="connsiteY8-7978" fmla="*/ 1586286 h 2144680"/>
              <a:gd name="connsiteX9-7979" fmla="*/ 2068314 w 2804294"/>
              <a:gd name="connsiteY9-7980" fmla="*/ 738793 h 2144680"/>
              <a:gd name="connsiteX10-7981" fmla="*/ 2224431 w 2804294"/>
              <a:gd name="connsiteY10-7982" fmla="*/ 638432 h 2144680"/>
              <a:gd name="connsiteX11-7983" fmla="*/ 2570119 w 2804294"/>
              <a:gd name="connsiteY11-7984" fmla="*/ 460012 h 2144680"/>
              <a:gd name="connsiteX12-7985" fmla="*/ 2804294 w 2804294"/>
              <a:gd name="connsiteY12-7986" fmla="*/ 471164 h 2144680"/>
              <a:gd name="connsiteX13-7987" fmla="*/ 2804294 w 2804294"/>
              <a:gd name="connsiteY13-7988" fmla="*/ 303895 h 2144680"/>
              <a:gd name="connsiteX14-7989" fmla="*/ 2759690 w 2804294"/>
              <a:gd name="connsiteY14-7990" fmla="*/ 225837 h 2144680"/>
              <a:gd name="connsiteX15-7991" fmla="*/ 2748538 w 2804294"/>
              <a:gd name="connsiteY15-7992" fmla="*/ 192383 h 2144680"/>
              <a:gd name="connsiteX16-7993" fmla="*/ 2692782 w 2804294"/>
              <a:gd name="connsiteY16-7994" fmla="*/ 170081 h 2144680"/>
              <a:gd name="connsiteX17-7995" fmla="*/ 2681631 w 2804294"/>
              <a:gd name="connsiteY17-7996" fmla="*/ 214686 h 2144680"/>
              <a:gd name="connsiteX18-7997" fmla="*/ 2558968 w 2804294"/>
              <a:gd name="connsiteY18-7998" fmla="*/ 181232 h 2144680"/>
              <a:gd name="connsiteX19-7999" fmla="*/ 2525514 w 2804294"/>
              <a:gd name="connsiteY19-8000" fmla="*/ 270442 h 2144680"/>
              <a:gd name="connsiteX20-8001" fmla="*/ 2414002 w 2804294"/>
              <a:gd name="connsiteY20-8002" fmla="*/ 236988 h 2144680"/>
              <a:gd name="connsiteX21-8003" fmla="*/ 2440538 w 2804294"/>
              <a:gd name="connsiteY21-8004" fmla="*/ 198947 h 2144680"/>
              <a:gd name="connsiteX22-8005" fmla="*/ 2431388 w 2804294"/>
              <a:gd name="connsiteY22-8006" fmla="*/ 104999 h 2144680"/>
              <a:gd name="connsiteX23-8007" fmla="*/ 2365894 w 2804294"/>
              <a:gd name="connsiteY23-8008" fmla="*/ 27635 h 2144680"/>
              <a:gd name="connsiteX24-8009" fmla="*/ 2316149 w 2804294"/>
              <a:gd name="connsiteY24-8010" fmla="*/ 0 h 2144680"/>
              <a:gd name="connsiteX25-8011" fmla="*/ 2260399 w 2804294"/>
              <a:gd name="connsiteY25-8012" fmla="*/ 26828 h 2144680"/>
              <a:gd name="connsiteX26-8013" fmla="*/ 2062735 w 2804294"/>
              <a:gd name="connsiteY26-8014" fmla="*/ 81251 h 2144680"/>
              <a:gd name="connsiteX27-8015" fmla="*/ 1654887 w 2804294"/>
              <a:gd name="connsiteY27-8016" fmla="*/ 131683 h 2144680"/>
              <a:gd name="connsiteX28-8017" fmla="*/ 1648887 w 2804294"/>
              <a:gd name="connsiteY28-8018" fmla="*/ 401753 h 2144680"/>
              <a:gd name="connsiteX29-8019" fmla="*/ 1466148 w 2804294"/>
              <a:gd name="connsiteY29-8020" fmla="*/ 604978 h 2144680"/>
              <a:gd name="connsiteX30-8021" fmla="*/ 1231973 w 2804294"/>
              <a:gd name="connsiteY30-8022" fmla="*/ 738793 h 2144680"/>
              <a:gd name="connsiteX31-8023" fmla="*/ 1109309 w 2804294"/>
              <a:gd name="connsiteY31-8024" fmla="*/ 850305 h 2144680"/>
              <a:gd name="connsiteX32-8025" fmla="*/ 640958 w 2804294"/>
              <a:gd name="connsiteY32-8026" fmla="*/ 972968 h 2144680"/>
              <a:gd name="connsiteX33-8027" fmla="*/ 574051 w 2804294"/>
              <a:gd name="connsiteY33-8028" fmla="*/ 1028725 h 2144680"/>
              <a:gd name="connsiteX34-8029" fmla="*/ 440236 w 2804294"/>
              <a:gd name="connsiteY34-8030" fmla="*/ 1352110 h 2144680"/>
              <a:gd name="connsiteX35-8031" fmla="*/ 128002 w 2804294"/>
              <a:gd name="connsiteY35-8032" fmla="*/ 1519378 h 2144680"/>
              <a:gd name="connsiteX36-8033" fmla="*/ 105699 w 2804294"/>
              <a:gd name="connsiteY36-8034" fmla="*/ 1664344 h 2144680"/>
              <a:gd name="connsiteX37-8035" fmla="*/ 27641 w 2804294"/>
              <a:gd name="connsiteY37-8036" fmla="*/ 1775856 h 2144680"/>
              <a:gd name="connsiteX38-8037" fmla="*/ 5338 w 2804294"/>
              <a:gd name="connsiteY38-8038" fmla="*/ 2010032 h 2144680"/>
              <a:gd name="connsiteX39-8039" fmla="*/ 1063 w 2804294"/>
              <a:gd name="connsiteY39-8040" fmla="*/ 1968943 h 2144680"/>
              <a:gd name="connsiteX40-8041" fmla="*/ 17008 w 2804294"/>
              <a:gd name="connsiteY40-8042" fmla="*/ 2021619 h 2144680"/>
              <a:gd name="connsiteX41-8043" fmla="*/ 128636 w 2804294"/>
              <a:gd name="connsiteY41-8044" fmla="*/ 2022266 h 2144680"/>
              <a:gd name="connsiteX42-8045" fmla="*/ 21003 w 2804294"/>
              <a:gd name="connsiteY42-8046" fmla="*/ 2018055 h 2144680"/>
              <a:gd name="connsiteX43-8047" fmla="*/ 346055 w 2804294"/>
              <a:gd name="connsiteY43-8048" fmla="*/ 2112372 h 2144680"/>
              <a:gd name="connsiteX0-8049" fmla="*/ 108153 w 2804294"/>
              <a:gd name="connsiteY0-8050" fmla="*/ 2017751 h 2144680"/>
              <a:gd name="connsiteX1-8051" fmla="*/ 96280 w 2804294"/>
              <a:gd name="connsiteY1-8052" fmla="*/ 2005877 h 2144680"/>
              <a:gd name="connsiteX2-8053" fmla="*/ 102217 w 2804294"/>
              <a:gd name="connsiteY2-8054" fmla="*/ 2017751 h 2144680"/>
              <a:gd name="connsiteX3-8055" fmla="*/ 261945 w 2804294"/>
              <a:gd name="connsiteY3-8056" fmla="*/ 2093323 h 2144680"/>
              <a:gd name="connsiteX4-8057" fmla="*/ 251002 w 2804294"/>
              <a:gd name="connsiteY4-8058" fmla="*/ 2112090 h 2144680"/>
              <a:gd name="connsiteX5-8059" fmla="*/ 588466 w 2804294"/>
              <a:gd name="connsiteY5-8060" fmla="*/ 2093057 h 2144680"/>
              <a:gd name="connsiteX6-8061" fmla="*/ 941719 w 2804294"/>
              <a:gd name="connsiteY6-8062" fmla="*/ 2031026 h 2144680"/>
              <a:gd name="connsiteX7-8063" fmla="*/ 964343 w 2804294"/>
              <a:gd name="connsiteY7-8064" fmla="*/ 1597437 h 2144680"/>
              <a:gd name="connsiteX8-8065" fmla="*/ 2079465 w 2804294"/>
              <a:gd name="connsiteY8-8066" fmla="*/ 1586286 h 2144680"/>
              <a:gd name="connsiteX9-8067" fmla="*/ 2068314 w 2804294"/>
              <a:gd name="connsiteY9-8068" fmla="*/ 738793 h 2144680"/>
              <a:gd name="connsiteX10-8069" fmla="*/ 2224431 w 2804294"/>
              <a:gd name="connsiteY10-8070" fmla="*/ 638432 h 2144680"/>
              <a:gd name="connsiteX11-8071" fmla="*/ 2570119 w 2804294"/>
              <a:gd name="connsiteY11-8072" fmla="*/ 460012 h 2144680"/>
              <a:gd name="connsiteX12-8073" fmla="*/ 2804294 w 2804294"/>
              <a:gd name="connsiteY12-8074" fmla="*/ 471164 h 2144680"/>
              <a:gd name="connsiteX13-8075" fmla="*/ 2804294 w 2804294"/>
              <a:gd name="connsiteY13-8076" fmla="*/ 303895 h 2144680"/>
              <a:gd name="connsiteX14-8077" fmla="*/ 2759690 w 2804294"/>
              <a:gd name="connsiteY14-8078" fmla="*/ 225837 h 2144680"/>
              <a:gd name="connsiteX15-8079" fmla="*/ 2748538 w 2804294"/>
              <a:gd name="connsiteY15-8080" fmla="*/ 192383 h 2144680"/>
              <a:gd name="connsiteX16-8081" fmla="*/ 2692782 w 2804294"/>
              <a:gd name="connsiteY16-8082" fmla="*/ 170081 h 2144680"/>
              <a:gd name="connsiteX17-8083" fmla="*/ 2681631 w 2804294"/>
              <a:gd name="connsiteY17-8084" fmla="*/ 214686 h 2144680"/>
              <a:gd name="connsiteX18-8085" fmla="*/ 2558968 w 2804294"/>
              <a:gd name="connsiteY18-8086" fmla="*/ 181232 h 2144680"/>
              <a:gd name="connsiteX19-8087" fmla="*/ 2525514 w 2804294"/>
              <a:gd name="connsiteY19-8088" fmla="*/ 270442 h 2144680"/>
              <a:gd name="connsiteX20-8089" fmla="*/ 2414002 w 2804294"/>
              <a:gd name="connsiteY20-8090" fmla="*/ 236988 h 2144680"/>
              <a:gd name="connsiteX21-8091" fmla="*/ 2440538 w 2804294"/>
              <a:gd name="connsiteY21-8092" fmla="*/ 198947 h 2144680"/>
              <a:gd name="connsiteX22-8093" fmla="*/ 2431388 w 2804294"/>
              <a:gd name="connsiteY22-8094" fmla="*/ 104999 h 2144680"/>
              <a:gd name="connsiteX23-8095" fmla="*/ 2365894 w 2804294"/>
              <a:gd name="connsiteY23-8096" fmla="*/ 27635 h 2144680"/>
              <a:gd name="connsiteX24-8097" fmla="*/ 2316149 w 2804294"/>
              <a:gd name="connsiteY24-8098" fmla="*/ 0 h 2144680"/>
              <a:gd name="connsiteX25-8099" fmla="*/ 2260399 w 2804294"/>
              <a:gd name="connsiteY25-8100" fmla="*/ 26828 h 2144680"/>
              <a:gd name="connsiteX26-8101" fmla="*/ 2062735 w 2804294"/>
              <a:gd name="connsiteY26-8102" fmla="*/ 81251 h 2144680"/>
              <a:gd name="connsiteX27-8103" fmla="*/ 1654887 w 2804294"/>
              <a:gd name="connsiteY27-8104" fmla="*/ 131683 h 2144680"/>
              <a:gd name="connsiteX28-8105" fmla="*/ 1648887 w 2804294"/>
              <a:gd name="connsiteY28-8106" fmla="*/ 401753 h 2144680"/>
              <a:gd name="connsiteX29-8107" fmla="*/ 1466148 w 2804294"/>
              <a:gd name="connsiteY29-8108" fmla="*/ 604978 h 2144680"/>
              <a:gd name="connsiteX30-8109" fmla="*/ 1231973 w 2804294"/>
              <a:gd name="connsiteY30-8110" fmla="*/ 738793 h 2144680"/>
              <a:gd name="connsiteX31-8111" fmla="*/ 1109309 w 2804294"/>
              <a:gd name="connsiteY31-8112" fmla="*/ 850305 h 2144680"/>
              <a:gd name="connsiteX32-8113" fmla="*/ 640958 w 2804294"/>
              <a:gd name="connsiteY32-8114" fmla="*/ 972968 h 2144680"/>
              <a:gd name="connsiteX33-8115" fmla="*/ 574051 w 2804294"/>
              <a:gd name="connsiteY33-8116" fmla="*/ 1028725 h 2144680"/>
              <a:gd name="connsiteX34-8117" fmla="*/ 440236 w 2804294"/>
              <a:gd name="connsiteY34-8118" fmla="*/ 1352110 h 2144680"/>
              <a:gd name="connsiteX35-8119" fmla="*/ 128002 w 2804294"/>
              <a:gd name="connsiteY35-8120" fmla="*/ 1519378 h 2144680"/>
              <a:gd name="connsiteX36-8121" fmla="*/ 105699 w 2804294"/>
              <a:gd name="connsiteY36-8122" fmla="*/ 1664344 h 2144680"/>
              <a:gd name="connsiteX37-8123" fmla="*/ 27641 w 2804294"/>
              <a:gd name="connsiteY37-8124" fmla="*/ 1775856 h 2144680"/>
              <a:gd name="connsiteX38-8125" fmla="*/ 5338 w 2804294"/>
              <a:gd name="connsiteY38-8126" fmla="*/ 2010032 h 2144680"/>
              <a:gd name="connsiteX39-8127" fmla="*/ 1063 w 2804294"/>
              <a:gd name="connsiteY39-8128" fmla="*/ 1968943 h 2144680"/>
              <a:gd name="connsiteX40-8129" fmla="*/ 17008 w 2804294"/>
              <a:gd name="connsiteY40-8130" fmla="*/ 2021619 h 2144680"/>
              <a:gd name="connsiteX41-8131" fmla="*/ 128636 w 2804294"/>
              <a:gd name="connsiteY41-8132" fmla="*/ 2022266 h 2144680"/>
              <a:gd name="connsiteX42-8133" fmla="*/ 21003 w 2804294"/>
              <a:gd name="connsiteY42-8134" fmla="*/ 2018055 h 2144680"/>
              <a:gd name="connsiteX43-8135" fmla="*/ 346055 w 2804294"/>
              <a:gd name="connsiteY43-8136" fmla="*/ 2112372 h 2144680"/>
              <a:gd name="connsiteX0-8137" fmla="*/ 108153 w 2804294"/>
              <a:gd name="connsiteY0-8138" fmla="*/ 2017751 h 2144680"/>
              <a:gd name="connsiteX1-8139" fmla="*/ 96280 w 2804294"/>
              <a:gd name="connsiteY1-8140" fmla="*/ 2005877 h 2144680"/>
              <a:gd name="connsiteX2-8141" fmla="*/ 102217 w 2804294"/>
              <a:gd name="connsiteY2-8142" fmla="*/ 2017751 h 2144680"/>
              <a:gd name="connsiteX3-8143" fmla="*/ 261945 w 2804294"/>
              <a:gd name="connsiteY3-8144" fmla="*/ 2093323 h 2144680"/>
              <a:gd name="connsiteX4-8145" fmla="*/ 251002 w 2804294"/>
              <a:gd name="connsiteY4-8146" fmla="*/ 2112090 h 2144680"/>
              <a:gd name="connsiteX5-8147" fmla="*/ 588466 w 2804294"/>
              <a:gd name="connsiteY5-8148" fmla="*/ 2093057 h 2144680"/>
              <a:gd name="connsiteX6-8149" fmla="*/ 941719 w 2804294"/>
              <a:gd name="connsiteY6-8150" fmla="*/ 2031026 h 2144680"/>
              <a:gd name="connsiteX7-8151" fmla="*/ 964343 w 2804294"/>
              <a:gd name="connsiteY7-8152" fmla="*/ 1597437 h 2144680"/>
              <a:gd name="connsiteX8-8153" fmla="*/ 2079465 w 2804294"/>
              <a:gd name="connsiteY8-8154" fmla="*/ 1586286 h 2144680"/>
              <a:gd name="connsiteX9-8155" fmla="*/ 2068314 w 2804294"/>
              <a:gd name="connsiteY9-8156" fmla="*/ 738793 h 2144680"/>
              <a:gd name="connsiteX10-8157" fmla="*/ 2224431 w 2804294"/>
              <a:gd name="connsiteY10-8158" fmla="*/ 638432 h 2144680"/>
              <a:gd name="connsiteX11-8159" fmla="*/ 2570119 w 2804294"/>
              <a:gd name="connsiteY11-8160" fmla="*/ 460012 h 2144680"/>
              <a:gd name="connsiteX12-8161" fmla="*/ 2804294 w 2804294"/>
              <a:gd name="connsiteY12-8162" fmla="*/ 471164 h 2144680"/>
              <a:gd name="connsiteX13-8163" fmla="*/ 2804294 w 2804294"/>
              <a:gd name="connsiteY13-8164" fmla="*/ 303895 h 2144680"/>
              <a:gd name="connsiteX14-8165" fmla="*/ 2759690 w 2804294"/>
              <a:gd name="connsiteY14-8166" fmla="*/ 225837 h 2144680"/>
              <a:gd name="connsiteX15-8167" fmla="*/ 2748538 w 2804294"/>
              <a:gd name="connsiteY15-8168" fmla="*/ 192383 h 2144680"/>
              <a:gd name="connsiteX16-8169" fmla="*/ 2692782 w 2804294"/>
              <a:gd name="connsiteY16-8170" fmla="*/ 170081 h 2144680"/>
              <a:gd name="connsiteX17-8171" fmla="*/ 2681631 w 2804294"/>
              <a:gd name="connsiteY17-8172" fmla="*/ 214686 h 2144680"/>
              <a:gd name="connsiteX18-8173" fmla="*/ 2558968 w 2804294"/>
              <a:gd name="connsiteY18-8174" fmla="*/ 181232 h 2144680"/>
              <a:gd name="connsiteX19-8175" fmla="*/ 2525514 w 2804294"/>
              <a:gd name="connsiteY19-8176" fmla="*/ 270442 h 2144680"/>
              <a:gd name="connsiteX20-8177" fmla="*/ 2414002 w 2804294"/>
              <a:gd name="connsiteY20-8178" fmla="*/ 236988 h 2144680"/>
              <a:gd name="connsiteX21-8179" fmla="*/ 2440538 w 2804294"/>
              <a:gd name="connsiteY21-8180" fmla="*/ 198947 h 2144680"/>
              <a:gd name="connsiteX22-8181" fmla="*/ 2431388 w 2804294"/>
              <a:gd name="connsiteY22-8182" fmla="*/ 104999 h 2144680"/>
              <a:gd name="connsiteX23-8183" fmla="*/ 2365894 w 2804294"/>
              <a:gd name="connsiteY23-8184" fmla="*/ 27635 h 2144680"/>
              <a:gd name="connsiteX24-8185" fmla="*/ 2316149 w 2804294"/>
              <a:gd name="connsiteY24-8186" fmla="*/ 0 h 2144680"/>
              <a:gd name="connsiteX25-8187" fmla="*/ 2260399 w 2804294"/>
              <a:gd name="connsiteY25-8188" fmla="*/ 26828 h 2144680"/>
              <a:gd name="connsiteX26-8189" fmla="*/ 2062735 w 2804294"/>
              <a:gd name="connsiteY26-8190" fmla="*/ 81251 h 2144680"/>
              <a:gd name="connsiteX27-8191" fmla="*/ 1654887 w 2804294"/>
              <a:gd name="connsiteY27-8192" fmla="*/ 131683 h 2144680"/>
              <a:gd name="connsiteX28-8193" fmla="*/ 1648887 w 2804294"/>
              <a:gd name="connsiteY28-8194" fmla="*/ 401753 h 2144680"/>
              <a:gd name="connsiteX29-8195" fmla="*/ 1466148 w 2804294"/>
              <a:gd name="connsiteY29-8196" fmla="*/ 604978 h 2144680"/>
              <a:gd name="connsiteX30-8197" fmla="*/ 1231973 w 2804294"/>
              <a:gd name="connsiteY30-8198" fmla="*/ 738793 h 2144680"/>
              <a:gd name="connsiteX31-8199" fmla="*/ 1109309 w 2804294"/>
              <a:gd name="connsiteY31-8200" fmla="*/ 850305 h 2144680"/>
              <a:gd name="connsiteX32-8201" fmla="*/ 640958 w 2804294"/>
              <a:gd name="connsiteY32-8202" fmla="*/ 972968 h 2144680"/>
              <a:gd name="connsiteX33-8203" fmla="*/ 574051 w 2804294"/>
              <a:gd name="connsiteY33-8204" fmla="*/ 1028725 h 2144680"/>
              <a:gd name="connsiteX34-8205" fmla="*/ 440236 w 2804294"/>
              <a:gd name="connsiteY34-8206" fmla="*/ 1352110 h 2144680"/>
              <a:gd name="connsiteX35-8207" fmla="*/ 128002 w 2804294"/>
              <a:gd name="connsiteY35-8208" fmla="*/ 1519378 h 2144680"/>
              <a:gd name="connsiteX36-8209" fmla="*/ 105699 w 2804294"/>
              <a:gd name="connsiteY36-8210" fmla="*/ 1664344 h 2144680"/>
              <a:gd name="connsiteX37-8211" fmla="*/ 27641 w 2804294"/>
              <a:gd name="connsiteY37-8212" fmla="*/ 1775856 h 2144680"/>
              <a:gd name="connsiteX38-8213" fmla="*/ 5338 w 2804294"/>
              <a:gd name="connsiteY38-8214" fmla="*/ 2010032 h 2144680"/>
              <a:gd name="connsiteX39-8215" fmla="*/ 1063 w 2804294"/>
              <a:gd name="connsiteY39-8216" fmla="*/ 1968943 h 2144680"/>
              <a:gd name="connsiteX40-8217" fmla="*/ 17008 w 2804294"/>
              <a:gd name="connsiteY40-8218" fmla="*/ 2021619 h 2144680"/>
              <a:gd name="connsiteX41-8219" fmla="*/ 128636 w 2804294"/>
              <a:gd name="connsiteY41-8220" fmla="*/ 2022266 h 2144680"/>
              <a:gd name="connsiteX42-8221" fmla="*/ 21003 w 2804294"/>
              <a:gd name="connsiteY42-8222" fmla="*/ 2018055 h 2144680"/>
              <a:gd name="connsiteX43-8223" fmla="*/ 346055 w 2804294"/>
              <a:gd name="connsiteY43-8224" fmla="*/ 2112372 h 2144680"/>
              <a:gd name="connsiteX0-8225" fmla="*/ 108153 w 2804294"/>
              <a:gd name="connsiteY0-8226" fmla="*/ 2017751 h 2144680"/>
              <a:gd name="connsiteX1-8227" fmla="*/ 96280 w 2804294"/>
              <a:gd name="connsiteY1-8228" fmla="*/ 2005877 h 2144680"/>
              <a:gd name="connsiteX2-8229" fmla="*/ 102217 w 2804294"/>
              <a:gd name="connsiteY2-8230" fmla="*/ 2017751 h 2144680"/>
              <a:gd name="connsiteX3-8231" fmla="*/ 261945 w 2804294"/>
              <a:gd name="connsiteY3-8232" fmla="*/ 2093323 h 2144680"/>
              <a:gd name="connsiteX4-8233" fmla="*/ 251002 w 2804294"/>
              <a:gd name="connsiteY4-8234" fmla="*/ 2112090 h 2144680"/>
              <a:gd name="connsiteX5-8235" fmla="*/ 588466 w 2804294"/>
              <a:gd name="connsiteY5-8236" fmla="*/ 2093057 h 2144680"/>
              <a:gd name="connsiteX6-8237" fmla="*/ 941719 w 2804294"/>
              <a:gd name="connsiteY6-8238" fmla="*/ 2031026 h 2144680"/>
              <a:gd name="connsiteX7-8239" fmla="*/ 964343 w 2804294"/>
              <a:gd name="connsiteY7-8240" fmla="*/ 1597437 h 2144680"/>
              <a:gd name="connsiteX8-8241" fmla="*/ 2079465 w 2804294"/>
              <a:gd name="connsiteY8-8242" fmla="*/ 1586286 h 2144680"/>
              <a:gd name="connsiteX9-8243" fmla="*/ 2068314 w 2804294"/>
              <a:gd name="connsiteY9-8244" fmla="*/ 738793 h 2144680"/>
              <a:gd name="connsiteX10-8245" fmla="*/ 2224431 w 2804294"/>
              <a:gd name="connsiteY10-8246" fmla="*/ 638432 h 2144680"/>
              <a:gd name="connsiteX11-8247" fmla="*/ 2570119 w 2804294"/>
              <a:gd name="connsiteY11-8248" fmla="*/ 460012 h 2144680"/>
              <a:gd name="connsiteX12-8249" fmla="*/ 2804294 w 2804294"/>
              <a:gd name="connsiteY12-8250" fmla="*/ 471164 h 2144680"/>
              <a:gd name="connsiteX13-8251" fmla="*/ 2804294 w 2804294"/>
              <a:gd name="connsiteY13-8252" fmla="*/ 303895 h 2144680"/>
              <a:gd name="connsiteX14-8253" fmla="*/ 2759690 w 2804294"/>
              <a:gd name="connsiteY14-8254" fmla="*/ 225837 h 2144680"/>
              <a:gd name="connsiteX15-8255" fmla="*/ 2748538 w 2804294"/>
              <a:gd name="connsiteY15-8256" fmla="*/ 192383 h 2144680"/>
              <a:gd name="connsiteX16-8257" fmla="*/ 2692782 w 2804294"/>
              <a:gd name="connsiteY16-8258" fmla="*/ 170081 h 2144680"/>
              <a:gd name="connsiteX17-8259" fmla="*/ 2681631 w 2804294"/>
              <a:gd name="connsiteY17-8260" fmla="*/ 214686 h 2144680"/>
              <a:gd name="connsiteX18-8261" fmla="*/ 2558968 w 2804294"/>
              <a:gd name="connsiteY18-8262" fmla="*/ 181232 h 2144680"/>
              <a:gd name="connsiteX19-8263" fmla="*/ 2525514 w 2804294"/>
              <a:gd name="connsiteY19-8264" fmla="*/ 270442 h 2144680"/>
              <a:gd name="connsiteX20-8265" fmla="*/ 2414002 w 2804294"/>
              <a:gd name="connsiteY20-8266" fmla="*/ 236988 h 2144680"/>
              <a:gd name="connsiteX21-8267" fmla="*/ 2440538 w 2804294"/>
              <a:gd name="connsiteY21-8268" fmla="*/ 198947 h 2144680"/>
              <a:gd name="connsiteX22-8269" fmla="*/ 2431388 w 2804294"/>
              <a:gd name="connsiteY22-8270" fmla="*/ 104999 h 2144680"/>
              <a:gd name="connsiteX23-8271" fmla="*/ 2365894 w 2804294"/>
              <a:gd name="connsiteY23-8272" fmla="*/ 27635 h 2144680"/>
              <a:gd name="connsiteX24-8273" fmla="*/ 2316149 w 2804294"/>
              <a:gd name="connsiteY24-8274" fmla="*/ 0 h 2144680"/>
              <a:gd name="connsiteX25-8275" fmla="*/ 2260399 w 2804294"/>
              <a:gd name="connsiteY25-8276" fmla="*/ 26828 h 2144680"/>
              <a:gd name="connsiteX26-8277" fmla="*/ 2062735 w 2804294"/>
              <a:gd name="connsiteY26-8278" fmla="*/ 81251 h 2144680"/>
              <a:gd name="connsiteX27-8279" fmla="*/ 2055899 w 2804294"/>
              <a:gd name="connsiteY27-8280" fmla="*/ 76455 h 2144680"/>
              <a:gd name="connsiteX28-8281" fmla="*/ 1654887 w 2804294"/>
              <a:gd name="connsiteY28-8282" fmla="*/ 131683 h 2144680"/>
              <a:gd name="connsiteX29-8283" fmla="*/ 1648887 w 2804294"/>
              <a:gd name="connsiteY29-8284" fmla="*/ 401753 h 2144680"/>
              <a:gd name="connsiteX30-8285" fmla="*/ 1466148 w 2804294"/>
              <a:gd name="connsiteY30-8286" fmla="*/ 604978 h 2144680"/>
              <a:gd name="connsiteX31-8287" fmla="*/ 1231973 w 2804294"/>
              <a:gd name="connsiteY31-8288" fmla="*/ 738793 h 2144680"/>
              <a:gd name="connsiteX32-8289" fmla="*/ 1109309 w 2804294"/>
              <a:gd name="connsiteY32-8290" fmla="*/ 850305 h 2144680"/>
              <a:gd name="connsiteX33-8291" fmla="*/ 640958 w 2804294"/>
              <a:gd name="connsiteY33-8292" fmla="*/ 972968 h 2144680"/>
              <a:gd name="connsiteX34-8293" fmla="*/ 574051 w 2804294"/>
              <a:gd name="connsiteY34-8294" fmla="*/ 1028725 h 2144680"/>
              <a:gd name="connsiteX35-8295" fmla="*/ 440236 w 2804294"/>
              <a:gd name="connsiteY35-8296" fmla="*/ 1352110 h 2144680"/>
              <a:gd name="connsiteX36-8297" fmla="*/ 128002 w 2804294"/>
              <a:gd name="connsiteY36-8298" fmla="*/ 1519378 h 2144680"/>
              <a:gd name="connsiteX37-8299" fmla="*/ 105699 w 2804294"/>
              <a:gd name="connsiteY37-8300" fmla="*/ 1664344 h 2144680"/>
              <a:gd name="connsiteX38-8301" fmla="*/ 27641 w 2804294"/>
              <a:gd name="connsiteY38-8302" fmla="*/ 1775856 h 2144680"/>
              <a:gd name="connsiteX39-8303" fmla="*/ 5338 w 2804294"/>
              <a:gd name="connsiteY39-8304" fmla="*/ 2010032 h 2144680"/>
              <a:gd name="connsiteX40-8305" fmla="*/ 1063 w 2804294"/>
              <a:gd name="connsiteY40-8306" fmla="*/ 1968943 h 2144680"/>
              <a:gd name="connsiteX41-8307" fmla="*/ 17008 w 2804294"/>
              <a:gd name="connsiteY41-8308" fmla="*/ 2021619 h 2144680"/>
              <a:gd name="connsiteX42-8309" fmla="*/ 128636 w 2804294"/>
              <a:gd name="connsiteY42-8310" fmla="*/ 2022266 h 2144680"/>
              <a:gd name="connsiteX43-8311" fmla="*/ 21003 w 2804294"/>
              <a:gd name="connsiteY43-8312" fmla="*/ 2018055 h 2144680"/>
              <a:gd name="connsiteX44-8313" fmla="*/ 346055 w 2804294"/>
              <a:gd name="connsiteY44-8314" fmla="*/ 2112372 h 2144680"/>
              <a:gd name="connsiteX0-8315" fmla="*/ 108153 w 2804294"/>
              <a:gd name="connsiteY0-8316" fmla="*/ 2021164 h 2148093"/>
              <a:gd name="connsiteX1-8317" fmla="*/ 96280 w 2804294"/>
              <a:gd name="connsiteY1-8318" fmla="*/ 2009290 h 2148093"/>
              <a:gd name="connsiteX2-8319" fmla="*/ 102217 w 2804294"/>
              <a:gd name="connsiteY2-8320" fmla="*/ 2021164 h 2148093"/>
              <a:gd name="connsiteX3-8321" fmla="*/ 261945 w 2804294"/>
              <a:gd name="connsiteY3-8322" fmla="*/ 2096736 h 2148093"/>
              <a:gd name="connsiteX4-8323" fmla="*/ 251002 w 2804294"/>
              <a:gd name="connsiteY4-8324" fmla="*/ 2115503 h 2148093"/>
              <a:gd name="connsiteX5-8325" fmla="*/ 588466 w 2804294"/>
              <a:gd name="connsiteY5-8326" fmla="*/ 2096470 h 2148093"/>
              <a:gd name="connsiteX6-8327" fmla="*/ 941719 w 2804294"/>
              <a:gd name="connsiteY6-8328" fmla="*/ 2034439 h 2148093"/>
              <a:gd name="connsiteX7-8329" fmla="*/ 964343 w 2804294"/>
              <a:gd name="connsiteY7-8330" fmla="*/ 1600850 h 2148093"/>
              <a:gd name="connsiteX8-8331" fmla="*/ 2079465 w 2804294"/>
              <a:gd name="connsiteY8-8332" fmla="*/ 1589699 h 2148093"/>
              <a:gd name="connsiteX9-8333" fmla="*/ 2068314 w 2804294"/>
              <a:gd name="connsiteY9-8334" fmla="*/ 742206 h 2148093"/>
              <a:gd name="connsiteX10-8335" fmla="*/ 2224431 w 2804294"/>
              <a:gd name="connsiteY10-8336" fmla="*/ 641845 h 2148093"/>
              <a:gd name="connsiteX11-8337" fmla="*/ 2570119 w 2804294"/>
              <a:gd name="connsiteY11-8338" fmla="*/ 463425 h 2148093"/>
              <a:gd name="connsiteX12-8339" fmla="*/ 2804294 w 2804294"/>
              <a:gd name="connsiteY12-8340" fmla="*/ 474577 h 2148093"/>
              <a:gd name="connsiteX13-8341" fmla="*/ 2804294 w 2804294"/>
              <a:gd name="connsiteY13-8342" fmla="*/ 307308 h 2148093"/>
              <a:gd name="connsiteX14-8343" fmla="*/ 2759690 w 2804294"/>
              <a:gd name="connsiteY14-8344" fmla="*/ 229250 h 2148093"/>
              <a:gd name="connsiteX15-8345" fmla="*/ 2748538 w 2804294"/>
              <a:gd name="connsiteY15-8346" fmla="*/ 195796 h 2148093"/>
              <a:gd name="connsiteX16-8347" fmla="*/ 2692782 w 2804294"/>
              <a:gd name="connsiteY16-8348" fmla="*/ 173494 h 2148093"/>
              <a:gd name="connsiteX17-8349" fmla="*/ 2681631 w 2804294"/>
              <a:gd name="connsiteY17-8350" fmla="*/ 218099 h 2148093"/>
              <a:gd name="connsiteX18-8351" fmla="*/ 2558968 w 2804294"/>
              <a:gd name="connsiteY18-8352" fmla="*/ 184645 h 2148093"/>
              <a:gd name="connsiteX19-8353" fmla="*/ 2525514 w 2804294"/>
              <a:gd name="connsiteY19-8354" fmla="*/ 273855 h 2148093"/>
              <a:gd name="connsiteX20-8355" fmla="*/ 2414002 w 2804294"/>
              <a:gd name="connsiteY20-8356" fmla="*/ 240401 h 2148093"/>
              <a:gd name="connsiteX21-8357" fmla="*/ 2440538 w 2804294"/>
              <a:gd name="connsiteY21-8358" fmla="*/ 202360 h 2148093"/>
              <a:gd name="connsiteX22-8359" fmla="*/ 2431388 w 2804294"/>
              <a:gd name="connsiteY22-8360" fmla="*/ 108412 h 2148093"/>
              <a:gd name="connsiteX23-8361" fmla="*/ 2365894 w 2804294"/>
              <a:gd name="connsiteY23-8362" fmla="*/ 31048 h 2148093"/>
              <a:gd name="connsiteX24-8363" fmla="*/ 2316149 w 2804294"/>
              <a:gd name="connsiteY24-8364" fmla="*/ 3413 h 2148093"/>
              <a:gd name="connsiteX25-8365" fmla="*/ 2260399 w 2804294"/>
              <a:gd name="connsiteY25-8366" fmla="*/ 30241 h 2148093"/>
              <a:gd name="connsiteX26-8367" fmla="*/ 2062735 w 2804294"/>
              <a:gd name="connsiteY26-8368" fmla="*/ 84664 h 2148093"/>
              <a:gd name="connsiteX27-8369" fmla="*/ 2055675 w 2804294"/>
              <a:gd name="connsiteY27-8370" fmla="*/ 8405 h 2148093"/>
              <a:gd name="connsiteX28-8371" fmla="*/ 1654887 w 2804294"/>
              <a:gd name="connsiteY28-8372" fmla="*/ 135096 h 2148093"/>
              <a:gd name="connsiteX29-8373" fmla="*/ 1648887 w 2804294"/>
              <a:gd name="connsiteY29-8374" fmla="*/ 405166 h 2148093"/>
              <a:gd name="connsiteX30-8375" fmla="*/ 1466148 w 2804294"/>
              <a:gd name="connsiteY30-8376" fmla="*/ 608391 h 2148093"/>
              <a:gd name="connsiteX31-8377" fmla="*/ 1231973 w 2804294"/>
              <a:gd name="connsiteY31-8378" fmla="*/ 742206 h 2148093"/>
              <a:gd name="connsiteX32-8379" fmla="*/ 1109309 w 2804294"/>
              <a:gd name="connsiteY32-8380" fmla="*/ 853718 h 2148093"/>
              <a:gd name="connsiteX33-8381" fmla="*/ 640958 w 2804294"/>
              <a:gd name="connsiteY33-8382" fmla="*/ 976381 h 2148093"/>
              <a:gd name="connsiteX34-8383" fmla="*/ 574051 w 2804294"/>
              <a:gd name="connsiteY34-8384" fmla="*/ 1032138 h 2148093"/>
              <a:gd name="connsiteX35-8385" fmla="*/ 440236 w 2804294"/>
              <a:gd name="connsiteY35-8386" fmla="*/ 1355523 h 2148093"/>
              <a:gd name="connsiteX36-8387" fmla="*/ 128002 w 2804294"/>
              <a:gd name="connsiteY36-8388" fmla="*/ 1522791 h 2148093"/>
              <a:gd name="connsiteX37-8389" fmla="*/ 105699 w 2804294"/>
              <a:gd name="connsiteY37-8390" fmla="*/ 1667757 h 2148093"/>
              <a:gd name="connsiteX38-8391" fmla="*/ 27641 w 2804294"/>
              <a:gd name="connsiteY38-8392" fmla="*/ 1779269 h 2148093"/>
              <a:gd name="connsiteX39-8393" fmla="*/ 5338 w 2804294"/>
              <a:gd name="connsiteY39-8394" fmla="*/ 2013445 h 2148093"/>
              <a:gd name="connsiteX40-8395" fmla="*/ 1063 w 2804294"/>
              <a:gd name="connsiteY40-8396" fmla="*/ 1972356 h 2148093"/>
              <a:gd name="connsiteX41-8397" fmla="*/ 17008 w 2804294"/>
              <a:gd name="connsiteY41-8398" fmla="*/ 2025032 h 2148093"/>
              <a:gd name="connsiteX42-8399" fmla="*/ 128636 w 2804294"/>
              <a:gd name="connsiteY42-8400" fmla="*/ 2025679 h 2148093"/>
              <a:gd name="connsiteX43-8401" fmla="*/ 21003 w 2804294"/>
              <a:gd name="connsiteY43-8402" fmla="*/ 2021468 h 2148093"/>
              <a:gd name="connsiteX44-8403" fmla="*/ 346055 w 2804294"/>
              <a:gd name="connsiteY44-8404" fmla="*/ 2115785 h 2148093"/>
              <a:gd name="connsiteX0-8405" fmla="*/ 108153 w 2804294"/>
              <a:gd name="connsiteY0-8406" fmla="*/ 2021164 h 2148093"/>
              <a:gd name="connsiteX1-8407" fmla="*/ 96280 w 2804294"/>
              <a:gd name="connsiteY1-8408" fmla="*/ 2009290 h 2148093"/>
              <a:gd name="connsiteX2-8409" fmla="*/ 102217 w 2804294"/>
              <a:gd name="connsiteY2-8410" fmla="*/ 2021164 h 2148093"/>
              <a:gd name="connsiteX3-8411" fmla="*/ 261945 w 2804294"/>
              <a:gd name="connsiteY3-8412" fmla="*/ 2096736 h 2148093"/>
              <a:gd name="connsiteX4-8413" fmla="*/ 251002 w 2804294"/>
              <a:gd name="connsiteY4-8414" fmla="*/ 2115503 h 2148093"/>
              <a:gd name="connsiteX5-8415" fmla="*/ 588466 w 2804294"/>
              <a:gd name="connsiteY5-8416" fmla="*/ 2096470 h 2148093"/>
              <a:gd name="connsiteX6-8417" fmla="*/ 941719 w 2804294"/>
              <a:gd name="connsiteY6-8418" fmla="*/ 2034439 h 2148093"/>
              <a:gd name="connsiteX7-8419" fmla="*/ 964343 w 2804294"/>
              <a:gd name="connsiteY7-8420" fmla="*/ 1600850 h 2148093"/>
              <a:gd name="connsiteX8-8421" fmla="*/ 2079465 w 2804294"/>
              <a:gd name="connsiteY8-8422" fmla="*/ 1589699 h 2148093"/>
              <a:gd name="connsiteX9-8423" fmla="*/ 2068314 w 2804294"/>
              <a:gd name="connsiteY9-8424" fmla="*/ 742206 h 2148093"/>
              <a:gd name="connsiteX10-8425" fmla="*/ 2224431 w 2804294"/>
              <a:gd name="connsiteY10-8426" fmla="*/ 641845 h 2148093"/>
              <a:gd name="connsiteX11-8427" fmla="*/ 2570119 w 2804294"/>
              <a:gd name="connsiteY11-8428" fmla="*/ 463425 h 2148093"/>
              <a:gd name="connsiteX12-8429" fmla="*/ 2804294 w 2804294"/>
              <a:gd name="connsiteY12-8430" fmla="*/ 474577 h 2148093"/>
              <a:gd name="connsiteX13-8431" fmla="*/ 2804294 w 2804294"/>
              <a:gd name="connsiteY13-8432" fmla="*/ 307308 h 2148093"/>
              <a:gd name="connsiteX14-8433" fmla="*/ 2759690 w 2804294"/>
              <a:gd name="connsiteY14-8434" fmla="*/ 229250 h 2148093"/>
              <a:gd name="connsiteX15-8435" fmla="*/ 2748538 w 2804294"/>
              <a:gd name="connsiteY15-8436" fmla="*/ 195796 h 2148093"/>
              <a:gd name="connsiteX16-8437" fmla="*/ 2692782 w 2804294"/>
              <a:gd name="connsiteY16-8438" fmla="*/ 173494 h 2148093"/>
              <a:gd name="connsiteX17-8439" fmla="*/ 2681631 w 2804294"/>
              <a:gd name="connsiteY17-8440" fmla="*/ 218099 h 2148093"/>
              <a:gd name="connsiteX18-8441" fmla="*/ 2558968 w 2804294"/>
              <a:gd name="connsiteY18-8442" fmla="*/ 184645 h 2148093"/>
              <a:gd name="connsiteX19-8443" fmla="*/ 2525514 w 2804294"/>
              <a:gd name="connsiteY19-8444" fmla="*/ 273855 h 2148093"/>
              <a:gd name="connsiteX20-8445" fmla="*/ 2414002 w 2804294"/>
              <a:gd name="connsiteY20-8446" fmla="*/ 240401 h 2148093"/>
              <a:gd name="connsiteX21-8447" fmla="*/ 2440538 w 2804294"/>
              <a:gd name="connsiteY21-8448" fmla="*/ 202360 h 2148093"/>
              <a:gd name="connsiteX22-8449" fmla="*/ 2431388 w 2804294"/>
              <a:gd name="connsiteY22-8450" fmla="*/ 108412 h 2148093"/>
              <a:gd name="connsiteX23-8451" fmla="*/ 2365894 w 2804294"/>
              <a:gd name="connsiteY23-8452" fmla="*/ 31048 h 2148093"/>
              <a:gd name="connsiteX24-8453" fmla="*/ 2316149 w 2804294"/>
              <a:gd name="connsiteY24-8454" fmla="*/ 3413 h 2148093"/>
              <a:gd name="connsiteX25-8455" fmla="*/ 2260399 w 2804294"/>
              <a:gd name="connsiteY25-8456" fmla="*/ 30241 h 2148093"/>
              <a:gd name="connsiteX26-8457" fmla="*/ 2062735 w 2804294"/>
              <a:gd name="connsiteY26-8458" fmla="*/ 84664 h 2148093"/>
              <a:gd name="connsiteX27-8459" fmla="*/ 2055675 w 2804294"/>
              <a:gd name="connsiteY27-8460" fmla="*/ 8405 h 2148093"/>
              <a:gd name="connsiteX28-8461" fmla="*/ 1800607 w 2804294"/>
              <a:gd name="connsiteY28-8462" fmla="*/ 73932 h 2148093"/>
              <a:gd name="connsiteX29-8463" fmla="*/ 1654887 w 2804294"/>
              <a:gd name="connsiteY29-8464" fmla="*/ 135096 h 2148093"/>
              <a:gd name="connsiteX30-8465" fmla="*/ 1648887 w 2804294"/>
              <a:gd name="connsiteY30-8466" fmla="*/ 405166 h 2148093"/>
              <a:gd name="connsiteX31-8467" fmla="*/ 1466148 w 2804294"/>
              <a:gd name="connsiteY31-8468" fmla="*/ 608391 h 2148093"/>
              <a:gd name="connsiteX32-8469" fmla="*/ 1231973 w 2804294"/>
              <a:gd name="connsiteY32-8470" fmla="*/ 742206 h 2148093"/>
              <a:gd name="connsiteX33-8471" fmla="*/ 1109309 w 2804294"/>
              <a:gd name="connsiteY33-8472" fmla="*/ 853718 h 2148093"/>
              <a:gd name="connsiteX34-8473" fmla="*/ 640958 w 2804294"/>
              <a:gd name="connsiteY34-8474" fmla="*/ 976381 h 2148093"/>
              <a:gd name="connsiteX35-8475" fmla="*/ 574051 w 2804294"/>
              <a:gd name="connsiteY35-8476" fmla="*/ 1032138 h 2148093"/>
              <a:gd name="connsiteX36-8477" fmla="*/ 440236 w 2804294"/>
              <a:gd name="connsiteY36-8478" fmla="*/ 1355523 h 2148093"/>
              <a:gd name="connsiteX37-8479" fmla="*/ 128002 w 2804294"/>
              <a:gd name="connsiteY37-8480" fmla="*/ 1522791 h 2148093"/>
              <a:gd name="connsiteX38-8481" fmla="*/ 105699 w 2804294"/>
              <a:gd name="connsiteY38-8482" fmla="*/ 1667757 h 2148093"/>
              <a:gd name="connsiteX39-8483" fmla="*/ 27641 w 2804294"/>
              <a:gd name="connsiteY39-8484" fmla="*/ 1779269 h 2148093"/>
              <a:gd name="connsiteX40-8485" fmla="*/ 5338 w 2804294"/>
              <a:gd name="connsiteY40-8486" fmla="*/ 2013445 h 2148093"/>
              <a:gd name="connsiteX41-8487" fmla="*/ 1063 w 2804294"/>
              <a:gd name="connsiteY41-8488" fmla="*/ 1972356 h 2148093"/>
              <a:gd name="connsiteX42-8489" fmla="*/ 17008 w 2804294"/>
              <a:gd name="connsiteY42-8490" fmla="*/ 2025032 h 2148093"/>
              <a:gd name="connsiteX43-8491" fmla="*/ 128636 w 2804294"/>
              <a:gd name="connsiteY43-8492" fmla="*/ 2025679 h 2148093"/>
              <a:gd name="connsiteX44-8493" fmla="*/ 21003 w 2804294"/>
              <a:gd name="connsiteY44-8494" fmla="*/ 2021468 h 2148093"/>
              <a:gd name="connsiteX45-8495" fmla="*/ 346055 w 2804294"/>
              <a:gd name="connsiteY45-8496" fmla="*/ 2115785 h 2148093"/>
              <a:gd name="connsiteX0-8497" fmla="*/ 108153 w 2804294"/>
              <a:gd name="connsiteY0-8498" fmla="*/ 2021164 h 2148093"/>
              <a:gd name="connsiteX1-8499" fmla="*/ 96280 w 2804294"/>
              <a:gd name="connsiteY1-8500" fmla="*/ 2009290 h 2148093"/>
              <a:gd name="connsiteX2-8501" fmla="*/ 102217 w 2804294"/>
              <a:gd name="connsiteY2-8502" fmla="*/ 2021164 h 2148093"/>
              <a:gd name="connsiteX3-8503" fmla="*/ 261945 w 2804294"/>
              <a:gd name="connsiteY3-8504" fmla="*/ 2096736 h 2148093"/>
              <a:gd name="connsiteX4-8505" fmla="*/ 251002 w 2804294"/>
              <a:gd name="connsiteY4-8506" fmla="*/ 2115503 h 2148093"/>
              <a:gd name="connsiteX5-8507" fmla="*/ 588466 w 2804294"/>
              <a:gd name="connsiteY5-8508" fmla="*/ 2096470 h 2148093"/>
              <a:gd name="connsiteX6-8509" fmla="*/ 941719 w 2804294"/>
              <a:gd name="connsiteY6-8510" fmla="*/ 2034439 h 2148093"/>
              <a:gd name="connsiteX7-8511" fmla="*/ 964343 w 2804294"/>
              <a:gd name="connsiteY7-8512" fmla="*/ 1600850 h 2148093"/>
              <a:gd name="connsiteX8-8513" fmla="*/ 2079465 w 2804294"/>
              <a:gd name="connsiteY8-8514" fmla="*/ 1589699 h 2148093"/>
              <a:gd name="connsiteX9-8515" fmla="*/ 2068314 w 2804294"/>
              <a:gd name="connsiteY9-8516" fmla="*/ 742206 h 2148093"/>
              <a:gd name="connsiteX10-8517" fmla="*/ 2224431 w 2804294"/>
              <a:gd name="connsiteY10-8518" fmla="*/ 641845 h 2148093"/>
              <a:gd name="connsiteX11-8519" fmla="*/ 2570119 w 2804294"/>
              <a:gd name="connsiteY11-8520" fmla="*/ 463425 h 2148093"/>
              <a:gd name="connsiteX12-8521" fmla="*/ 2804294 w 2804294"/>
              <a:gd name="connsiteY12-8522" fmla="*/ 474577 h 2148093"/>
              <a:gd name="connsiteX13-8523" fmla="*/ 2804294 w 2804294"/>
              <a:gd name="connsiteY13-8524" fmla="*/ 307308 h 2148093"/>
              <a:gd name="connsiteX14-8525" fmla="*/ 2759690 w 2804294"/>
              <a:gd name="connsiteY14-8526" fmla="*/ 229250 h 2148093"/>
              <a:gd name="connsiteX15-8527" fmla="*/ 2748538 w 2804294"/>
              <a:gd name="connsiteY15-8528" fmla="*/ 195796 h 2148093"/>
              <a:gd name="connsiteX16-8529" fmla="*/ 2692782 w 2804294"/>
              <a:gd name="connsiteY16-8530" fmla="*/ 173494 h 2148093"/>
              <a:gd name="connsiteX17-8531" fmla="*/ 2681631 w 2804294"/>
              <a:gd name="connsiteY17-8532" fmla="*/ 218099 h 2148093"/>
              <a:gd name="connsiteX18-8533" fmla="*/ 2558968 w 2804294"/>
              <a:gd name="connsiteY18-8534" fmla="*/ 184645 h 2148093"/>
              <a:gd name="connsiteX19-8535" fmla="*/ 2525514 w 2804294"/>
              <a:gd name="connsiteY19-8536" fmla="*/ 273855 h 2148093"/>
              <a:gd name="connsiteX20-8537" fmla="*/ 2414002 w 2804294"/>
              <a:gd name="connsiteY20-8538" fmla="*/ 240401 h 2148093"/>
              <a:gd name="connsiteX21-8539" fmla="*/ 2440538 w 2804294"/>
              <a:gd name="connsiteY21-8540" fmla="*/ 202360 h 2148093"/>
              <a:gd name="connsiteX22-8541" fmla="*/ 2431388 w 2804294"/>
              <a:gd name="connsiteY22-8542" fmla="*/ 108412 h 2148093"/>
              <a:gd name="connsiteX23-8543" fmla="*/ 2365894 w 2804294"/>
              <a:gd name="connsiteY23-8544" fmla="*/ 31048 h 2148093"/>
              <a:gd name="connsiteX24-8545" fmla="*/ 2316149 w 2804294"/>
              <a:gd name="connsiteY24-8546" fmla="*/ 3413 h 2148093"/>
              <a:gd name="connsiteX25-8547" fmla="*/ 2260399 w 2804294"/>
              <a:gd name="connsiteY25-8548" fmla="*/ 30241 h 2148093"/>
              <a:gd name="connsiteX26-8549" fmla="*/ 2062735 w 2804294"/>
              <a:gd name="connsiteY26-8550" fmla="*/ 84664 h 2148093"/>
              <a:gd name="connsiteX27-8551" fmla="*/ 2055675 w 2804294"/>
              <a:gd name="connsiteY27-8552" fmla="*/ 8405 h 2148093"/>
              <a:gd name="connsiteX28-8553" fmla="*/ 1800607 w 2804294"/>
              <a:gd name="connsiteY28-8554" fmla="*/ 73932 h 2148093"/>
              <a:gd name="connsiteX29-8555" fmla="*/ 1639904 w 2804294"/>
              <a:gd name="connsiteY29-8556" fmla="*/ 67996 h 2148093"/>
              <a:gd name="connsiteX30-8557" fmla="*/ 1654887 w 2804294"/>
              <a:gd name="connsiteY30-8558" fmla="*/ 135096 h 2148093"/>
              <a:gd name="connsiteX31-8559" fmla="*/ 1648887 w 2804294"/>
              <a:gd name="connsiteY31-8560" fmla="*/ 405166 h 2148093"/>
              <a:gd name="connsiteX32-8561" fmla="*/ 1466148 w 2804294"/>
              <a:gd name="connsiteY32-8562" fmla="*/ 608391 h 2148093"/>
              <a:gd name="connsiteX33-8563" fmla="*/ 1231973 w 2804294"/>
              <a:gd name="connsiteY33-8564" fmla="*/ 742206 h 2148093"/>
              <a:gd name="connsiteX34-8565" fmla="*/ 1109309 w 2804294"/>
              <a:gd name="connsiteY34-8566" fmla="*/ 853718 h 2148093"/>
              <a:gd name="connsiteX35-8567" fmla="*/ 640958 w 2804294"/>
              <a:gd name="connsiteY35-8568" fmla="*/ 976381 h 2148093"/>
              <a:gd name="connsiteX36-8569" fmla="*/ 574051 w 2804294"/>
              <a:gd name="connsiteY36-8570" fmla="*/ 1032138 h 2148093"/>
              <a:gd name="connsiteX37-8571" fmla="*/ 440236 w 2804294"/>
              <a:gd name="connsiteY37-8572" fmla="*/ 1355523 h 2148093"/>
              <a:gd name="connsiteX38-8573" fmla="*/ 128002 w 2804294"/>
              <a:gd name="connsiteY38-8574" fmla="*/ 1522791 h 2148093"/>
              <a:gd name="connsiteX39-8575" fmla="*/ 105699 w 2804294"/>
              <a:gd name="connsiteY39-8576" fmla="*/ 1667757 h 2148093"/>
              <a:gd name="connsiteX40-8577" fmla="*/ 27641 w 2804294"/>
              <a:gd name="connsiteY40-8578" fmla="*/ 1779269 h 2148093"/>
              <a:gd name="connsiteX41-8579" fmla="*/ 5338 w 2804294"/>
              <a:gd name="connsiteY41-8580" fmla="*/ 2013445 h 2148093"/>
              <a:gd name="connsiteX42-8581" fmla="*/ 1063 w 2804294"/>
              <a:gd name="connsiteY42-8582" fmla="*/ 1972356 h 2148093"/>
              <a:gd name="connsiteX43-8583" fmla="*/ 17008 w 2804294"/>
              <a:gd name="connsiteY43-8584" fmla="*/ 2025032 h 2148093"/>
              <a:gd name="connsiteX44-8585" fmla="*/ 128636 w 2804294"/>
              <a:gd name="connsiteY44-8586" fmla="*/ 2025679 h 2148093"/>
              <a:gd name="connsiteX45-8587" fmla="*/ 21003 w 2804294"/>
              <a:gd name="connsiteY45-8588" fmla="*/ 2021468 h 2148093"/>
              <a:gd name="connsiteX46-8589" fmla="*/ 346055 w 2804294"/>
              <a:gd name="connsiteY46-8590" fmla="*/ 2115785 h 2148093"/>
              <a:gd name="connsiteX0-8591" fmla="*/ 108153 w 2804294"/>
              <a:gd name="connsiteY0-8592" fmla="*/ 2021164 h 2148093"/>
              <a:gd name="connsiteX1-8593" fmla="*/ 96280 w 2804294"/>
              <a:gd name="connsiteY1-8594" fmla="*/ 2009290 h 2148093"/>
              <a:gd name="connsiteX2-8595" fmla="*/ 102217 w 2804294"/>
              <a:gd name="connsiteY2-8596" fmla="*/ 2021164 h 2148093"/>
              <a:gd name="connsiteX3-8597" fmla="*/ 261945 w 2804294"/>
              <a:gd name="connsiteY3-8598" fmla="*/ 2096736 h 2148093"/>
              <a:gd name="connsiteX4-8599" fmla="*/ 251002 w 2804294"/>
              <a:gd name="connsiteY4-8600" fmla="*/ 2115503 h 2148093"/>
              <a:gd name="connsiteX5-8601" fmla="*/ 588466 w 2804294"/>
              <a:gd name="connsiteY5-8602" fmla="*/ 2096470 h 2148093"/>
              <a:gd name="connsiteX6-8603" fmla="*/ 941719 w 2804294"/>
              <a:gd name="connsiteY6-8604" fmla="*/ 2034439 h 2148093"/>
              <a:gd name="connsiteX7-8605" fmla="*/ 964343 w 2804294"/>
              <a:gd name="connsiteY7-8606" fmla="*/ 1600850 h 2148093"/>
              <a:gd name="connsiteX8-8607" fmla="*/ 2079465 w 2804294"/>
              <a:gd name="connsiteY8-8608" fmla="*/ 1589699 h 2148093"/>
              <a:gd name="connsiteX9-8609" fmla="*/ 2068314 w 2804294"/>
              <a:gd name="connsiteY9-8610" fmla="*/ 742206 h 2148093"/>
              <a:gd name="connsiteX10-8611" fmla="*/ 2224431 w 2804294"/>
              <a:gd name="connsiteY10-8612" fmla="*/ 641845 h 2148093"/>
              <a:gd name="connsiteX11-8613" fmla="*/ 2570119 w 2804294"/>
              <a:gd name="connsiteY11-8614" fmla="*/ 463425 h 2148093"/>
              <a:gd name="connsiteX12-8615" fmla="*/ 2804294 w 2804294"/>
              <a:gd name="connsiteY12-8616" fmla="*/ 474577 h 2148093"/>
              <a:gd name="connsiteX13-8617" fmla="*/ 2804294 w 2804294"/>
              <a:gd name="connsiteY13-8618" fmla="*/ 307308 h 2148093"/>
              <a:gd name="connsiteX14-8619" fmla="*/ 2759690 w 2804294"/>
              <a:gd name="connsiteY14-8620" fmla="*/ 229250 h 2148093"/>
              <a:gd name="connsiteX15-8621" fmla="*/ 2748538 w 2804294"/>
              <a:gd name="connsiteY15-8622" fmla="*/ 195796 h 2148093"/>
              <a:gd name="connsiteX16-8623" fmla="*/ 2692782 w 2804294"/>
              <a:gd name="connsiteY16-8624" fmla="*/ 173494 h 2148093"/>
              <a:gd name="connsiteX17-8625" fmla="*/ 2681631 w 2804294"/>
              <a:gd name="connsiteY17-8626" fmla="*/ 218099 h 2148093"/>
              <a:gd name="connsiteX18-8627" fmla="*/ 2558968 w 2804294"/>
              <a:gd name="connsiteY18-8628" fmla="*/ 184645 h 2148093"/>
              <a:gd name="connsiteX19-8629" fmla="*/ 2525514 w 2804294"/>
              <a:gd name="connsiteY19-8630" fmla="*/ 273855 h 2148093"/>
              <a:gd name="connsiteX20-8631" fmla="*/ 2524923 w 2804294"/>
              <a:gd name="connsiteY20-8632" fmla="*/ 192456 h 2148093"/>
              <a:gd name="connsiteX21-8633" fmla="*/ 2414002 w 2804294"/>
              <a:gd name="connsiteY21-8634" fmla="*/ 240401 h 2148093"/>
              <a:gd name="connsiteX22-8635" fmla="*/ 2440538 w 2804294"/>
              <a:gd name="connsiteY22-8636" fmla="*/ 202360 h 2148093"/>
              <a:gd name="connsiteX23-8637" fmla="*/ 2431388 w 2804294"/>
              <a:gd name="connsiteY23-8638" fmla="*/ 108412 h 2148093"/>
              <a:gd name="connsiteX24-8639" fmla="*/ 2365894 w 2804294"/>
              <a:gd name="connsiteY24-8640" fmla="*/ 31048 h 2148093"/>
              <a:gd name="connsiteX25-8641" fmla="*/ 2316149 w 2804294"/>
              <a:gd name="connsiteY25-8642" fmla="*/ 3413 h 2148093"/>
              <a:gd name="connsiteX26-8643" fmla="*/ 2260399 w 2804294"/>
              <a:gd name="connsiteY26-8644" fmla="*/ 30241 h 2148093"/>
              <a:gd name="connsiteX27-8645" fmla="*/ 2062735 w 2804294"/>
              <a:gd name="connsiteY27-8646" fmla="*/ 84664 h 2148093"/>
              <a:gd name="connsiteX28-8647" fmla="*/ 2055675 w 2804294"/>
              <a:gd name="connsiteY28-8648" fmla="*/ 8405 h 2148093"/>
              <a:gd name="connsiteX29-8649" fmla="*/ 1800607 w 2804294"/>
              <a:gd name="connsiteY29-8650" fmla="*/ 73932 h 2148093"/>
              <a:gd name="connsiteX30-8651" fmla="*/ 1639904 w 2804294"/>
              <a:gd name="connsiteY30-8652" fmla="*/ 67996 h 2148093"/>
              <a:gd name="connsiteX31-8653" fmla="*/ 1654887 w 2804294"/>
              <a:gd name="connsiteY31-8654" fmla="*/ 135096 h 2148093"/>
              <a:gd name="connsiteX32-8655" fmla="*/ 1648887 w 2804294"/>
              <a:gd name="connsiteY32-8656" fmla="*/ 405166 h 2148093"/>
              <a:gd name="connsiteX33-8657" fmla="*/ 1466148 w 2804294"/>
              <a:gd name="connsiteY33-8658" fmla="*/ 608391 h 2148093"/>
              <a:gd name="connsiteX34-8659" fmla="*/ 1231973 w 2804294"/>
              <a:gd name="connsiteY34-8660" fmla="*/ 742206 h 2148093"/>
              <a:gd name="connsiteX35-8661" fmla="*/ 1109309 w 2804294"/>
              <a:gd name="connsiteY35-8662" fmla="*/ 853718 h 2148093"/>
              <a:gd name="connsiteX36-8663" fmla="*/ 640958 w 2804294"/>
              <a:gd name="connsiteY36-8664" fmla="*/ 976381 h 2148093"/>
              <a:gd name="connsiteX37-8665" fmla="*/ 574051 w 2804294"/>
              <a:gd name="connsiteY37-8666" fmla="*/ 1032138 h 2148093"/>
              <a:gd name="connsiteX38-8667" fmla="*/ 440236 w 2804294"/>
              <a:gd name="connsiteY38-8668" fmla="*/ 1355523 h 2148093"/>
              <a:gd name="connsiteX39-8669" fmla="*/ 128002 w 2804294"/>
              <a:gd name="connsiteY39-8670" fmla="*/ 1522791 h 2148093"/>
              <a:gd name="connsiteX40-8671" fmla="*/ 105699 w 2804294"/>
              <a:gd name="connsiteY40-8672" fmla="*/ 1667757 h 2148093"/>
              <a:gd name="connsiteX41-8673" fmla="*/ 27641 w 2804294"/>
              <a:gd name="connsiteY41-8674" fmla="*/ 1779269 h 2148093"/>
              <a:gd name="connsiteX42-8675" fmla="*/ 5338 w 2804294"/>
              <a:gd name="connsiteY42-8676" fmla="*/ 2013445 h 2148093"/>
              <a:gd name="connsiteX43-8677" fmla="*/ 1063 w 2804294"/>
              <a:gd name="connsiteY43-8678" fmla="*/ 1972356 h 2148093"/>
              <a:gd name="connsiteX44-8679" fmla="*/ 17008 w 2804294"/>
              <a:gd name="connsiteY44-8680" fmla="*/ 2025032 h 2148093"/>
              <a:gd name="connsiteX45-8681" fmla="*/ 128636 w 2804294"/>
              <a:gd name="connsiteY45-8682" fmla="*/ 2025679 h 2148093"/>
              <a:gd name="connsiteX46-8683" fmla="*/ 21003 w 2804294"/>
              <a:gd name="connsiteY46-8684" fmla="*/ 2021468 h 2148093"/>
              <a:gd name="connsiteX47-8685" fmla="*/ 346055 w 2804294"/>
              <a:gd name="connsiteY47-8686" fmla="*/ 2115785 h 2148093"/>
              <a:gd name="connsiteX0-8687" fmla="*/ 108153 w 2804294"/>
              <a:gd name="connsiteY0-8688" fmla="*/ 2021164 h 2148093"/>
              <a:gd name="connsiteX1-8689" fmla="*/ 96280 w 2804294"/>
              <a:gd name="connsiteY1-8690" fmla="*/ 2009290 h 2148093"/>
              <a:gd name="connsiteX2-8691" fmla="*/ 102217 w 2804294"/>
              <a:gd name="connsiteY2-8692" fmla="*/ 2021164 h 2148093"/>
              <a:gd name="connsiteX3-8693" fmla="*/ 261945 w 2804294"/>
              <a:gd name="connsiteY3-8694" fmla="*/ 2096736 h 2148093"/>
              <a:gd name="connsiteX4-8695" fmla="*/ 251002 w 2804294"/>
              <a:gd name="connsiteY4-8696" fmla="*/ 2115503 h 2148093"/>
              <a:gd name="connsiteX5-8697" fmla="*/ 588466 w 2804294"/>
              <a:gd name="connsiteY5-8698" fmla="*/ 2096470 h 2148093"/>
              <a:gd name="connsiteX6-8699" fmla="*/ 941719 w 2804294"/>
              <a:gd name="connsiteY6-8700" fmla="*/ 2034439 h 2148093"/>
              <a:gd name="connsiteX7-8701" fmla="*/ 964343 w 2804294"/>
              <a:gd name="connsiteY7-8702" fmla="*/ 1600850 h 2148093"/>
              <a:gd name="connsiteX8-8703" fmla="*/ 2079465 w 2804294"/>
              <a:gd name="connsiteY8-8704" fmla="*/ 1589699 h 2148093"/>
              <a:gd name="connsiteX9-8705" fmla="*/ 2068314 w 2804294"/>
              <a:gd name="connsiteY9-8706" fmla="*/ 742206 h 2148093"/>
              <a:gd name="connsiteX10-8707" fmla="*/ 2224431 w 2804294"/>
              <a:gd name="connsiteY10-8708" fmla="*/ 641845 h 2148093"/>
              <a:gd name="connsiteX11-8709" fmla="*/ 2570119 w 2804294"/>
              <a:gd name="connsiteY11-8710" fmla="*/ 463425 h 2148093"/>
              <a:gd name="connsiteX12-8711" fmla="*/ 2804294 w 2804294"/>
              <a:gd name="connsiteY12-8712" fmla="*/ 474577 h 2148093"/>
              <a:gd name="connsiteX13-8713" fmla="*/ 2804294 w 2804294"/>
              <a:gd name="connsiteY13-8714" fmla="*/ 307308 h 2148093"/>
              <a:gd name="connsiteX14-8715" fmla="*/ 2759690 w 2804294"/>
              <a:gd name="connsiteY14-8716" fmla="*/ 229250 h 2148093"/>
              <a:gd name="connsiteX15-8717" fmla="*/ 2748538 w 2804294"/>
              <a:gd name="connsiteY15-8718" fmla="*/ 195796 h 2148093"/>
              <a:gd name="connsiteX16-8719" fmla="*/ 2692782 w 2804294"/>
              <a:gd name="connsiteY16-8720" fmla="*/ 173494 h 2148093"/>
              <a:gd name="connsiteX17-8721" fmla="*/ 2681631 w 2804294"/>
              <a:gd name="connsiteY17-8722" fmla="*/ 218099 h 2148093"/>
              <a:gd name="connsiteX18-8723" fmla="*/ 2558968 w 2804294"/>
              <a:gd name="connsiteY18-8724" fmla="*/ 184645 h 2148093"/>
              <a:gd name="connsiteX19-8725" fmla="*/ 2524923 w 2804294"/>
              <a:gd name="connsiteY19-8726" fmla="*/ 192456 h 2148093"/>
              <a:gd name="connsiteX20-8727" fmla="*/ 2414002 w 2804294"/>
              <a:gd name="connsiteY20-8728" fmla="*/ 240401 h 2148093"/>
              <a:gd name="connsiteX21-8729" fmla="*/ 2440538 w 2804294"/>
              <a:gd name="connsiteY21-8730" fmla="*/ 202360 h 2148093"/>
              <a:gd name="connsiteX22-8731" fmla="*/ 2431388 w 2804294"/>
              <a:gd name="connsiteY22-8732" fmla="*/ 108412 h 2148093"/>
              <a:gd name="connsiteX23-8733" fmla="*/ 2365894 w 2804294"/>
              <a:gd name="connsiteY23-8734" fmla="*/ 31048 h 2148093"/>
              <a:gd name="connsiteX24-8735" fmla="*/ 2316149 w 2804294"/>
              <a:gd name="connsiteY24-8736" fmla="*/ 3413 h 2148093"/>
              <a:gd name="connsiteX25-8737" fmla="*/ 2260399 w 2804294"/>
              <a:gd name="connsiteY25-8738" fmla="*/ 30241 h 2148093"/>
              <a:gd name="connsiteX26-8739" fmla="*/ 2062735 w 2804294"/>
              <a:gd name="connsiteY26-8740" fmla="*/ 84664 h 2148093"/>
              <a:gd name="connsiteX27-8741" fmla="*/ 2055675 w 2804294"/>
              <a:gd name="connsiteY27-8742" fmla="*/ 8405 h 2148093"/>
              <a:gd name="connsiteX28-8743" fmla="*/ 1800607 w 2804294"/>
              <a:gd name="connsiteY28-8744" fmla="*/ 73932 h 2148093"/>
              <a:gd name="connsiteX29-8745" fmla="*/ 1639904 w 2804294"/>
              <a:gd name="connsiteY29-8746" fmla="*/ 67996 h 2148093"/>
              <a:gd name="connsiteX30-8747" fmla="*/ 1654887 w 2804294"/>
              <a:gd name="connsiteY30-8748" fmla="*/ 135096 h 2148093"/>
              <a:gd name="connsiteX31-8749" fmla="*/ 1648887 w 2804294"/>
              <a:gd name="connsiteY31-8750" fmla="*/ 405166 h 2148093"/>
              <a:gd name="connsiteX32-8751" fmla="*/ 1466148 w 2804294"/>
              <a:gd name="connsiteY32-8752" fmla="*/ 608391 h 2148093"/>
              <a:gd name="connsiteX33-8753" fmla="*/ 1231973 w 2804294"/>
              <a:gd name="connsiteY33-8754" fmla="*/ 742206 h 2148093"/>
              <a:gd name="connsiteX34-8755" fmla="*/ 1109309 w 2804294"/>
              <a:gd name="connsiteY34-8756" fmla="*/ 853718 h 2148093"/>
              <a:gd name="connsiteX35-8757" fmla="*/ 640958 w 2804294"/>
              <a:gd name="connsiteY35-8758" fmla="*/ 976381 h 2148093"/>
              <a:gd name="connsiteX36-8759" fmla="*/ 574051 w 2804294"/>
              <a:gd name="connsiteY36-8760" fmla="*/ 1032138 h 2148093"/>
              <a:gd name="connsiteX37-8761" fmla="*/ 440236 w 2804294"/>
              <a:gd name="connsiteY37-8762" fmla="*/ 1355523 h 2148093"/>
              <a:gd name="connsiteX38-8763" fmla="*/ 128002 w 2804294"/>
              <a:gd name="connsiteY38-8764" fmla="*/ 1522791 h 2148093"/>
              <a:gd name="connsiteX39-8765" fmla="*/ 105699 w 2804294"/>
              <a:gd name="connsiteY39-8766" fmla="*/ 1667757 h 2148093"/>
              <a:gd name="connsiteX40-8767" fmla="*/ 27641 w 2804294"/>
              <a:gd name="connsiteY40-8768" fmla="*/ 1779269 h 2148093"/>
              <a:gd name="connsiteX41-8769" fmla="*/ 5338 w 2804294"/>
              <a:gd name="connsiteY41-8770" fmla="*/ 2013445 h 2148093"/>
              <a:gd name="connsiteX42-8771" fmla="*/ 1063 w 2804294"/>
              <a:gd name="connsiteY42-8772" fmla="*/ 1972356 h 2148093"/>
              <a:gd name="connsiteX43-8773" fmla="*/ 17008 w 2804294"/>
              <a:gd name="connsiteY43-8774" fmla="*/ 2025032 h 2148093"/>
              <a:gd name="connsiteX44-8775" fmla="*/ 128636 w 2804294"/>
              <a:gd name="connsiteY44-8776" fmla="*/ 2025679 h 2148093"/>
              <a:gd name="connsiteX45-8777" fmla="*/ 21003 w 2804294"/>
              <a:gd name="connsiteY45-8778" fmla="*/ 2021468 h 2148093"/>
              <a:gd name="connsiteX46-8779" fmla="*/ 346055 w 2804294"/>
              <a:gd name="connsiteY46-8780" fmla="*/ 2115785 h 2148093"/>
              <a:gd name="connsiteX0-8781" fmla="*/ 108153 w 2804294"/>
              <a:gd name="connsiteY0-8782" fmla="*/ 2021164 h 2148093"/>
              <a:gd name="connsiteX1-8783" fmla="*/ 96280 w 2804294"/>
              <a:gd name="connsiteY1-8784" fmla="*/ 2009290 h 2148093"/>
              <a:gd name="connsiteX2-8785" fmla="*/ 102217 w 2804294"/>
              <a:gd name="connsiteY2-8786" fmla="*/ 2021164 h 2148093"/>
              <a:gd name="connsiteX3-8787" fmla="*/ 261945 w 2804294"/>
              <a:gd name="connsiteY3-8788" fmla="*/ 2096736 h 2148093"/>
              <a:gd name="connsiteX4-8789" fmla="*/ 251002 w 2804294"/>
              <a:gd name="connsiteY4-8790" fmla="*/ 2115503 h 2148093"/>
              <a:gd name="connsiteX5-8791" fmla="*/ 588466 w 2804294"/>
              <a:gd name="connsiteY5-8792" fmla="*/ 2096470 h 2148093"/>
              <a:gd name="connsiteX6-8793" fmla="*/ 941719 w 2804294"/>
              <a:gd name="connsiteY6-8794" fmla="*/ 2034439 h 2148093"/>
              <a:gd name="connsiteX7-8795" fmla="*/ 964343 w 2804294"/>
              <a:gd name="connsiteY7-8796" fmla="*/ 1600850 h 2148093"/>
              <a:gd name="connsiteX8-8797" fmla="*/ 2079465 w 2804294"/>
              <a:gd name="connsiteY8-8798" fmla="*/ 1589699 h 2148093"/>
              <a:gd name="connsiteX9-8799" fmla="*/ 2068314 w 2804294"/>
              <a:gd name="connsiteY9-8800" fmla="*/ 742206 h 2148093"/>
              <a:gd name="connsiteX10-8801" fmla="*/ 2224431 w 2804294"/>
              <a:gd name="connsiteY10-8802" fmla="*/ 641845 h 2148093"/>
              <a:gd name="connsiteX11-8803" fmla="*/ 2570119 w 2804294"/>
              <a:gd name="connsiteY11-8804" fmla="*/ 463425 h 2148093"/>
              <a:gd name="connsiteX12-8805" fmla="*/ 2804294 w 2804294"/>
              <a:gd name="connsiteY12-8806" fmla="*/ 474577 h 2148093"/>
              <a:gd name="connsiteX13-8807" fmla="*/ 2804294 w 2804294"/>
              <a:gd name="connsiteY13-8808" fmla="*/ 307308 h 2148093"/>
              <a:gd name="connsiteX14-8809" fmla="*/ 2759690 w 2804294"/>
              <a:gd name="connsiteY14-8810" fmla="*/ 229250 h 2148093"/>
              <a:gd name="connsiteX15-8811" fmla="*/ 2748538 w 2804294"/>
              <a:gd name="connsiteY15-8812" fmla="*/ 195796 h 2148093"/>
              <a:gd name="connsiteX16-8813" fmla="*/ 2692782 w 2804294"/>
              <a:gd name="connsiteY16-8814" fmla="*/ 173494 h 2148093"/>
              <a:gd name="connsiteX17-8815" fmla="*/ 2681631 w 2804294"/>
              <a:gd name="connsiteY17-8816" fmla="*/ 218099 h 2148093"/>
              <a:gd name="connsiteX18-8817" fmla="*/ 2558968 w 2804294"/>
              <a:gd name="connsiteY18-8818" fmla="*/ 184645 h 2148093"/>
              <a:gd name="connsiteX19-8819" fmla="*/ 2524923 w 2804294"/>
              <a:gd name="connsiteY19-8820" fmla="*/ 192456 h 2148093"/>
              <a:gd name="connsiteX20-8821" fmla="*/ 2440538 w 2804294"/>
              <a:gd name="connsiteY20-8822" fmla="*/ 202360 h 2148093"/>
              <a:gd name="connsiteX21-8823" fmla="*/ 2431388 w 2804294"/>
              <a:gd name="connsiteY21-8824" fmla="*/ 108412 h 2148093"/>
              <a:gd name="connsiteX22-8825" fmla="*/ 2365894 w 2804294"/>
              <a:gd name="connsiteY22-8826" fmla="*/ 31048 h 2148093"/>
              <a:gd name="connsiteX23-8827" fmla="*/ 2316149 w 2804294"/>
              <a:gd name="connsiteY23-8828" fmla="*/ 3413 h 2148093"/>
              <a:gd name="connsiteX24-8829" fmla="*/ 2260399 w 2804294"/>
              <a:gd name="connsiteY24-8830" fmla="*/ 30241 h 2148093"/>
              <a:gd name="connsiteX25-8831" fmla="*/ 2062735 w 2804294"/>
              <a:gd name="connsiteY25-8832" fmla="*/ 84664 h 2148093"/>
              <a:gd name="connsiteX26-8833" fmla="*/ 2055675 w 2804294"/>
              <a:gd name="connsiteY26-8834" fmla="*/ 8405 h 2148093"/>
              <a:gd name="connsiteX27-8835" fmla="*/ 1800607 w 2804294"/>
              <a:gd name="connsiteY27-8836" fmla="*/ 73932 h 2148093"/>
              <a:gd name="connsiteX28-8837" fmla="*/ 1639904 w 2804294"/>
              <a:gd name="connsiteY28-8838" fmla="*/ 67996 h 2148093"/>
              <a:gd name="connsiteX29-8839" fmla="*/ 1654887 w 2804294"/>
              <a:gd name="connsiteY29-8840" fmla="*/ 135096 h 2148093"/>
              <a:gd name="connsiteX30-8841" fmla="*/ 1648887 w 2804294"/>
              <a:gd name="connsiteY30-8842" fmla="*/ 405166 h 2148093"/>
              <a:gd name="connsiteX31-8843" fmla="*/ 1466148 w 2804294"/>
              <a:gd name="connsiteY31-8844" fmla="*/ 608391 h 2148093"/>
              <a:gd name="connsiteX32-8845" fmla="*/ 1231973 w 2804294"/>
              <a:gd name="connsiteY32-8846" fmla="*/ 742206 h 2148093"/>
              <a:gd name="connsiteX33-8847" fmla="*/ 1109309 w 2804294"/>
              <a:gd name="connsiteY33-8848" fmla="*/ 853718 h 2148093"/>
              <a:gd name="connsiteX34-8849" fmla="*/ 640958 w 2804294"/>
              <a:gd name="connsiteY34-8850" fmla="*/ 976381 h 2148093"/>
              <a:gd name="connsiteX35-8851" fmla="*/ 574051 w 2804294"/>
              <a:gd name="connsiteY35-8852" fmla="*/ 1032138 h 2148093"/>
              <a:gd name="connsiteX36-8853" fmla="*/ 440236 w 2804294"/>
              <a:gd name="connsiteY36-8854" fmla="*/ 1355523 h 2148093"/>
              <a:gd name="connsiteX37-8855" fmla="*/ 128002 w 2804294"/>
              <a:gd name="connsiteY37-8856" fmla="*/ 1522791 h 2148093"/>
              <a:gd name="connsiteX38-8857" fmla="*/ 105699 w 2804294"/>
              <a:gd name="connsiteY38-8858" fmla="*/ 1667757 h 2148093"/>
              <a:gd name="connsiteX39-8859" fmla="*/ 27641 w 2804294"/>
              <a:gd name="connsiteY39-8860" fmla="*/ 1779269 h 2148093"/>
              <a:gd name="connsiteX40-8861" fmla="*/ 5338 w 2804294"/>
              <a:gd name="connsiteY40-8862" fmla="*/ 2013445 h 2148093"/>
              <a:gd name="connsiteX41-8863" fmla="*/ 1063 w 2804294"/>
              <a:gd name="connsiteY41-8864" fmla="*/ 1972356 h 2148093"/>
              <a:gd name="connsiteX42-8865" fmla="*/ 17008 w 2804294"/>
              <a:gd name="connsiteY42-8866" fmla="*/ 2025032 h 2148093"/>
              <a:gd name="connsiteX43-8867" fmla="*/ 128636 w 2804294"/>
              <a:gd name="connsiteY43-8868" fmla="*/ 2025679 h 2148093"/>
              <a:gd name="connsiteX44-8869" fmla="*/ 21003 w 2804294"/>
              <a:gd name="connsiteY44-8870" fmla="*/ 2021468 h 2148093"/>
              <a:gd name="connsiteX45-8871" fmla="*/ 346055 w 2804294"/>
              <a:gd name="connsiteY45-8872" fmla="*/ 2115785 h 2148093"/>
              <a:gd name="connsiteX0-8873" fmla="*/ 108153 w 2804294"/>
              <a:gd name="connsiteY0-8874" fmla="*/ 2021164 h 2148093"/>
              <a:gd name="connsiteX1-8875" fmla="*/ 96280 w 2804294"/>
              <a:gd name="connsiteY1-8876" fmla="*/ 2009290 h 2148093"/>
              <a:gd name="connsiteX2-8877" fmla="*/ 102217 w 2804294"/>
              <a:gd name="connsiteY2-8878" fmla="*/ 2021164 h 2148093"/>
              <a:gd name="connsiteX3-8879" fmla="*/ 261945 w 2804294"/>
              <a:gd name="connsiteY3-8880" fmla="*/ 2096736 h 2148093"/>
              <a:gd name="connsiteX4-8881" fmla="*/ 251002 w 2804294"/>
              <a:gd name="connsiteY4-8882" fmla="*/ 2115503 h 2148093"/>
              <a:gd name="connsiteX5-8883" fmla="*/ 588466 w 2804294"/>
              <a:gd name="connsiteY5-8884" fmla="*/ 2096470 h 2148093"/>
              <a:gd name="connsiteX6-8885" fmla="*/ 941719 w 2804294"/>
              <a:gd name="connsiteY6-8886" fmla="*/ 2034439 h 2148093"/>
              <a:gd name="connsiteX7-8887" fmla="*/ 964343 w 2804294"/>
              <a:gd name="connsiteY7-8888" fmla="*/ 1600850 h 2148093"/>
              <a:gd name="connsiteX8-8889" fmla="*/ 2079465 w 2804294"/>
              <a:gd name="connsiteY8-8890" fmla="*/ 1589699 h 2148093"/>
              <a:gd name="connsiteX9-8891" fmla="*/ 2068314 w 2804294"/>
              <a:gd name="connsiteY9-8892" fmla="*/ 742206 h 2148093"/>
              <a:gd name="connsiteX10-8893" fmla="*/ 2224431 w 2804294"/>
              <a:gd name="connsiteY10-8894" fmla="*/ 641845 h 2148093"/>
              <a:gd name="connsiteX11-8895" fmla="*/ 2570119 w 2804294"/>
              <a:gd name="connsiteY11-8896" fmla="*/ 463425 h 2148093"/>
              <a:gd name="connsiteX12-8897" fmla="*/ 2804294 w 2804294"/>
              <a:gd name="connsiteY12-8898" fmla="*/ 474577 h 2148093"/>
              <a:gd name="connsiteX13-8899" fmla="*/ 2804294 w 2804294"/>
              <a:gd name="connsiteY13-8900" fmla="*/ 307308 h 2148093"/>
              <a:gd name="connsiteX14-8901" fmla="*/ 2759690 w 2804294"/>
              <a:gd name="connsiteY14-8902" fmla="*/ 229250 h 2148093"/>
              <a:gd name="connsiteX15-8903" fmla="*/ 2748538 w 2804294"/>
              <a:gd name="connsiteY15-8904" fmla="*/ 195796 h 2148093"/>
              <a:gd name="connsiteX16-8905" fmla="*/ 2692782 w 2804294"/>
              <a:gd name="connsiteY16-8906" fmla="*/ 173494 h 2148093"/>
              <a:gd name="connsiteX17-8907" fmla="*/ 2681631 w 2804294"/>
              <a:gd name="connsiteY17-8908" fmla="*/ 218099 h 2148093"/>
              <a:gd name="connsiteX18-8909" fmla="*/ 2558968 w 2804294"/>
              <a:gd name="connsiteY18-8910" fmla="*/ 184645 h 2148093"/>
              <a:gd name="connsiteX19-8911" fmla="*/ 2524923 w 2804294"/>
              <a:gd name="connsiteY19-8912" fmla="*/ 192456 h 2148093"/>
              <a:gd name="connsiteX20-8913" fmla="*/ 2440538 w 2804294"/>
              <a:gd name="connsiteY20-8914" fmla="*/ 202360 h 2148093"/>
              <a:gd name="connsiteX21-8915" fmla="*/ 2431388 w 2804294"/>
              <a:gd name="connsiteY21-8916" fmla="*/ 108412 h 2148093"/>
              <a:gd name="connsiteX22-8917" fmla="*/ 2365894 w 2804294"/>
              <a:gd name="connsiteY22-8918" fmla="*/ 31048 h 2148093"/>
              <a:gd name="connsiteX23-8919" fmla="*/ 2316149 w 2804294"/>
              <a:gd name="connsiteY23-8920" fmla="*/ 3413 h 2148093"/>
              <a:gd name="connsiteX24-8921" fmla="*/ 2260399 w 2804294"/>
              <a:gd name="connsiteY24-8922" fmla="*/ 30241 h 2148093"/>
              <a:gd name="connsiteX25-8923" fmla="*/ 2062735 w 2804294"/>
              <a:gd name="connsiteY25-8924" fmla="*/ 84664 h 2148093"/>
              <a:gd name="connsiteX26-8925" fmla="*/ 2055675 w 2804294"/>
              <a:gd name="connsiteY26-8926" fmla="*/ 8405 h 2148093"/>
              <a:gd name="connsiteX27-8927" fmla="*/ 1800607 w 2804294"/>
              <a:gd name="connsiteY27-8928" fmla="*/ 73932 h 2148093"/>
              <a:gd name="connsiteX28-8929" fmla="*/ 1639726 w 2804294"/>
              <a:gd name="connsiteY28-8930" fmla="*/ 67985 h 2148093"/>
              <a:gd name="connsiteX29-8931" fmla="*/ 1654887 w 2804294"/>
              <a:gd name="connsiteY29-8932" fmla="*/ 135096 h 2148093"/>
              <a:gd name="connsiteX30-8933" fmla="*/ 1648887 w 2804294"/>
              <a:gd name="connsiteY30-8934" fmla="*/ 405166 h 2148093"/>
              <a:gd name="connsiteX31-8935" fmla="*/ 1466148 w 2804294"/>
              <a:gd name="connsiteY31-8936" fmla="*/ 608391 h 2148093"/>
              <a:gd name="connsiteX32-8937" fmla="*/ 1231973 w 2804294"/>
              <a:gd name="connsiteY32-8938" fmla="*/ 742206 h 2148093"/>
              <a:gd name="connsiteX33-8939" fmla="*/ 1109309 w 2804294"/>
              <a:gd name="connsiteY33-8940" fmla="*/ 853718 h 2148093"/>
              <a:gd name="connsiteX34-8941" fmla="*/ 640958 w 2804294"/>
              <a:gd name="connsiteY34-8942" fmla="*/ 976381 h 2148093"/>
              <a:gd name="connsiteX35-8943" fmla="*/ 574051 w 2804294"/>
              <a:gd name="connsiteY35-8944" fmla="*/ 1032138 h 2148093"/>
              <a:gd name="connsiteX36-8945" fmla="*/ 440236 w 2804294"/>
              <a:gd name="connsiteY36-8946" fmla="*/ 1355523 h 2148093"/>
              <a:gd name="connsiteX37-8947" fmla="*/ 128002 w 2804294"/>
              <a:gd name="connsiteY37-8948" fmla="*/ 1522791 h 2148093"/>
              <a:gd name="connsiteX38-8949" fmla="*/ 105699 w 2804294"/>
              <a:gd name="connsiteY38-8950" fmla="*/ 1667757 h 2148093"/>
              <a:gd name="connsiteX39-8951" fmla="*/ 27641 w 2804294"/>
              <a:gd name="connsiteY39-8952" fmla="*/ 1779269 h 2148093"/>
              <a:gd name="connsiteX40-8953" fmla="*/ 5338 w 2804294"/>
              <a:gd name="connsiteY40-8954" fmla="*/ 2013445 h 2148093"/>
              <a:gd name="connsiteX41-8955" fmla="*/ 1063 w 2804294"/>
              <a:gd name="connsiteY41-8956" fmla="*/ 1972356 h 2148093"/>
              <a:gd name="connsiteX42-8957" fmla="*/ 17008 w 2804294"/>
              <a:gd name="connsiteY42-8958" fmla="*/ 2025032 h 2148093"/>
              <a:gd name="connsiteX43-8959" fmla="*/ 128636 w 2804294"/>
              <a:gd name="connsiteY43-8960" fmla="*/ 2025679 h 2148093"/>
              <a:gd name="connsiteX44-8961" fmla="*/ 21003 w 2804294"/>
              <a:gd name="connsiteY44-8962" fmla="*/ 2021468 h 2148093"/>
              <a:gd name="connsiteX45-8963" fmla="*/ 346055 w 2804294"/>
              <a:gd name="connsiteY45-8964" fmla="*/ 2115785 h 2148093"/>
              <a:gd name="connsiteX0-8965" fmla="*/ 108153 w 2804294"/>
              <a:gd name="connsiteY0-8966" fmla="*/ 2021164 h 2148093"/>
              <a:gd name="connsiteX1-8967" fmla="*/ 96280 w 2804294"/>
              <a:gd name="connsiteY1-8968" fmla="*/ 2009290 h 2148093"/>
              <a:gd name="connsiteX2-8969" fmla="*/ 102217 w 2804294"/>
              <a:gd name="connsiteY2-8970" fmla="*/ 2021164 h 2148093"/>
              <a:gd name="connsiteX3-8971" fmla="*/ 261945 w 2804294"/>
              <a:gd name="connsiteY3-8972" fmla="*/ 2096736 h 2148093"/>
              <a:gd name="connsiteX4-8973" fmla="*/ 251002 w 2804294"/>
              <a:gd name="connsiteY4-8974" fmla="*/ 2115503 h 2148093"/>
              <a:gd name="connsiteX5-8975" fmla="*/ 588466 w 2804294"/>
              <a:gd name="connsiteY5-8976" fmla="*/ 2096470 h 2148093"/>
              <a:gd name="connsiteX6-8977" fmla="*/ 941719 w 2804294"/>
              <a:gd name="connsiteY6-8978" fmla="*/ 2034439 h 2148093"/>
              <a:gd name="connsiteX7-8979" fmla="*/ 964343 w 2804294"/>
              <a:gd name="connsiteY7-8980" fmla="*/ 1600850 h 2148093"/>
              <a:gd name="connsiteX8-8981" fmla="*/ 2079465 w 2804294"/>
              <a:gd name="connsiteY8-8982" fmla="*/ 1589699 h 2148093"/>
              <a:gd name="connsiteX9-8983" fmla="*/ 2068314 w 2804294"/>
              <a:gd name="connsiteY9-8984" fmla="*/ 742206 h 2148093"/>
              <a:gd name="connsiteX10-8985" fmla="*/ 2224431 w 2804294"/>
              <a:gd name="connsiteY10-8986" fmla="*/ 641845 h 2148093"/>
              <a:gd name="connsiteX11-8987" fmla="*/ 2570119 w 2804294"/>
              <a:gd name="connsiteY11-8988" fmla="*/ 463425 h 2148093"/>
              <a:gd name="connsiteX12-8989" fmla="*/ 2804294 w 2804294"/>
              <a:gd name="connsiteY12-8990" fmla="*/ 474577 h 2148093"/>
              <a:gd name="connsiteX13-8991" fmla="*/ 2804294 w 2804294"/>
              <a:gd name="connsiteY13-8992" fmla="*/ 307308 h 2148093"/>
              <a:gd name="connsiteX14-8993" fmla="*/ 2759690 w 2804294"/>
              <a:gd name="connsiteY14-8994" fmla="*/ 229250 h 2148093"/>
              <a:gd name="connsiteX15-8995" fmla="*/ 2748538 w 2804294"/>
              <a:gd name="connsiteY15-8996" fmla="*/ 195796 h 2148093"/>
              <a:gd name="connsiteX16-8997" fmla="*/ 2692782 w 2804294"/>
              <a:gd name="connsiteY16-8998" fmla="*/ 173494 h 2148093"/>
              <a:gd name="connsiteX17-8999" fmla="*/ 2681631 w 2804294"/>
              <a:gd name="connsiteY17-9000" fmla="*/ 218099 h 2148093"/>
              <a:gd name="connsiteX18-9001" fmla="*/ 2558968 w 2804294"/>
              <a:gd name="connsiteY18-9002" fmla="*/ 184645 h 2148093"/>
              <a:gd name="connsiteX19-9003" fmla="*/ 2524923 w 2804294"/>
              <a:gd name="connsiteY19-9004" fmla="*/ 192456 h 2148093"/>
              <a:gd name="connsiteX20-9005" fmla="*/ 2440538 w 2804294"/>
              <a:gd name="connsiteY20-9006" fmla="*/ 202360 h 2148093"/>
              <a:gd name="connsiteX21-9007" fmla="*/ 2431388 w 2804294"/>
              <a:gd name="connsiteY21-9008" fmla="*/ 108412 h 2148093"/>
              <a:gd name="connsiteX22-9009" fmla="*/ 2365894 w 2804294"/>
              <a:gd name="connsiteY22-9010" fmla="*/ 31048 h 2148093"/>
              <a:gd name="connsiteX23-9011" fmla="*/ 2316149 w 2804294"/>
              <a:gd name="connsiteY23-9012" fmla="*/ 3413 h 2148093"/>
              <a:gd name="connsiteX24-9013" fmla="*/ 2260399 w 2804294"/>
              <a:gd name="connsiteY24-9014" fmla="*/ 30241 h 2148093"/>
              <a:gd name="connsiteX25-9015" fmla="*/ 2062735 w 2804294"/>
              <a:gd name="connsiteY25-9016" fmla="*/ 84664 h 2148093"/>
              <a:gd name="connsiteX26-9017" fmla="*/ 2055675 w 2804294"/>
              <a:gd name="connsiteY26-9018" fmla="*/ 8405 h 2148093"/>
              <a:gd name="connsiteX27-9019" fmla="*/ 1800411 w 2804294"/>
              <a:gd name="connsiteY27-9020" fmla="*/ 73920 h 2148093"/>
              <a:gd name="connsiteX28-9021" fmla="*/ 1639726 w 2804294"/>
              <a:gd name="connsiteY28-9022" fmla="*/ 67985 h 2148093"/>
              <a:gd name="connsiteX29-9023" fmla="*/ 1654887 w 2804294"/>
              <a:gd name="connsiteY29-9024" fmla="*/ 135096 h 2148093"/>
              <a:gd name="connsiteX30-9025" fmla="*/ 1648887 w 2804294"/>
              <a:gd name="connsiteY30-9026" fmla="*/ 405166 h 2148093"/>
              <a:gd name="connsiteX31-9027" fmla="*/ 1466148 w 2804294"/>
              <a:gd name="connsiteY31-9028" fmla="*/ 608391 h 2148093"/>
              <a:gd name="connsiteX32-9029" fmla="*/ 1231973 w 2804294"/>
              <a:gd name="connsiteY32-9030" fmla="*/ 742206 h 2148093"/>
              <a:gd name="connsiteX33-9031" fmla="*/ 1109309 w 2804294"/>
              <a:gd name="connsiteY33-9032" fmla="*/ 853718 h 2148093"/>
              <a:gd name="connsiteX34-9033" fmla="*/ 640958 w 2804294"/>
              <a:gd name="connsiteY34-9034" fmla="*/ 976381 h 2148093"/>
              <a:gd name="connsiteX35-9035" fmla="*/ 574051 w 2804294"/>
              <a:gd name="connsiteY35-9036" fmla="*/ 1032138 h 2148093"/>
              <a:gd name="connsiteX36-9037" fmla="*/ 440236 w 2804294"/>
              <a:gd name="connsiteY36-9038" fmla="*/ 1355523 h 2148093"/>
              <a:gd name="connsiteX37-9039" fmla="*/ 128002 w 2804294"/>
              <a:gd name="connsiteY37-9040" fmla="*/ 1522791 h 2148093"/>
              <a:gd name="connsiteX38-9041" fmla="*/ 105699 w 2804294"/>
              <a:gd name="connsiteY38-9042" fmla="*/ 1667757 h 2148093"/>
              <a:gd name="connsiteX39-9043" fmla="*/ 27641 w 2804294"/>
              <a:gd name="connsiteY39-9044" fmla="*/ 1779269 h 2148093"/>
              <a:gd name="connsiteX40-9045" fmla="*/ 5338 w 2804294"/>
              <a:gd name="connsiteY40-9046" fmla="*/ 2013445 h 2148093"/>
              <a:gd name="connsiteX41-9047" fmla="*/ 1063 w 2804294"/>
              <a:gd name="connsiteY41-9048" fmla="*/ 1972356 h 2148093"/>
              <a:gd name="connsiteX42-9049" fmla="*/ 17008 w 2804294"/>
              <a:gd name="connsiteY42-9050" fmla="*/ 2025032 h 2148093"/>
              <a:gd name="connsiteX43-9051" fmla="*/ 128636 w 2804294"/>
              <a:gd name="connsiteY43-9052" fmla="*/ 2025679 h 2148093"/>
              <a:gd name="connsiteX44-9053" fmla="*/ 21003 w 2804294"/>
              <a:gd name="connsiteY44-9054" fmla="*/ 2021468 h 2148093"/>
              <a:gd name="connsiteX45-9055" fmla="*/ 346055 w 2804294"/>
              <a:gd name="connsiteY45-9056" fmla="*/ 2115785 h 2148093"/>
              <a:gd name="connsiteX0-9057" fmla="*/ 108153 w 2804294"/>
              <a:gd name="connsiteY0-9058" fmla="*/ 2021164 h 2148093"/>
              <a:gd name="connsiteX1-9059" fmla="*/ 96280 w 2804294"/>
              <a:gd name="connsiteY1-9060" fmla="*/ 2009290 h 2148093"/>
              <a:gd name="connsiteX2-9061" fmla="*/ 102217 w 2804294"/>
              <a:gd name="connsiteY2-9062" fmla="*/ 2021164 h 2148093"/>
              <a:gd name="connsiteX3-9063" fmla="*/ 261945 w 2804294"/>
              <a:gd name="connsiteY3-9064" fmla="*/ 2096736 h 2148093"/>
              <a:gd name="connsiteX4-9065" fmla="*/ 251002 w 2804294"/>
              <a:gd name="connsiteY4-9066" fmla="*/ 2115503 h 2148093"/>
              <a:gd name="connsiteX5-9067" fmla="*/ 588466 w 2804294"/>
              <a:gd name="connsiteY5-9068" fmla="*/ 2096470 h 2148093"/>
              <a:gd name="connsiteX6-9069" fmla="*/ 941719 w 2804294"/>
              <a:gd name="connsiteY6-9070" fmla="*/ 2034439 h 2148093"/>
              <a:gd name="connsiteX7-9071" fmla="*/ 964343 w 2804294"/>
              <a:gd name="connsiteY7-9072" fmla="*/ 1600850 h 2148093"/>
              <a:gd name="connsiteX8-9073" fmla="*/ 2079465 w 2804294"/>
              <a:gd name="connsiteY8-9074" fmla="*/ 1589699 h 2148093"/>
              <a:gd name="connsiteX9-9075" fmla="*/ 2068314 w 2804294"/>
              <a:gd name="connsiteY9-9076" fmla="*/ 742206 h 2148093"/>
              <a:gd name="connsiteX10-9077" fmla="*/ 2224431 w 2804294"/>
              <a:gd name="connsiteY10-9078" fmla="*/ 641845 h 2148093"/>
              <a:gd name="connsiteX11-9079" fmla="*/ 2570119 w 2804294"/>
              <a:gd name="connsiteY11-9080" fmla="*/ 463425 h 2148093"/>
              <a:gd name="connsiteX12-9081" fmla="*/ 2804294 w 2804294"/>
              <a:gd name="connsiteY12-9082" fmla="*/ 474577 h 2148093"/>
              <a:gd name="connsiteX13-9083" fmla="*/ 2804294 w 2804294"/>
              <a:gd name="connsiteY13-9084" fmla="*/ 307308 h 2148093"/>
              <a:gd name="connsiteX14-9085" fmla="*/ 2759690 w 2804294"/>
              <a:gd name="connsiteY14-9086" fmla="*/ 229250 h 2148093"/>
              <a:gd name="connsiteX15-9087" fmla="*/ 2748538 w 2804294"/>
              <a:gd name="connsiteY15-9088" fmla="*/ 195796 h 2148093"/>
              <a:gd name="connsiteX16-9089" fmla="*/ 2692782 w 2804294"/>
              <a:gd name="connsiteY16-9090" fmla="*/ 173494 h 2148093"/>
              <a:gd name="connsiteX17-9091" fmla="*/ 2681631 w 2804294"/>
              <a:gd name="connsiteY17-9092" fmla="*/ 218099 h 2148093"/>
              <a:gd name="connsiteX18-9093" fmla="*/ 2558968 w 2804294"/>
              <a:gd name="connsiteY18-9094" fmla="*/ 184645 h 2148093"/>
              <a:gd name="connsiteX19-9095" fmla="*/ 2524923 w 2804294"/>
              <a:gd name="connsiteY19-9096" fmla="*/ 192456 h 2148093"/>
              <a:gd name="connsiteX20-9097" fmla="*/ 2440538 w 2804294"/>
              <a:gd name="connsiteY20-9098" fmla="*/ 202360 h 2148093"/>
              <a:gd name="connsiteX21-9099" fmla="*/ 2431388 w 2804294"/>
              <a:gd name="connsiteY21-9100" fmla="*/ 108412 h 2148093"/>
              <a:gd name="connsiteX22-9101" fmla="*/ 2365894 w 2804294"/>
              <a:gd name="connsiteY22-9102" fmla="*/ 31048 h 2148093"/>
              <a:gd name="connsiteX23-9103" fmla="*/ 2316149 w 2804294"/>
              <a:gd name="connsiteY23-9104" fmla="*/ 3413 h 2148093"/>
              <a:gd name="connsiteX24-9105" fmla="*/ 2260399 w 2804294"/>
              <a:gd name="connsiteY24-9106" fmla="*/ 30241 h 2148093"/>
              <a:gd name="connsiteX25-9107" fmla="*/ 2062735 w 2804294"/>
              <a:gd name="connsiteY25-9108" fmla="*/ 84664 h 2148093"/>
              <a:gd name="connsiteX26-9109" fmla="*/ 2055675 w 2804294"/>
              <a:gd name="connsiteY26-9110" fmla="*/ 8405 h 2148093"/>
              <a:gd name="connsiteX27-9111" fmla="*/ 1800411 w 2804294"/>
              <a:gd name="connsiteY27-9112" fmla="*/ 73920 h 2148093"/>
              <a:gd name="connsiteX28-9113" fmla="*/ 1639726 w 2804294"/>
              <a:gd name="connsiteY28-9114" fmla="*/ 67985 h 2148093"/>
              <a:gd name="connsiteX29-9115" fmla="*/ 1654887 w 2804294"/>
              <a:gd name="connsiteY29-9116" fmla="*/ 135096 h 2148093"/>
              <a:gd name="connsiteX30-9117" fmla="*/ 1648887 w 2804294"/>
              <a:gd name="connsiteY30-9118" fmla="*/ 405166 h 2148093"/>
              <a:gd name="connsiteX31-9119" fmla="*/ 1466148 w 2804294"/>
              <a:gd name="connsiteY31-9120" fmla="*/ 608391 h 2148093"/>
              <a:gd name="connsiteX32-9121" fmla="*/ 1231973 w 2804294"/>
              <a:gd name="connsiteY32-9122" fmla="*/ 742206 h 2148093"/>
              <a:gd name="connsiteX33-9123" fmla="*/ 1109309 w 2804294"/>
              <a:gd name="connsiteY33-9124" fmla="*/ 853718 h 2148093"/>
              <a:gd name="connsiteX34-9125" fmla="*/ 640958 w 2804294"/>
              <a:gd name="connsiteY34-9126" fmla="*/ 976381 h 2148093"/>
              <a:gd name="connsiteX35-9127" fmla="*/ 574051 w 2804294"/>
              <a:gd name="connsiteY35-9128" fmla="*/ 1032138 h 2148093"/>
              <a:gd name="connsiteX36-9129" fmla="*/ 440236 w 2804294"/>
              <a:gd name="connsiteY36-9130" fmla="*/ 1355523 h 2148093"/>
              <a:gd name="connsiteX37-9131" fmla="*/ 128002 w 2804294"/>
              <a:gd name="connsiteY37-9132" fmla="*/ 1522791 h 2148093"/>
              <a:gd name="connsiteX38-9133" fmla="*/ 105699 w 2804294"/>
              <a:gd name="connsiteY38-9134" fmla="*/ 1667757 h 2148093"/>
              <a:gd name="connsiteX39-9135" fmla="*/ 27641 w 2804294"/>
              <a:gd name="connsiteY39-9136" fmla="*/ 1779269 h 2148093"/>
              <a:gd name="connsiteX40-9137" fmla="*/ 5338 w 2804294"/>
              <a:gd name="connsiteY40-9138" fmla="*/ 2013445 h 2148093"/>
              <a:gd name="connsiteX41-9139" fmla="*/ 1063 w 2804294"/>
              <a:gd name="connsiteY41-9140" fmla="*/ 1972356 h 2148093"/>
              <a:gd name="connsiteX42-9141" fmla="*/ 17008 w 2804294"/>
              <a:gd name="connsiteY42-9142" fmla="*/ 2025032 h 2148093"/>
              <a:gd name="connsiteX43-9143" fmla="*/ 128636 w 2804294"/>
              <a:gd name="connsiteY43-9144" fmla="*/ 2025679 h 2148093"/>
              <a:gd name="connsiteX44-9145" fmla="*/ 21003 w 2804294"/>
              <a:gd name="connsiteY44-9146" fmla="*/ 2021468 h 2148093"/>
              <a:gd name="connsiteX45-9147" fmla="*/ 346055 w 2804294"/>
              <a:gd name="connsiteY45-9148" fmla="*/ 2115785 h 2148093"/>
              <a:gd name="connsiteX0-9149" fmla="*/ 108153 w 2804294"/>
              <a:gd name="connsiteY0-9150" fmla="*/ 2029393 h 2156322"/>
              <a:gd name="connsiteX1-9151" fmla="*/ 96280 w 2804294"/>
              <a:gd name="connsiteY1-9152" fmla="*/ 2017519 h 2156322"/>
              <a:gd name="connsiteX2-9153" fmla="*/ 102217 w 2804294"/>
              <a:gd name="connsiteY2-9154" fmla="*/ 2029393 h 2156322"/>
              <a:gd name="connsiteX3-9155" fmla="*/ 261945 w 2804294"/>
              <a:gd name="connsiteY3-9156" fmla="*/ 2104965 h 2156322"/>
              <a:gd name="connsiteX4-9157" fmla="*/ 251002 w 2804294"/>
              <a:gd name="connsiteY4-9158" fmla="*/ 2123732 h 2156322"/>
              <a:gd name="connsiteX5-9159" fmla="*/ 588466 w 2804294"/>
              <a:gd name="connsiteY5-9160" fmla="*/ 2104699 h 2156322"/>
              <a:gd name="connsiteX6-9161" fmla="*/ 941719 w 2804294"/>
              <a:gd name="connsiteY6-9162" fmla="*/ 2042668 h 2156322"/>
              <a:gd name="connsiteX7-9163" fmla="*/ 964343 w 2804294"/>
              <a:gd name="connsiteY7-9164" fmla="*/ 1609079 h 2156322"/>
              <a:gd name="connsiteX8-9165" fmla="*/ 2079465 w 2804294"/>
              <a:gd name="connsiteY8-9166" fmla="*/ 1597928 h 2156322"/>
              <a:gd name="connsiteX9-9167" fmla="*/ 2068314 w 2804294"/>
              <a:gd name="connsiteY9-9168" fmla="*/ 750435 h 2156322"/>
              <a:gd name="connsiteX10-9169" fmla="*/ 2224431 w 2804294"/>
              <a:gd name="connsiteY10-9170" fmla="*/ 650074 h 2156322"/>
              <a:gd name="connsiteX11-9171" fmla="*/ 2570119 w 2804294"/>
              <a:gd name="connsiteY11-9172" fmla="*/ 471654 h 2156322"/>
              <a:gd name="connsiteX12-9173" fmla="*/ 2804294 w 2804294"/>
              <a:gd name="connsiteY12-9174" fmla="*/ 482806 h 2156322"/>
              <a:gd name="connsiteX13-9175" fmla="*/ 2804294 w 2804294"/>
              <a:gd name="connsiteY13-9176" fmla="*/ 315537 h 2156322"/>
              <a:gd name="connsiteX14-9177" fmla="*/ 2759690 w 2804294"/>
              <a:gd name="connsiteY14-9178" fmla="*/ 237479 h 2156322"/>
              <a:gd name="connsiteX15-9179" fmla="*/ 2748538 w 2804294"/>
              <a:gd name="connsiteY15-9180" fmla="*/ 204025 h 2156322"/>
              <a:gd name="connsiteX16-9181" fmla="*/ 2692782 w 2804294"/>
              <a:gd name="connsiteY16-9182" fmla="*/ 181723 h 2156322"/>
              <a:gd name="connsiteX17-9183" fmla="*/ 2681631 w 2804294"/>
              <a:gd name="connsiteY17-9184" fmla="*/ 226328 h 2156322"/>
              <a:gd name="connsiteX18-9185" fmla="*/ 2558968 w 2804294"/>
              <a:gd name="connsiteY18-9186" fmla="*/ 192874 h 2156322"/>
              <a:gd name="connsiteX19-9187" fmla="*/ 2524923 w 2804294"/>
              <a:gd name="connsiteY19-9188" fmla="*/ 200685 h 2156322"/>
              <a:gd name="connsiteX20-9189" fmla="*/ 2440538 w 2804294"/>
              <a:gd name="connsiteY20-9190" fmla="*/ 210589 h 2156322"/>
              <a:gd name="connsiteX21-9191" fmla="*/ 2431388 w 2804294"/>
              <a:gd name="connsiteY21-9192" fmla="*/ 116641 h 2156322"/>
              <a:gd name="connsiteX22-9193" fmla="*/ 2365894 w 2804294"/>
              <a:gd name="connsiteY22-9194" fmla="*/ 39277 h 2156322"/>
              <a:gd name="connsiteX23-9195" fmla="*/ 2316149 w 2804294"/>
              <a:gd name="connsiteY23-9196" fmla="*/ 11642 h 2156322"/>
              <a:gd name="connsiteX24-9197" fmla="*/ 2260399 w 2804294"/>
              <a:gd name="connsiteY24-9198" fmla="*/ 38470 h 2156322"/>
              <a:gd name="connsiteX25-9199" fmla="*/ 2062735 w 2804294"/>
              <a:gd name="connsiteY25-9200" fmla="*/ 92893 h 2156322"/>
              <a:gd name="connsiteX26-9201" fmla="*/ 2055675 w 2804294"/>
              <a:gd name="connsiteY26-9202" fmla="*/ 16634 h 2156322"/>
              <a:gd name="connsiteX27-9203" fmla="*/ 1800411 w 2804294"/>
              <a:gd name="connsiteY27-9204" fmla="*/ 82149 h 2156322"/>
              <a:gd name="connsiteX28-9205" fmla="*/ 1639726 w 2804294"/>
              <a:gd name="connsiteY28-9206" fmla="*/ 76214 h 2156322"/>
              <a:gd name="connsiteX29-9207" fmla="*/ 1654887 w 2804294"/>
              <a:gd name="connsiteY29-9208" fmla="*/ 143325 h 2156322"/>
              <a:gd name="connsiteX30-9209" fmla="*/ 1648887 w 2804294"/>
              <a:gd name="connsiteY30-9210" fmla="*/ 413395 h 2156322"/>
              <a:gd name="connsiteX31-9211" fmla="*/ 1466148 w 2804294"/>
              <a:gd name="connsiteY31-9212" fmla="*/ 616620 h 2156322"/>
              <a:gd name="connsiteX32-9213" fmla="*/ 1231973 w 2804294"/>
              <a:gd name="connsiteY32-9214" fmla="*/ 750435 h 2156322"/>
              <a:gd name="connsiteX33-9215" fmla="*/ 1109309 w 2804294"/>
              <a:gd name="connsiteY33-9216" fmla="*/ 861947 h 2156322"/>
              <a:gd name="connsiteX34-9217" fmla="*/ 640958 w 2804294"/>
              <a:gd name="connsiteY34-9218" fmla="*/ 984610 h 2156322"/>
              <a:gd name="connsiteX35-9219" fmla="*/ 574051 w 2804294"/>
              <a:gd name="connsiteY35-9220" fmla="*/ 1040367 h 2156322"/>
              <a:gd name="connsiteX36-9221" fmla="*/ 440236 w 2804294"/>
              <a:gd name="connsiteY36-9222" fmla="*/ 1363752 h 2156322"/>
              <a:gd name="connsiteX37-9223" fmla="*/ 128002 w 2804294"/>
              <a:gd name="connsiteY37-9224" fmla="*/ 1531020 h 2156322"/>
              <a:gd name="connsiteX38-9225" fmla="*/ 105699 w 2804294"/>
              <a:gd name="connsiteY38-9226" fmla="*/ 1675986 h 2156322"/>
              <a:gd name="connsiteX39-9227" fmla="*/ 27641 w 2804294"/>
              <a:gd name="connsiteY39-9228" fmla="*/ 1787498 h 2156322"/>
              <a:gd name="connsiteX40-9229" fmla="*/ 5338 w 2804294"/>
              <a:gd name="connsiteY40-9230" fmla="*/ 2021674 h 2156322"/>
              <a:gd name="connsiteX41-9231" fmla="*/ 1063 w 2804294"/>
              <a:gd name="connsiteY41-9232" fmla="*/ 1980585 h 2156322"/>
              <a:gd name="connsiteX42-9233" fmla="*/ 17008 w 2804294"/>
              <a:gd name="connsiteY42-9234" fmla="*/ 2033261 h 2156322"/>
              <a:gd name="connsiteX43-9235" fmla="*/ 128636 w 2804294"/>
              <a:gd name="connsiteY43-9236" fmla="*/ 2033908 h 2156322"/>
              <a:gd name="connsiteX44-9237" fmla="*/ 21003 w 2804294"/>
              <a:gd name="connsiteY44-9238" fmla="*/ 2029697 h 2156322"/>
              <a:gd name="connsiteX45-9239" fmla="*/ 346055 w 2804294"/>
              <a:gd name="connsiteY45-9240" fmla="*/ 2124014 h 2156322"/>
              <a:gd name="connsiteX0-9241" fmla="*/ 108153 w 2804294"/>
              <a:gd name="connsiteY0-9242" fmla="*/ 2031215 h 2158144"/>
              <a:gd name="connsiteX1-9243" fmla="*/ 96280 w 2804294"/>
              <a:gd name="connsiteY1-9244" fmla="*/ 2019341 h 2158144"/>
              <a:gd name="connsiteX2-9245" fmla="*/ 102217 w 2804294"/>
              <a:gd name="connsiteY2-9246" fmla="*/ 2031215 h 2158144"/>
              <a:gd name="connsiteX3-9247" fmla="*/ 261945 w 2804294"/>
              <a:gd name="connsiteY3-9248" fmla="*/ 2106787 h 2158144"/>
              <a:gd name="connsiteX4-9249" fmla="*/ 251002 w 2804294"/>
              <a:gd name="connsiteY4-9250" fmla="*/ 2125554 h 2158144"/>
              <a:gd name="connsiteX5-9251" fmla="*/ 588466 w 2804294"/>
              <a:gd name="connsiteY5-9252" fmla="*/ 2106521 h 2158144"/>
              <a:gd name="connsiteX6-9253" fmla="*/ 941719 w 2804294"/>
              <a:gd name="connsiteY6-9254" fmla="*/ 2044490 h 2158144"/>
              <a:gd name="connsiteX7-9255" fmla="*/ 964343 w 2804294"/>
              <a:gd name="connsiteY7-9256" fmla="*/ 1610901 h 2158144"/>
              <a:gd name="connsiteX8-9257" fmla="*/ 2079465 w 2804294"/>
              <a:gd name="connsiteY8-9258" fmla="*/ 1599750 h 2158144"/>
              <a:gd name="connsiteX9-9259" fmla="*/ 2068314 w 2804294"/>
              <a:gd name="connsiteY9-9260" fmla="*/ 752257 h 2158144"/>
              <a:gd name="connsiteX10-9261" fmla="*/ 2224431 w 2804294"/>
              <a:gd name="connsiteY10-9262" fmla="*/ 651896 h 2158144"/>
              <a:gd name="connsiteX11-9263" fmla="*/ 2570119 w 2804294"/>
              <a:gd name="connsiteY11-9264" fmla="*/ 473476 h 2158144"/>
              <a:gd name="connsiteX12-9265" fmla="*/ 2804294 w 2804294"/>
              <a:gd name="connsiteY12-9266" fmla="*/ 484628 h 2158144"/>
              <a:gd name="connsiteX13-9267" fmla="*/ 2804294 w 2804294"/>
              <a:gd name="connsiteY13-9268" fmla="*/ 317359 h 2158144"/>
              <a:gd name="connsiteX14-9269" fmla="*/ 2759690 w 2804294"/>
              <a:gd name="connsiteY14-9270" fmla="*/ 239301 h 2158144"/>
              <a:gd name="connsiteX15-9271" fmla="*/ 2748538 w 2804294"/>
              <a:gd name="connsiteY15-9272" fmla="*/ 205847 h 2158144"/>
              <a:gd name="connsiteX16-9273" fmla="*/ 2692782 w 2804294"/>
              <a:gd name="connsiteY16-9274" fmla="*/ 183545 h 2158144"/>
              <a:gd name="connsiteX17-9275" fmla="*/ 2681631 w 2804294"/>
              <a:gd name="connsiteY17-9276" fmla="*/ 228150 h 2158144"/>
              <a:gd name="connsiteX18-9277" fmla="*/ 2558968 w 2804294"/>
              <a:gd name="connsiteY18-9278" fmla="*/ 194696 h 2158144"/>
              <a:gd name="connsiteX19-9279" fmla="*/ 2524923 w 2804294"/>
              <a:gd name="connsiteY19-9280" fmla="*/ 202507 h 2158144"/>
              <a:gd name="connsiteX20-9281" fmla="*/ 2440538 w 2804294"/>
              <a:gd name="connsiteY20-9282" fmla="*/ 212411 h 2158144"/>
              <a:gd name="connsiteX21-9283" fmla="*/ 2431388 w 2804294"/>
              <a:gd name="connsiteY21-9284" fmla="*/ 118463 h 2158144"/>
              <a:gd name="connsiteX22-9285" fmla="*/ 2365894 w 2804294"/>
              <a:gd name="connsiteY22-9286" fmla="*/ 41099 h 2158144"/>
              <a:gd name="connsiteX23-9287" fmla="*/ 2316149 w 2804294"/>
              <a:gd name="connsiteY23-9288" fmla="*/ 13464 h 2158144"/>
              <a:gd name="connsiteX24-9289" fmla="*/ 2260399 w 2804294"/>
              <a:gd name="connsiteY24-9290" fmla="*/ 40292 h 2158144"/>
              <a:gd name="connsiteX25-9291" fmla="*/ 2062735 w 2804294"/>
              <a:gd name="connsiteY25-9292" fmla="*/ 94715 h 2158144"/>
              <a:gd name="connsiteX26-9293" fmla="*/ 2055675 w 2804294"/>
              <a:gd name="connsiteY26-9294" fmla="*/ 18456 h 2158144"/>
              <a:gd name="connsiteX27-9295" fmla="*/ 1800411 w 2804294"/>
              <a:gd name="connsiteY27-9296" fmla="*/ 83971 h 2158144"/>
              <a:gd name="connsiteX28-9297" fmla="*/ 2034409 w 2804294"/>
              <a:gd name="connsiteY28-9298" fmla="*/ 989 h 2158144"/>
              <a:gd name="connsiteX29-9299" fmla="*/ 1639726 w 2804294"/>
              <a:gd name="connsiteY29-9300" fmla="*/ 78036 h 2158144"/>
              <a:gd name="connsiteX30-9301" fmla="*/ 1654887 w 2804294"/>
              <a:gd name="connsiteY30-9302" fmla="*/ 145147 h 2158144"/>
              <a:gd name="connsiteX31-9303" fmla="*/ 1648887 w 2804294"/>
              <a:gd name="connsiteY31-9304" fmla="*/ 415217 h 2158144"/>
              <a:gd name="connsiteX32-9305" fmla="*/ 1466148 w 2804294"/>
              <a:gd name="connsiteY32-9306" fmla="*/ 618442 h 2158144"/>
              <a:gd name="connsiteX33-9307" fmla="*/ 1231973 w 2804294"/>
              <a:gd name="connsiteY33-9308" fmla="*/ 752257 h 2158144"/>
              <a:gd name="connsiteX34-9309" fmla="*/ 1109309 w 2804294"/>
              <a:gd name="connsiteY34-9310" fmla="*/ 863769 h 2158144"/>
              <a:gd name="connsiteX35-9311" fmla="*/ 640958 w 2804294"/>
              <a:gd name="connsiteY35-9312" fmla="*/ 986432 h 2158144"/>
              <a:gd name="connsiteX36-9313" fmla="*/ 574051 w 2804294"/>
              <a:gd name="connsiteY36-9314" fmla="*/ 1042189 h 2158144"/>
              <a:gd name="connsiteX37-9315" fmla="*/ 440236 w 2804294"/>
              <a:gd name="connsiteY37-9316" fmla="*/ 1365574 h 2158144"/>
              <a:gd name="connsiteX38-9317" fmla="*/ 128002 w 2804294"/>
              <a:gd name="connsiteY38-9318" fmla="*/ 1532842 h 2158144"/>
              <a:gd name="connsiteX39-9319" fmla="*/ 105699 w 2804294"/>
              <a:gd name="connsiteY39-9320" fmla="*/ 1677808 h 2158144"/>
              <a:gd name="connsiteX40-9321" fmla="*/ 27641 w 2804294"/>
              <a:gd name="connsiteY40-9322" fmla="*/ 1789320 h 2158144"/>
              <a:gd name="connsiteX41-9323" fmla="*/ 5338 w 2804294"/>
              <a:gd name="connsiteY41-9324" fmla="*/ 2023496 h 2158144"/>
              <a:gd name="connsiteX42-9325" fmla="*/ 1063 w 2804294"/>
              <a:gd name="connsiteY42-9326" fmla="*/ 1982407 h 2158144"/>
              <a:gd name="connsiteX43-9327" fmla="*/ 17008 w 2804294"/>
              <a:gd name="connsiteY43-9328" fmla="*/ 2035083 h 2158144"/>
              <a:gd name="connsiteX44-9329" fmla="*/ 128636 w 2804294"/>
              <a:gd name="connsiteY44-9330" fmla="*/ 2035730 h 2158144"/>
              <a:gd name="connsiteX45-9331" fmla="*/ 21003 w 2804294"/>
              <a:gd name="connsiteY45-9332" fmla="*/ 2031519 h 2158144"/>
              <a:gd name="connsiteX46-9333" fmla="*/ 346055 w 2804294"/>
              <a:gd name="connsiteY46-9334" fmla="*/ 2125836 h 2158144"/>
              <a:gd name="connsiteX0-9335" fmla="*/ 108153 w 2804294"/>
              <a:gd name="connsiteY0-9336" fmla="*/ 2044056 h 2170985"/>
              <a:gd name="connsiteX1-9337" fmla="*/ 96280 w 2804294"/>
              <a:gd name="connsiteY1-9338" fmla="*/ 2032182 h 2170985"/>
              <a:gd name="connsiteX2-9339" fmla="*/ 102217 w 2804294"/>
              <a:gd name="connsiteY2-9340" fmla="*/ 2044056 h 2170985"/>
              <a:gd name="connsiteX3-9341" fmla="*/ 261945 w 2804294"/>
              <a:gd name="connsiteY3-9342" fmla="*/ 2119628 h 2170985"/>
              <a:gd name="connsiteX4-9343" fmla="*/ 251002 w 2804294"/>
              <a:gd name="connsiteY4-9344" fmla="*/ 2138395 h 2170985"/>
              <a:gd name="connsiteX5-9345" fmla="*/ 588466 w 2804294"/>
              <a:gd name="connsiteY5-9346" fmla="*/ 2119362 h 2170985"/>
              <a:gd name="connsiteX6-9347" fmla="*/ 941719 w 2804294"/>
              <a:gd name="connsiteY6-9348" fmla="*/ 2057331 h 2170985"/>
              <a:gd name="connsiteX7-9349" fmla="*/ 964343 w 2804294"/>
              <a:gd name="connsiteY7-9350" fmla="*/ 1623742 h 2170985"/>
              <a:gd name="connsiteX8-9351" fmla="*/ 2079465 w 2804294"/>
              <a:gd name="connsiteY8-9352" fmla="*/ 1612591 h 2170985"/>
              <a:gd name="connsiteX9-9353" fmla="*/ 2068314 w 2804294"/>
              <a:gd name="connsiteY9-9354" fmla="*/ 765098 h 2170985"/>
              <a:gd name="connsiteX10-9355" fmla="*/ 2224431 w 2804294"/>
              <a:gd name="connsiteY10-9356" fmla="*/ 664737 h 2170985"/>
              <a:gd name="connsiteX11-9357" fmla="*/ 2570119 w 2804294"/>
              <a:gd name="connsiteY11-9358" fmla="*/ 486317 h 2170985"/>
              <a:gd name="connsiteX12-9359" fmla="*/ 2804294 w 2804294"/>
              <a:gd name="connsiteY12-9360" fmla="*/ 497469 h 2170985"/>
              <a:gd name="connsiteX13-9361" fmla="*/ 2804294 w 2804294"/>
              <a:gd name="connsiteY13-9362" fmla="*/ 330200 h 2170985"/>
              <a:gd name="connsiteX14-9363" fmla="*/ 2759690 w 2804294"/>
              <a:gd name="connsiteY14-9364" fmla="*/ 252142 h 2170985"/>
              <a:gd name="connsiteX15-9365" fmla="*/ 2748538 w 2804294"/>
              <a:gd name="connsiteY15-9366" fmla="*/ 218688 h 2170985"/>
              <a:gd name="connsiteX16-9367" fmla="*/ 2692782 w 2804294"/>
              <a:gd name="connsiteY16-9368" fmla="*/ 196386 h 2170985"/>
              <a:gd name="connsiteX17-9369" fmla="*/ 2681631 w 2804294"/>
              <a:gd name="connsiteY17-9370" fmla="*/ 240991 h 2170985"/>
              <a:gd name="connsiteX18-9371" fmla="*/ 2558968 w 2804294"/>
              <a:gd name="connsiteY18-9372" fmla="*/ 207537 h 2170985"/>
              <a:gd name="connsiteX19-9373" fmla="*/ 2524923 w 2804294"/>
              <a:gd name="connsiteY19-9374" fmla="*/ 215348 h 2170985"/>
              <a:gd name="connsiteX20-9375" fmla="*/ 2440538 w 2804294"/>
              <a:gd name="connsiteY20-9376" fmla="*/ 225252 h 2170985"/>
              <a:gd name="connsiteX21-9377" fmla="*/ 2431388 w 2804294"/>
              <a:gd name="connsiteY21-9378" fmla="*/ 131304 h 2170985"/>
              <a:gd name="connsiteX22-9379" fmla="*/ 2365894 w 2804294"/>
              <a:gd name="connsiteY22-9380" fmla="*/ 53940 h 2170985"/>
              <a:gd name="connsiteX23-9381" fmla="*/ 2316149 w 2804294"/>
              <a:gd name="connsiteY23-9382" fmla="*/ 26305 h 2170985"/>
              <a:gd name="connsiteX24-9383" fmla="*/ 2260399 w 2804294"/>
              <a:gd name="connsiteY24-9384" fmla="*/ 53133 h 2170985"/>
              <a:gd name="connsiteX25-9385" fmla="*/ 2062735 w 2804294"/>
              <a:gd name="connsiteY25-9386" fmla="*/ 107556 h 2170985"/>
              <a:gd name="connsiteX26-9387" fmla="*/ 2055675 w 2804294"/>
              <a:gd name="connsiteY26-9388" fmla="*/ 31297 h 2170985"/>
              <a:gd name="connsiteX27-9389" fmla="*/ 1800411 w 2804294"/>
              <a:gd name="connsiteY27-9390" fmla="*/ 96812 h 2170985"/>
              <a:gd name="connsiteX28-9391" fmla="*/ 2021710 w 2804294"/>
              <a:gd name="connsiteY28-9392" fmla="*/ 13830 h 2170985"/>
              <a:gd name="connsiteX29-9393" fmla="*/ 2034409 w 2804294"/>
              <a:gd name="connsiteY29-9394" fmla="*/ 13830 h 2170985"/>
              <a:gd name="connsiteX30-9395" fmla="*/ 1639726 w 2804294"/>
              <a:gd name="connsiteY30-9396" fmla="*/ 90877 h 2170985"/>
              <a:gd name="connsiteX31-9397" fmla="*/ 1654887 w 2804294"/>
              <a:gd name="connsiteY31-9398" fmla="*/ 157988 h 2170985"/>
              <a:gd name="connsiteX32-9399" fmla="*/ 1648887 w 2804294"/>
              <a:gd name="connsiteY32-9400" fmla="*/ 428058 h 2170985"/>
              <a:gd name="connsiteX33-9401" fmla="*/ 1466148 w 2804294"/>
              <a:gd name="connsiteY33-9402" fmla="*/ 631283 h 2170985"/>
              <a:gd name="connsiteX34-9403" fmla="*/ 1231973 w 2804294"/>
              <a:gd name="connsiteY34-9404" fmla="*/ 765098 h 2170985"/>
              <a:gd name="connsiteX35-9405" fmla="*/ 1109309 w 2804294"/>
              <a:gd name="connsiteY35-9406" fmla="*/ 876610 h 2170985"/>
              <a:gd name="connsiteX36-9407" fmla="*/ 640958 w 2804294"/>
              <a:gd name="connsiteY36-9408" fmla="*/ 999273 h 2170985"/>
              <a:gd name="connsiteX37-9409" fmla="*/ 574051 w 2804294"/>
              <a:gd name="connsiteY37-9410" fmla="*/ 1055030 h 2170985"/>
              <a:gd name="connsiteX38-9411" fmla="*/ 440236 w 2804294"/>
              <a:gd name="connsiteY38-9412" fmla="*/ 1378415 h 2170985"/>
              <a:gd name="connsiteX39-9413" fmla="*/ 128002 w 2804294"/>
              <a:gd name="connsiteY39-9414" fmla="*/ 1545683 h 2170985"/>
              <a:gd name="connsiteX40-9415" fmla="*/ 105699 w 2804294"/>
              <a:gd name="connsiteY40-9416" fmla="*/ 1690649 h 2170985"/>
              <a:gd name="connsiteX41-9417" fmla="*/ 27641 w 2804294"/>
              <a:gd name="connsiteY41-9418" fmla="*/ 1802161 h 2170985"/>
              <a:gd name="connsiteX42-9419" fmla="*/ 5338 w 2804294"/>
              <a:gd name="connsiteY42-9420" fmla="*/ 2036337 h 2170985"/>
              <a:gd name="connsiteX43-9421" fmla="*/ 1063 w 2804294"/>
              <a:gd name="connsiteY43-9422" fmla="*/ 1995248 h 2170985"/>
              <a:gd name="connsiteX44-9423" fmla="*/ 17008 w 2804294"/>
              <a:gd name="connsiteY44-9424" fmla="*/ 2047924 h 2170985"/>
              <a:gd name="connsiteX45-9425" fmla="*/ 128636 w 2804294"/>
              <a:gd name="connsiteY45-9426" fmla="*/ 2048571 h 2170985"/>
              <a:gd name="connsiteX46-9427" fmla="*/ 21003 w 2804294"/>
              <a:gd name="connsiteY46-9428" fmla="*/ 2044360 h 2170985"/>
              <a:gd name="connsiteX47-9429" fmla="*/ 346055 w 2804294"/>
              <a:gd name="connsiteY47-9430" fmla="*/ 2138677 h 2170985"/>
              <a:gd name="connsiteX0-9431" fmla="*/ 108153 w 2804294"/>
              <a:gd name="connsiteY0-9432" fmla="*/ 2044056 h 2170985"/>
              <a:gd name="connsiteX1-9433" fmla="*/ 96280 w 2804294"/>
              <a:gd name="connsiteY1-9434" fmla="*/ 2032182 h 2170985"/>
              <a:gd name="connsiteX2-9435" fmla="*/ 102217 w 2804294"/>
              <a:gd name="connsiteY2-9436" fmla="*/ 2044056 h 2170985"/>
              <a:gd name="connsiteX3-9437" fmla="*/ 261945 w 2804294"/>
              <a:gd name="connsiteY3-9438" fmla="*/ 2119628 h 2170985"/>
              <a:gd name="connsiteX4-9439" fmla="*/ 251002 w 2804294"/>
              <a:gd name="connsiteY4-9440" fmla="*/ 2138395 h 2170985"/>
              <a:gd name="connsiteX5-9441" fmla="*/ 588466 w 2804294"/>
              <a:gd name="connsiteY5-9442" fmla="*/ 2119362 h 2170985"/>
              <a:gd name="connsiteX6-9443" fmla="*/ 941719 w 2804294"/>
              <a:gd name="connsiteY6-9444" fmla="*/ 2057331 h 2170985"/>
              <a:gd name="connsiteX7-9445" fmla="*/ 964343 w 2804294"/>
              <a:gd name="connsiteY7-9446" fmla="*/ 1623742 h 2170985"/>
              <a:gd name="connsiteX8-9447" fmla="*/ 2079465 w 2804294"/>
              <a:gd name="connsiteY8-9448" fmla="*/ 1612591 h 2170985"/>
              <a:gd name="connsiteX9-9449" fmla="*/ 2068314 w 2804294"/>
              <a:gd name="connsiteY9-9450" fmla="*/ 765098 h 2170985"/>
              <a:gd name="connsiteX10-9451" fmla="*/ 2224431 w 2804294"/>
              <a:gd name="connsiteY10-9452" fmla="*/ 664737 h 2170985"/>
              <a:gd name="connsiteX11-9453" fmla="*/ 2570119 w 2804294"/>
              <a:gd name="connsiteY11-9454" fmla="*/ 486317 h 2170985"/>
              <a:gd name="connsiteX12-9455" fmla="*/ 2804294 w 2804294"/>
              <a:gd name="connsiteY12-9456" fmla="*/ 497469 h 2170985"/>
              <a:gd name="connsiteX13-9457" fmla="*/ 2804294 w 2804294"/>
              <a:gd name="connsiteY13-9458" fmla="*/ 330200 h 2170985"/>
              <a:gd name="connsiteX14-9459" fmla="*/ 2759690 w 2804294"/>
              <a:gd name="connsiteY14-9460" fmla="*/ 252142 h 2170985"/>
              <a:gd name="connsiteX15-9461" fmla="*/ 2748538 w 2804294"/>
              <a:gd name="connsiteY15-9462" fmla="*/ 218688 h 2170985"/>
              <a:gd name="connsiteX16-9463" fmla="*/ 2692782 w 2804294"/>
              <a:gd name="connsiteY16-9464" fmla="*/ 196386 h 2170985"/>
              <a:gd name="connsiteX17-9465" fmla="*/ 2681631 w 2804294"/>
              <a:gd name="connsiteY17-9466" fmla="*/ 240991 h 2170985"/>
              <a:gd name="connsiteX18-9467" fmla="*/ 2558968 w 2804294"/>
              <a:gd name="connsiteY18-9468" fmla="*/ 207537 h 2170985"/>
              <a:gd name="connsiteX19-9469" fmla="*/ 2524923 w 2804294"/>
              <a:gd name="connsiteY19-9470" fmla="*/ 215348 h 2170985"/>
              <a:gd name="connsiteX20-9471" fmla="*/ 2440538 w 2804294"/>
              <a:gd name="connsiteY20-9472" fmla="*/ 225252 h 2170985"/>
              <a:gd name="connsiteX21-9473" fmla="*/ 2431388 w 2804294"/>
              <a:gd name="connsiteY21-9474" fmla="*/ 131304 h 2170985"/>
              <a:gd name="connsiteX22-9475" fmla="*/ 2365894 w 2804294"/>
              <a:gd name="connsiteY22-9476" fmla="*/ 53940 h 2170985"/>
              <a:gd name="connsiteX23-9477" fmla="*/ 2316149 w 2804294"/>
              <a:gd name="connsiteY23-9478" fmla="*/ 26305 h 2170985"/>
              <a:gd name="connsiteX24-9479" fmla="*/ 2260399 w 2804294"/>
              <a:gd name="connsiteY24-9480" fmla="*/ 53133 h 2170985"/>
              <a:gd name="connsiteX25-9481" fmla="*/ 2062735 w 2804294"/>
              <a:gd name="connsiteY25-9482" fmla="*/ 107556 h 2170985"/>
              <a:gd name="connsiteX26-9483" fmla="*/ 2055675 w 2804294"/>
              <a:gd name="connsiteY26-9484" fmla="*/ 31297 h 2170985"/>
              <a:gd name="connsiteX27-9485" fmla="*/ 1800411 w 2804294"/>
              <a:gd name="connsiteY27-9486" fmla="*/ 96812 h 2170985"/>
              <a:gd name="connsiteX28-9487" fmla="*/ 2021710 w 2804294"/>
              <a:gd name="connsiteY28-9488" fmla="*/ 13830 h 2170985"/>
              <a:gd name="connsiteX29-9489" fmla="*/ 2034409 w 2804294"/>
              <a:gd name="connsiteY29-9490" fmla="*/ 13830 h 2170985"/>
              <a:gd name="connsiteX30-9491" fmla="*/ 1639548 w 2804294"/>
              <a:gd name="connsiteY30-9492" fmla="*/ 90862 h 2170985"/>
              <a:gd name="connsiteX31-9493" fmla="*/ 1654887 w 2804294"/>
              <a:gd name="connsiteY31-9494" fmla="*/ 157988 h 2170985"/>
              <a:gd name="connsiteX32-9495" fmla="*/ 1648887 w 2804294"/>
              <a:gd name="connsiteY32-9496" fmla="*/ 428058 h 2170985"/>
              <a:gd name="connsiteX33-9497" fmla="*/ 1466148 w 2804294"/>
              <a:gd name="connsiteY33-9498" fmla="*/ 631283 h 2170985"/>
              <a:gd name="connsiteX34-9499" fmla="*/ 1231973 w 2804294"/>
              <a:gd name="connsiteY34-9500" fmla="*/ 765098 h 2170985"/>
              <a:gd name="connsiteX35-9501" fmla="*/ 1109309 w 2804294"/>
              <a:gd name="connsiteY35-9502" fmla="*/ 876610 h 2170985"/>
              <a:gd name="connsiteX36-9503" fmla="*/ 640958 w 2804294"/>
              <a:gd name="connsiteY36-9504" fmla="*/ 999273 h 2170985"/>
              <a:gd name="connsiteX37-9505" fmla="*/ 574051 w 2804294"/>
              <a:gd name="connsiteY37-9506" fmla="*/ 1055030 h 2170985"/>
              <a:gd name="connsiteX38-9507" fmla="*/ 440236 w 2804294"/>
              <a:gd name="connsiteY38-9508" fmla="*/ 1378415 h 2170985"/>
              <a:gd name="connsiteX39-9509" fmla="*/ 128002 w 2804294"/>
              <a:gd name="connsiteY39-9510" fmla="*/ 1545683 h 2170985"/>
              <a:gd name="connsiteX40-9511" fmla="*/ 105699 w 2804294"/>
              <a:gd name="connsiteY40-9512" fmla="*/ 1690649 h 2170985"/>
              <a:gd name="connsiteX41-9513" fmla="*/ 27641 w 2804294"/>
              <a:gd name="connsiteY41-9514" fmla="*/ 1802161 h 2170985"/>
              <a:gd name="connsiteX42-9515" fmla="*/ 5338 w 2804294"/>
              <a:gd name="connsiteY42-9516" fmla="*/ 2036337 h 2170985"/>
              <a:gd name="connsiteX43-9517" fmla="*/ 1063 w 2804294"/>
              <a:gd name="connsiteY43-9518" fmla="*/ 1995248 h 2170985"/>
              <a:gd name="connsiteX44-9519" fmla="*/ 17008 w 2804294"/>
              <a:gd name="connsiteY44-9520" fmla="*/ 2047924 h 2170985"/>
              <a:gd name="connsiteX45-9521" fmla="*/ 128636 w 2804294"/>
              <a:gd name="connsiteY45-9522" fmla="*/ 2048571 h 2170985"/>
              <a:gd name="connsiteX46-9523" fmla="*/ 21003 w 2804294"/>
              <a:gd name="connsiteY46-9524" fmla="*/ 2044360 h 2170985"/>
              <a:gd name="connsiteX47-9525" fmla="*/ 346055 w 2804294"/>
              <a:gd name="connsiteY47-9526" fmla="*/ 2138677 h 2170985"/>
              <a:gd name="connsiteX0-9527" fmla="*/ 108153 w 2804294"/>
              <a:gd name="connsiteY0-9528" fmla="*/ 2044056 h 2170985"/>
              <a:gd name="connsiteX1-9529" fmla="*/ 96280 w 2804294"/>
              <a:gd name="connsiteY1-9530" fmla="*/ 2032182 h 2170985"/>
              <a:gd name="connsiteX2-9531" fmla="*/ 102217 w 2804294"/>
              <a:gd name="connsiteY2-9532" fmla="*/ 2044056 h 2170985"/>
              <a:gd name="connsiteX3-9533" fmla="*/ 261945 w 2804294"/>
              <a:gd name="connsiteY3-9534" fmla="*/ 2119628 h 2170985"/>
              <a:gd name="connsiteX4-9535" fmla="*/ 251002 w 2804294"/>
              <a:gd name="connsiteY4-9536" fmla="*/ 2138395 h 2170985"/>
              <a:gd name="connsiteX5-9537" fmla="*/ 588466 w 2804294"/>
              <a:gd name="connsiteY5-9538" fmla="*/ 2119362 h 2170985"/>
              <a:gd name="connsiteX6-9539" fmla="*/ 941719 w 2804294"/>
              <a:gd name="connsiteY6-9540" fmla="*/ 2057331 h 2170985"/>
              <a:gd name="connsiteX7-9541" fmla="*/ 964343 w 2804294"/>
              <a:gd name="connsiteY7-9542" fmla="*/ 1623742 h 2170985"/>
              <a:gd name="connsiteX8-9543" fmla="*/ 2079465 w 2804294"/>
              <a:gd name="connsiteY8-9544" fmla="*/ 1612591 h 2170985"/>
              <a:gd name="connsiteX9-9545" fmla="*/ 2068314 w 2804294"/>
              <a:gd name="connsiteY9-9546" fmla="*/ 765098 h 2170985"/>
              <a:gd name="connsiteX10-9547" fmla="*/ 2224431 w 2804294"/>
              <a:gd name="connsiteY10-9548" fmla="*/ 664737 h 2170985"/>
              <a:gd name="connsiteX11-9549" fmla="*/ 2570119 w 2804294"/>
              <a:gd name="connsiteY11-9550" fmla="*/ 486317 h 2170985"/>
              <a:gd name="connsiteX12-9551" fmla="*/ 2804294 w 2804294"/>
              <a:gd name="connsiteY12-9552" fmla="*/ 497469 h 2170985"/>
              <a:gd name="connsiteX13-9553" fmla="*/ 2804294 w 2804294"/>
              <a:gd name="connsiteY13-9554" fmla="*/ 330200 h 2170985"/>
              <a:gd name="connsiteX14-9555" fmla="*/ 2759690 w 2804294"/>
              <a:gd name="connsiteY14-9556" fmla="*/ 252142 h 2170985"/>
              <a:gd name="connsiteX15-9557" fmla="*/ 2748538 w 2804294"/>
              <a:gd name="connsiteY15-9558" fmla="*/ 218688 h 2170985"/>
              <a:gd name="connsiteX16-9559" fmla="*/ 2692782 w 2804294"/>
              <a:gd name="connsiteY16-9560" fmla="*/ 196386 h 2170985"/>
              <a:gd name="connsiteX17-9561" fmla="*/ 2681631 w 2804294"/>
              <a:gd name="connsiteY17-9562" fmla="*/ 240991 h 2170985"/>
              <a:gd name="connsiteX18-9563" fmla="*/ 2558968 w 2804294"/>
              <a:gd name="connsiteY18-9564" fmla="*/ 207537 h 2170985"/>
              <a:gd name="connsiteX19-9565" fmla="*/ 2524923 w 2804294"/>
              <a:gd name="connsiteY19-9566" fmla="*/ 215348 h 2170985"/>
              <a:gd name="connsiteX20-9567" fmla="*/ 2440538 w 2804294"/>
              <a:gd name="connsiteY20-9568" fmla="*/ 225252 h 2170985"/>
              <a:gd name="connsiteX21-9569" fmla="*/ 2431388 w 2804294"/>
              <a:gd name="connsiteY21-9570" fmla="*/ 131304 h 2170985"/>
              <a:gd name="connsiteX22-9571" fmla="*/ 2365894 w 2804294"/>
              <a:gd name="connsiteY22-9572" fmla="*/ 53940 h 2170985"/>
              <a:gd name="connsiteX23-9573" fmla="*/ 2316149 w 2804294"/>
              <a:gd name="connsiteY23-9574" fmla="*/ 26305 h 2170985"/>
              <a:gd name="connsiteX24-9575" fmla="*/ 2260399 w 2804294"/>
              <a:gd name="connsiteY24-9576" fmla="*/ 53133 h 2170985"/>
              <a:gd name="connsiteX25-9577" fmla="*/ 2062735 w 2804294"/>
              <a:gd name="connsiteY25-9578" fmla="*/ 107556 h 2170985"/>
              <a:gd name="connsiteX26-9579" fmla="*/ 2061424 w 2804294"/>
              <a:gd name="connsiteY26-9580" fmla="*/ 110677 h 2170985"/>
              <a:gd name="connsiteX27-9581" fmla="*/ 2055675 w 2804294"/>
              <a:gd name="connsiteY27-9582" fmla="*/ 31297 h 2170985"/>
              <a:gd name="connsiteX28-9583" fmla="*/ 1800411 w 2804294"/>
              <a:gd name="connsiteY28-9584" fmla="*/ 96812 h 2170985"/>
              <a:gd name="connsiteX29-9585" fmla="*/ 2021710 w 2804294"/>
              <a:gd name="connsiteY29-9586" fmla="*/ 13830 h 2170985"/>
              <a:gd name="connsiteX30-9587" fmla="*/ 2034409 w 2804294"/>
              <a:gd name="connsiteY30-9588" fmla="*/ 13830 h 2170985"/>
              <a:gd name="connsiteX31-9589" fmla="*/ 1639548 w 2804294"/>
              <a:gd name="connsiteY31-9590" fmla="*/ 90862 h 2170985"/>
              <a:gd name="connsiteX32-9591" fmla="*/ 1654887 w 2804294"/>
              <a:gd name="connsiteY32-9592" fmla="*/ 157988 h 2170985"/>
              <a:gd name="connsiteX33-9593" fmla="*/ 1648887 w 2804294"/>
              <a:gd name="connsiteY33-9594" fmla="*/ 428058 h 2170985"/>
              <a:gd name="connsiteX34-9595" fmla="*/ 1466148 w 2804294"/>
              <a:gd name="connsiteY34-9596" fmla="*/ 631283 h 2170985"/>
              <a:gd name="connsiteX35-9597" fmla="*/ 1231973 w 2804294"/>
              <a:gd name="connsiteY35-9598" fmla="*/ 765098 h 2170985"/>
              <a:gd name="connsiteX36-9599" fmla="*/ 1109309 w 2804294"/>
              <a:gd name="connsiteY36-9600" fmla="*/ 876610 h 2170985"/>
              <a:gd name="connsiteX37-9601" fmla="*/ 640958 w 2804294"/>
              <a:gd name="connsiteY37-9602" fmla="*/ 999273 h 2170985"/>
              <a:gd name="connsiteX38-9603" fmla="*/ 574051 w 2804294"/>
              <a:gd name="connsiteY38-9604" fmla="*/ 1055030 h 2170985"/>
              <a:gd name="connsiteX39-9605" fmla="*/ 440236 w 2804294"/>
              <a:gd name="connsiteY39-9606" fmla="*/ 1378415 h 2170985"/>
              <a:gd name="connsiteX40-9607" fmla="*/ 128002 w 2804294"/>
              <a:gd name="connsiteY40-9608" fmla="*/ 1545683 h 2170985"/>
              <a:gd name="connsiteX41-9609" fmla="*/ 105699 w 2804294"/>
              <a:gd name="connsiteY41-9610" fmla="*/ 1690649 h 2170985"/>
              <a:gd name="connsiteX42-9611" fmla="*/ 27641 w 2804294"/>
              <a:gd name="connsiteY42-9612" fmla="*/ 1802161 h 2170985"/>
              <a:gd name="connsiteX43-9613" fmla="*/ 5338 w 2804294"/>
              <a:gd name="connsiteY43-9614" fmla="*/ 2036337 h 2170985"/>
              <a:gd name="connsiteX44-9615" fmla="*/ 1063 w 2804294"/>
              <a:gd name="connsiteY44-9616" fmla="*/ 1995248 h 2170985"/>
              <a:gd name="connsiteX45-9617" fmla="*/ 17008 w 2804294"/>
              <a:gd name="connsiteY45-9618" fmla="*/ 2047924 h 2170985"/>
              <a:gd name="connsiteX46-9619" fmla="*/ 128636 w 2804294"/>
              <a:gd name="connsiteY46-9620" fmla="*/ 2048571 h 2170985"/>
              <a:gd name="connsiteX47-9621" fmla="*/ 21003 w 2804294"/>
              <a:gd name="connsiteY47-9622" fmla="*/ 2044360 h 2170985"/>
              <a:gd name="connsiteX48-9623" fmla="*/ 346055 w 2804294"/>
              <a:gd name="connsiteY48-9624" fmla="*/ 2138677 h 2170985"/>
              <a:gd name="connsiteX0-9625" fmla="*/ 108153 w 2804294"/>
              <a:gd name="connsiteY0-9626" fmla="*/ 2044056 h 2170985"/>
              <a:gd name="connsiteX1-9627" fmla="*/ 96280 w 2804294"/>
              <a:gd name="connsiteY1-9628" fmla="*/ 2032182 h 2170985"/>
              <a:gd name="connsiteX2-9629" fmla="*/ 102217 w 2804294"/>
              <a:gd name="connsiteY2-9630" fmla="*/ 2044056 h 2170985"/>
              <a:gd name="connsiteX3-9631" fmla="*/ 261945 w 2804294"/>
              <a:gd name="connsiteY3-9632" fmla="*/ 2119628 h 2170985"/>
              <a:gd name="connsiteX4-9633" fmla="*/ 251002 w 2804294"/>
              <a:gd name="connsiteY4-9634" fmla="*/ 2138395 h 2170985"/>
              <a:gd name="connsiteX5-9635" fmla="*/ 588466 w 2804294"/>
              <a:gd name="connsiteY5-9636" fmla="*/ 2119362 h 2170985"/>
              <a:gd name="connsiteX6-9637" fmla="*/ 941719 w 2804294"/>
              <a:gd name="connsiteY6-9638" fmla="*/ 2057331 h 2170985"/>
              <a:gd name="connsiteX7-9639" fmla="*/ 964343 w 2804294"/>
              <a:gd name="connsiteY7-9640" fmla="*/ 1623742 h 2170985"/>
              <a:gd name="connsiteX8-9641" fmla="*/ 2079465 w 2804294"/>
              <a:gd name="connsiteY8-9642" fmla="*/ 1612591 h 2170985"/>
              <a:gd name="connsiteX9-9643" fmla="*/ 2068314 w 2804294"/>
              <a:gd name="connsiteY9-9644" fmla="*/ 765098 h 2170985"/>
              <a:gd name="connsiteX10-9645" fmla="*/ 2224431 w 2804294"/>
              <a:gd name="connsiteY10-9646" fmla="*/ 664737 h 2170985"/>
              <a:gd name="connsiteX11-9647" fmla="*/ 2570119 w 2804294"/>
              <a:gd name="connsiteY11-9648" fmla="*/ 486317 h 2170985"/>
              <a:gd name="connsiteX12-9649" fmla="*/ 2804294 w 2804294"/>
              <a:gd name="connsiteY12-9650" fmla="*/ 497469 h 2170985"/>
              <a:gd name="connsiteX13-9651" fmla="*/ 2804294 w 2804294"/>
              <a:gd name="connsiteY13-9652" fmla="*/ 330200 h 2170985"/>
              <a:gd name="connsiteX14-9653" fmla="*/ 2759690 w 2804294"/>
              <a:gd name="connsiteY14-9654" fmla="*/ 252142 h 2170985"/>
              <a:gd name="connsiteX15-9655" fmla="*/ 2748538 w 2804294"/>
              <a:gd name="connsiteY15-9656" fmla="*/ 218688 h 2170985"/>
              <a:gd name="connsiteX16-9657" fmla="*/ 2692782 w 2804294"/>
              <a:gd name="connsiteY16-9658" fmla="*/ 196386 h 2170985"/>
              <a:gd name="connsiteX17-9659" fmla="*/ 2681631 w 2804294"/>
              <a:gd name="connsiteY17-9660" fmla="*/ 240991 h 2170985"/>
              <a:gd name="connsiteX18-9661" fmla="*/ 2558968 w 2804294"/>
              <a:gd name="connsiteY18-9662" fmla="*/ 207537 h 2170985"/>
              <a:gd name="connsiteX19-9663" fmla="*/ 2524923 w 2804294"/>
              <a:gd name="connsiteY19-9664" fmla="*/ 215348 h 2170985"/>
              <a:gd name="connsiteX20-9665" fmla="*/ 2440538 w 2804294"/>
              <a:gd name="connsiteY20-9666" fmla="*/ 225252 h 2170985"/>
              <a:gd name="connsiteX21-9667" fmla="*/ 2431388 w 2804294"/>
              <a:gd name="connsiteY21-9668" fmla="*/ 131304 h 2170985"/>
              <a:gd name="connsiteX22-9669" fmla="*/ 2365894 w 2804294"/>
              <a:gd name="connsiteY22-9670" fmla="*/ 53940 h 2170985"/>
              <a:gd name="connsiteX23-9671" fmla="*/ 2316149 w 2804294"/>
              <a:gd name="connsiteY23-9672" fmla="*/ 26305 h 2170985"/>
              <a:gd name="connsiteX24-9673" fmla="*/ 2260399 w 2804294"/>
              <a:gd name="connsiteY24-9674" fmla="*/ 53133 h 2170985"/>
              <a:gd name="connsiteX25-9675" fmla="*/ 2062735 w 2804294"/>
              <a:gd name="connsiteY25-9676" fmla="*/ 107556 h 2170985"/>
              <a:gd name="connsiteX26-9677" fmla="*/ 2055675 w 2804294"/>
              <a:gd name="connsiteY26-9678" fmla="*/ 31297 h 2170985"/>
              <a:gd name="connsiteX27-9679" fmla="*/ 1800411 w 2804294"/>
              <a:gd name="connsiteY27-9680" fmla="*/ 96812 h 2170985"/>
              <a:gd name="connsiteX28-9681" fmla="*/ 2021710 w 2804294"/>
              <a:gd name="connsiteY28-9682" fmla="*/ 13830 h 2170985"/>
              <a:gd name="connsiteX29-9683" fmla="*/ 2034409 w 2804294"/>
              <a:gd name="connsiteY29-9684" fmla="*/ 13830 h 2170985"/>
              <a:gd name="connsiteX30-9685" fmla="*/ 1639548 w 2804294"/>
              <a:gd name="connsiteY30-9686" fmla="*/ 90862 h 2170985"/>
              <a:gd name="connsiteX31-9687" fmla="*/ 1654887 w 2804294"/>
              <a:gd name="connsiteY31-9688" fmla="*/ 157988 h 2170985"/>
              <a:gd name="connsiteX32-9689" fmla="*/ 1648887 w 2804294"/>
              <a:gd name="connsiteY32-9690" fmla="*/ 428058 h 2170985"/>
              <a:gd name="connsiteX33-9691" fmla="*/ 1466148 w 2804294"/>
              <a:gd name="connsiteY33-9692" fmla="*/ 631283 h 2170985"/>
              <a:gd name="connsiteX34-9693" fmla="*/ 1231973 w 2804294"/>
              <a:gd name="connsiteY34-9694" fmla="*/ 765098 h 2170985"/>
              <a:gd name="connsiteX35-9695" fmla="*/ 1109309 w 2804294"/>
              <a:gd name="connsiteY35-9696" fmla="*/ 876610 h 2170985"/>
              <a:gd name="connsiteX36-9697" fmla="*/ 640958 w 2804294"/>
              <a:gd name="connsiteY36-9698" fmla="*/ 999273 h 2170985"/>
              <a:gd name="connsiteX37-9699" fmla="*/ 574051 w 2804294"/>
              <a:gd name="connsiteY37-9700" fmla="*/ 1055030 h 2170985"/>
              <a:gd name="connsiteX38-9701" fmla="*/ 440236 w 2804294"/>
              <a:gd name="connsiteY38-9702" fmla="*/ 1378415 h 2170985"/>
              <a:gd name="connsiteX39-9703" fmla="*/ 128002 w 2804294"/>
              <a:gd name="connsiteY39-9704" fmla="*/ 1545683 h 2170985"/>
              <a:gd name="connsiteX40-9705" fmla="*/ 105699 w 2804294"/>
              <a:gd name="connsiteY40-9706" fmla="*/ 1690649 h 2170985"/>
              <a:gd name="connsiteX41-9707" fmla="*/ 27641 w 2804294"/>
              <a:gd name="connsiteY41-9708" fmla="*/ 1802161 h 2170985"/>
              <a:gd name="connsiteX42-9709" fmla="*/ 5338 w 2804294"/>
              <a:gd name="connsiteY42-9710" fmla="*/ 2036337 h 2170985"/>
              <a:gd name="connsiteX43-9711" fmla="*/ 1063 w 2804294"/>
              <a:gd name="connsiteY43-9712" fmla="*/ 1995248 h 2170985"/>
              <a:gd name="connsiteX44-9713" fmla="*/ 17008 w 2804294"/>
              <a:gd name="connsiteY44-9714" fmla="*/ 2047924 h 2170985"/>
              <a:gd name="connsiteX45-9715" fmla="*/ 128636 w 2804294"/>
              <a:gd name="connsiteY45-9716" fmla="*/ 2048571 h 2170985"/>
              <a:gd name="connsiteX46-9717" fmla="*/ 21003 w 2804294"/>
              <a:gd name="connsiteY46-9718" fmla="*/ 2044360 h 2170985"/>
              <a:gd name="connsiteX47-9719" fmla="*/ 346055 w 2804294"/>
              <a:gd name="connsiteY47-9720" fmla="*/ 2138677 h 2170985"/>
              <a:gd name="connsiteX0-9721" fmla="*/ 108153 w 2804294"/>
              <a:gd name="connsiteY0-9722" fmla="*/ 2044056 h 2170985"/>
              <a:gd name="connsiteX1-9723" fmla="*/ 96280 w 2804294"/>
              <a:gd name="connsiteY1-9724" fmla="*/ 2032182 h 2170985"/>
              <a:gd name="connsiteX2-9725" fmla="*/ 102217 w 2804294"/>
              <a:gd name="connsiteY2-9726" fmla="*/ 2044056 h 2170985"/>
              <a:gd name="connsiteX3-9727" fmla="*/ 261945 w 2804294"/>
              <a:gd name="connsiteY3-9728" fmla="*/ 2119628 h 2170985"/>
              <a:gd name="connsiteX4-9729" fmla="*/ 251002 w 2804294"/>
              <a:gd name="connsiteY4-9730" fmla="*/ 2138395 h 2170985"/>
              <a:gd name="connsiteX5-9731" fmla="*/ 588466 w 2804294"/>
              <a:gd name="connsiteY5-9732" fmla="*/ 2119362 h 2170985"/>
              <a:gd name="connsiteX6-9733" fmla="*/ 941719 w 2804294"/>
              <a:gd name="connsiteY6-9734" fmla="*/ 2057331 h 2170985"/>
              <a:gd name="connsiteX7-9735" fmla="*/ 964343 w 2804294"/>
              <a:gd name="connsiteY7-9736" fmla="*/ 1623742 h 2170985"/>
              <a:gd name="connsiteX8-9737" fmla="*/ 2079465 w 2804294"/>
              <a:gd name="connsiteY8-9738" fmla="*/ 1612591 h 2170985"/>
              <a:gd name="connsiteX9-9739" fmla="*/ 2068314 w 2804294"/>
              <a:gd name="connsiteY9-9740" fmla="*/ 765098 h 2170985"/>
              <a:gd name="connsiteX10-9741" fmla="*/ 2224431 w 2804294"/>
              <a:gd name="connsiteY10-9742" fmla="*/ 664737 h 2170985"/>
              <a:gd name="connsiteX11-9743" fmla="*/ 2570119 w 2804294"/>
              <a:gd name="connsiteY11-9744" fmla="*/ 486317 h 2170985"/>
              <a:gd name="connsiteX12-9745" fmla="*/ 2804294 w 2804294"/>
              <a:gd name="connsiteY12-9746" fmla="*/ 497469 h 2170985"/>
              <a:gd name="connsiteX13-9747" fmla="*/ 2804294 w 2804294"/>
              <a:gd name="connsiteY13-9748" fmla="*/ 330200 h 2170985"/>
              <a:gd name="connsiteX14-9749" fmla="*/ 2759690 w 2804294"/>
              <a:gd name="connsiteY14-9750" fmla="*/ 252142 h 2170985"/>
              <a:gd name="connsiteX15-9751" fmla="*/ 2748538 w 2804294"/>
              <a:gd name="connsiteY15-9752" fmla="*/ 218688 h 2170985"/>
              <a:gd name="connsiteX16-9753" fmla="*/ 2692782 w 2804294"/>
              <a:gd name="connsiteY16-9754" fmla="*/ 196386 h 2170985"/>
              <a:gd name="connsiteX17-9755" fmla="*/ 2681631 w 2804294"/>
              <a:gd name="connsiteY17-9756" fmla="*/ 240991 h 2170985"/>
              <a:gd name="connsiteX18-9757" fmla="*/ 2558968 w 2804294"/>
              <a:gd name="connsiteY18-9758" fmla="*/ 207537 h 2170985"/>
              <a:gd name="connsiteX19-9759" fmla="*/ 2524923 w 2804294"/>
              <a:gd name="connsiteY19-9760" fmla="*/ 215348 h 2170985"/>
              <a:gd name="connsiteX20-9761" fmla="*/ 2440538 w 2804294"/>
              <a:gd name="connsiteY20-9762" fmla="*/ 225252 h 2170985"/>
              <a:gd name="connsiteX21-9763" fmla="*/ 2431388 w 2804294"/>
              <a:gd name="connsiteY21-9764" fmla="*/ 131304 h 2170985"/>
              <a:gd name="connsiteX22-9765" fmla="*/ 2365894 w 2804294"/>
              <a:gd name="connsiteY22-9766" fmla="*/ 53940 h 2170985"/>
              <a:gd name="connsiteX23-9767" fmla="*/ 2316149 w 2804294"/>
              <a:gd name="connsiteY23-9768" fmla="*/ 26305 h 2170985"/>
              <a:gd name="connsiteX24-9769" fmla="*/ 2260399 w 2804294"/>
              <a:gd name="connsiteY24-9770" fmla="*/ 53133 h 2170985"/>
              <a:gd name="connsiteX25-9771" fmla="*/ 2055675 w 2804294"/>
              <a:gd name="connsiteY25-9772" fmla="*/ 31297 h 2170985"/>
              <a:gd name="connsiteX26-9773" fmla="*/ 1800411 w 2804294"/>
              <a:gd name="connsiteY26-9774" fmla="*/ 96812 h 2170985"/>
              <a:gd name="connsiteX27-9775" fmla="*/ 2021710 w 2804294"/>
              <a:gd name="connsiteY27-9776" fmla="*/ 13830 h 2170985"/>
              <a:gd name="connsiteX28-9777" fmla="*/ 2034409 w 2804294"/>
              <a:gd name="connsiteY28-9778" fmla="*/ 13830 h 2170985"/>
              <a:gd name="connsiteX29-9779" fmla="*/ 1639548 w 2804294"/>
              <a:gd name="connsiteY29-9780" fmla="*/ 90862 h 2170985"/>
              <a:gd name="connsiteX30-9781" fmla="*/ 1654887 w 2804294"/>
              <a:gd name="connsiteY30-9782" fmla="*/ 157988 h 2170985"/>
              <a:gd name="connsiteX31-9783" fmla="*/ 1648887 w 2804294"/>
              <a:gd name="connsiteY31-9784" fmla="*/ 428058 h 2170985"/>
              <a:gd name="connsiteX32-9785" fmla="*/ 1466148 w 2804294"/>
              <a:gd name="connsiteY32-9786" fmla="*/ 631283 h 2170985"/>
              <a:gd name="connsiteX33-9787" fmla="*/ 1231973 w 2804294"/>
              <a:gd name="connsiteY33-9788" fmla="*/ 765098 h 2170985"/>
              <a:gd name="connsiteX34-9789" fmla="*/ 1109309 w 2804294"/>
              <a:gd name="connsiteY34-9790" fmla="*/ 876610 h 2170985"/>
              <a:gd name="connsiteX35-9791" fmla="*/ 640958 w 2804294"/>
              <a:gd name="connsiteY35-9792" fmla="*/ 999273 h 2170985"/>
              <a:gd name="connsiteX36-9793" fmla="*/ 574051 w 2804294"/>
              <a:gd name="connsiteY36-9794" fmla="*/ 1055030 h 2170985"/>
              <a:gd name="connsiteX37-9795" fmla="*/ 440236 w 2804294"/>
              <a:gd name="connsiteY37-9796" fmla="*/ 1378415 h 2170985"/>
              <a:gd name="connsiteX38-9797" fmla="*/ 128002 w 2804294"/>
              <a:gd name="connsiteY38-9798" fmla="*/ 1545683 h 2170985"/>
              <a:gd name="connsiteX39-9799" fmla="*/ 105699 w 2804294"/>
              <a:gd name="connsiteY39-9800" fmla="*/ 1690649 h 2170985"/>
              <a:gd name="connsiteX40-9801" fmla="*/ 27641 w 2804294"/>
              <a:gd name="connsiteY40-9802" fmla="*/ 1802161 h 2170985"/>
              <a:gd name="connsiteX41-9803" fmla="*/ 5338 w 2804294"/>
              <a:gd name="connsiteY41-9804" fmla="*/ 2036337 h 2170985"/>
              <a:gd name="connsiteX42-9805" fmla="*/ 1063 w 2804294"/>
              <a:gd name="connsiteY42-9806" fmla="*/ 1995248 h 2170985"/>
              <a:gd name="connsiteX43-9807" fmla="*/ 17008 w 2804294"/>
              <a:gd name="connsiteY43-9808" fmla="*/ 2047924 h 2170985"/>
              <a:gd name="connsiteX44-9809" fmla="*/ 128636 w 2804294"/>
              <a:gd name="connsiteY44-9810" fmla="*/ 2048571 h 2170985"/>
              <a:gd name="connsiteX45-9811" fmla="*/ 21003 w 2804294"/>
              <a:gd name="connsiteY45-9812" fmla="*/ 2044360 h 2170985"/>
              <a:gd name="connsiteX46-9813" fmla="*/ 346055 w 2804294"/>
              <a:gd name="connsiteY46-9814" fmla="*/ 2138677 h 2170985"/>
              <a:gd name="connsiteX0-9815" fmla="*/ 108153 w 2804294"/>
              <a:gd name="connsiteY0-9816" fmla="*/ 2043065 h 2169994"/>
              <a:gd name="connsiteX1-9817" fmla="*/ 96280 w 2804294"/>
              <a:gd name="connsiteY1-9818" fmla="*/ 2031191 h 2169994"/>
              <a:gd name="connsiteX2-9819" fmla="*/ 102217 w 2804294"/>
              <a:gd name="connsiteY2-9820" fmla="*/ 2043065 h 2169994"/>
              <a:gd name="connsiteX3-9821" fmla="*/ 261945 w 2804294"/>
              <a:gd name="connsiteY3-9822" fmla="*/ 2118637 h 2169994"/>
              <a:gd name="connsiteX4-9823" fmla="*/ 251002 w 2804294"/>
              <a:gd name="connsiteY4-9824" fmla="*/ 2137404 h 2169994"/>
              <a:gd name="connsiteX5-9825" fmla="*/ 588466 w 2804294"/>
              <a:gd name="connsiteY5-9826" fmla="*/ 2118371 h 2169994"/>
              <a:gd name="connsiteX6-9827" fmla="*/ 941719 w 2804294"/>
              <a:gd name="connsiteY6-9828" fmla="*/ 2056340 h 2169994"/>
              <a:gd name="connsiteX7-9829" fmla="*/ 964343 w 2804294"/>
              <a:gd name="connsiteY7-9830" fmla="*/ 1622751 h 2169994"/>
              <a:gd name="connsiteX8-9831" fmla="*/ 2079465 w 2804294"/>
              <a:gd name="connsiteY8-9832" fmla="*/ 1611600 h 2169994"/>
              <a:gd name="connsiteX9-9833" fmla="*/ 2068314 w 2804294"/>
              <a:gd name="connsiteY9-9834" fmla="*/ 764107 h 2169994"/>
              <a:gd name="connsiteX10-9835" fmla="*/ 2224431 w 2804294"/>
              <a:gd name="connsiteY10-9836" fmla="*/ 663746 h 2169994"/>
              <a:gd name="connsiteX11-9837" fmla="*/ 2570119 w 2804294"/>
              <a:gd name="connsiteY11-9838" fmla="*/ 485326 h 2169994"/>
              <a:gd name="connsiteX12-9839" fmla="*/ 2804294 w 2804294"/>
              <a:gd name="connsiteY12-9840" fmla="*/ 496478 h 2169994"/>
              <a:gd name="connsiteX13-9841" fmla="*/ 2804294 w 2804294"/>
              <a:gd name="connsiteY13-9842" fmla="*/ 329209 h 2169994"/>
              <a:gd name="connsiteX14-9843" fmla="*/ 2759690 w 2804294"/>
              <a:gd name="connsiteY14-9844" fmla="*/ 251151 h 2169994"/>
              <a:gd name="connsiteX15-9845" fmla="*/ 2748538 w 2804294"/>
              <a:gd name="connsiteY15-9846" fmla="*/ 217697 h 2169994"/>
              <a:gd name="connsiteX16-9847" fmla="*/ 2692782 w 2804294"/>
              <a:gd name="connsiteY16-9848" fmla="*/ 195395 h 2169994"/>
              <a:gd name="connsiteX17-9849" fmla="*/ 2681631 w 2804294"/>
              <a:gd name="connsiteY17-9850" fmla="*/ 240000 h 2169994"/>
              <a:gd name="connsiteX18-9851" fmla="*/ 2558968 w 2804294"/>
              <a:gd name="connsiteY18-9852" fmla="*/ 206546 h 2169994"/>
              <a:gd name="connsiteX19-9853" fmla="*/ 2524923 w 2804294"/>
              <a:gd name="connsiteY19-9854" fmla="*/ 214357 h 2169994"/>
              <a:gd name="connsiteX20-9855" fmla="*/ 2440538 w 2804294"/>
              <a:gd name="connsiteY20-9856" fmla="*/ 224261 h 2169994"/>
              <a:gd name="connsiteX21-9857" fmla="*/ 2431388 w 2804294"/>
              <a:gd name="connsiteY21-9858" fmla="*/ 130313 h 2169994"/>
              <a:gd name="connsiteX22-9859" fmla="*/ 2365894 w 2804294"/>
              <a:gd name="connsiteY22-9860" fmla="*/ 52949 h 2169994"/>
              <a:gd name="connsiteX23-9861" fmla="*/ 2316149 w 2804294"/>
              <a:gd name="connsiteY23-9862" fmla="*/ 25314 h 2169994"/>
              <a:gd name="connsiteX24-9863" fmla="*/ 2260399 w 2804294"/>
              <a:gd name="connsiteY24-9864" fmla="*/ 52142 h 2169994"/>
              <a:gd name="connsiteX25-9865" fmla="*/ 2055675 w 2804294"/>
              <a:gd name="connsiteY25-9866" fmla="*/ 30306 h 2169994"/>
              <a:gd name="connsiteX26-9867" fmla="*/ 2021710 w 2804294"/>
              <a:gd name="connsiteY26-9868" fmla="*/ 12839 h 2169994"/>
              <a:gd name="connsiteX27-9869" fmla="*/ 2034409 w 2804294"/>
              <a:gd name="connsiteY27-9870" fmla="*/ 12839 h 2169994"/>
              <a:gd name="connsiteX28-9871" fmla="*/ 1639548 w 2804294"/>
              <a:gd name="connsiteY28-9872" fmla="*/ 89871 h 2169994"/>
              <a:gd name="connsiteX29-9873" fmla="*/ 1654887 w 2804294"/>
              <a:gd name="connsiteY29-9874" fmla="*/ 156997 h 2169994"/>
              <a:gd name="connsiteX30-9875" fmla="*/ 1648887 w 2804294"/>
              <a:gd name="connsiteY30-9876" fmla="*/ 427067 h 2169994"/>
              <a:gd name="connsiteX31-9877" fmla="*/ 1466148 w 2804294"/>
              <a:gd name="connsiteY31-9878" fmla="*/ 630292 h 2169994"/>
              <a:gd name="connsiteX32-9879" fmla="*/ 1231973 w 2804294"/>
              <a:gd name="connsiteY32-9880" fmla="*/ 764107 h 2169994"/>
              <a:gd name="connsiteX33-9881" fmla="*/ 1109309 w 2804294"/>
              <a:gd name="connsiteY33-9882" fmla="*/ 875619 h 2169994"/>
              <a:gd name="connsiteX34-9883" fmla="*/ 640958 w 2804294"/>
              <a:gd name="connsiteY34-9884" fmla="*/ 998282 h 2169994"/>
              <a:gd name="connsiteX35-9885" fmla="*/ 574051 w 2804294"/>
              <a:gd name="connsiteY35-9886" fmla="*/ 1054039 h 2169994"/>
              <a:gd name="connsiteX36-9887" fmla="*/ 440236 w 2804294"/>
              <a:gd name="connsiteY36-9888" fmla="*/ 1377424 h 2169994"/>
              <a:gd name="connsiteX37-9889" fmla="*/ 128002 w 2804294"/>
              <a:gd name="connsiteY37-9890" fmla="*/ 1544692 h 2169994"/>
              <a:gd name="connsiteX38-9891" fmla="*/ 105699 w 2804294"/>
              <a:gd name="connsiteY38-9892" fmla="*/ 1689658 h 2169994"/>
              <a:gd name="connsiteX39-9893" fmla="*/ 27641 w 2804294"/>
              <a:gd name="connsiteY39-9894" fmla="*/ 1801170 h 2169994"/>
              <a:gd name="connsiteX40-9895" fmla="*/ 5338 w 2804294"/>
              <a:gd name="connsiteY40-9896" fmla="*/ 2035346 h 2169994"/>
              <a:gd name="connsiteX41-9897" fmla="*/ 1063 w 2804294"/>
              <a:gd name="connsiteY41-9898" fmla="*/ 1994257 h 2169994"/>
              <a:gd name="connsiteX42-9899" fmla="*/ 17008 w 2804294"/>
              <a:gd name="connsiteY42-9900" fmla="*/ 2046933 h 2169994"/>
              <a:gd name="connsiteX43-9901" fmla="*/ 128636 w 2804294"/>
              <a:gd name="connsiteY43-9902" fmla="*/ 2047580 h 2169994"/>
              <a:gd name="connsiteX44-9903" fmla="*/ 21003 w 2804294"/>
              <a:gd name="connsiteY44-9904" fmla="*/ 2043369 h 2169994"/>
              <a:gd name="connsiteX45-9905" fmla="*/ 346055 w 2804294"/>
              <a:gd name="connsiteY45-9906" fmla="*/ 2137686 h 2169994"/>
              <a:gd name="connsiteX0-9907" fmla="*/ 108153 w 2804294"/>
              <a:gd name="connsiteY0-9908" fmla="*/ 2043062 h 2169991"/>
              <a:gd name="connsiteX1-9909" fmla="*/ 96280 w 2804294"/>
              <a:gd name="connsiteY1-9910" fmla="*/ 2031188 h 2169991"/>
              <a:gd name="connsiteX2-9911" fmla="*/ 102217 w 2804294"/>
              <a:gd name="connsiteY2-9912" fmla="*/ 2043062 h 2169991"/>
              <a:gd name="connsiteX3-9913" fmla="*/ 261945 w 2804294"/>
              <a:gd name="connsiteY3-9914" fmla="*/ 2118634 h 2169991"/>
              <a:gd name="connsiteX4-9915" fmla="*/ 251002 w 2804294"/>
              <a:gd name="connsiteY4-9916" fmla="*/ 2137401 h 2169991"/>
              <a:gd name="connsiteX5-9917" fmla="*/ 588466 w 2804294"/>
              <a:gd name="connsiteY5-9918" fmla="*/ 2118368 h 2169991"/>
              <a:gd name="connsiteX6-9919" fmla="*/ 941719 w 2804294"/>
              <a:gd name="connsiteY6-9920" fmla="*/ 2056337 h 2169991"/>
              <a:gd name="connsiteX7-9921" fmla="*/ 964343 w 2804294"/>
              <a:gd name="connsiteY7-9922" fmla="*/ 1622748 h 2169991"/>
              <a:gd name="connsiteX8-9923" fmla="*/ 2079465 w 2804294"/>
              <a:gd name="connsiteY8-9924" fmla="*/ 1611597 h 2169991"/>
              <a:gd name="connsiteX9-9925" fmla="*/ 2068314 w 2804294"/>
              <a:gd name="connsiteY9-9926" fmla="*/ 764104 h 2169991"/>
              <a:gd name="connsiteX10-9927" fmla="*/ 2224431 w 2804294"/>
              <a:gd name="connsiteY10-9928" fmla="*/ 663743 h 2169991"/>
              <a:gd name="connsiteX11-9929" fmla="*/ 2570119 w 2804294"/>
              <a:gd name="connsiteY11-9930" fmla="*/ 485323 h 2169991"/>
              <a:gd name="connsiteX12-9931" fmla="*/ 2804294 w 2804294"/>
              <a:gd name="connsiteY12-9932" fmla="*/ 496475 h 2169991"/>
              <a:gd name="connsiteX13-9933" fmla="*/ 2804294 w 2804294"/>
              <a:gd name="connsiteY13-9934" fmla="*/ 329206 h 2169991"/>
              <a:gd name="connsiteX14-9935" fmla="*/ 2759690 w 2804294"/>
              <a:gd name="connsiteY14-9936" fmla="*/ 251148 h 2169991"/>
              <a:gd name="connsiteX15-9937" fmla="*/ 2748538 w 2804294"/>
              <a:gd name="connsiteY15-9938" fmla="*/ 217694 h 2169991"/>
              <a:gd name="connsiteX16-9939" fmla="*/ 2692782 w 2804294"/>
              <a:gd name="connsiteY16-9940" fmla="*/ 195392 h 2169991"/>
              <a:gd name="connsiteX17-9941" fmla="*/ 2681631 w 2804294"/>
              <a:gd name="connsiteY17-9942" fmla="*/ 239997 h 2169991"/>
              <a:gd name="connsiteX18-9943" fmla="*/ 2558968 w 2804294"/>
              <a:gd name="connsiteY18-9944" fmla="*/ 206543 h 2169991"/>
              <a:gd name="connsiteX19-9945" fmla="*/ 2524923 w 2804294"/>
              <a:gd name="connsiteY19-9946" fmla="*/ 214354 h 2169991"/>
              <a:gd name="connsiteX20-9947" fmla="*/ 2440538 w 2804294"/>
              <a:gd name="connsiteY20-9948" fmla="*/ 224258 h 2169991"/>
              <a:gd name="connsiteX21-9949" fmla="*/ 2431388 w 2804294"/>
              <a:gd name="connsiteY21-9950" fmla="*/ 130310 h 2169991"/>
              <a:gd name="connsiteX22-9951" fmla="*/ 2365894 w 2804294"/>
              <a:gd name="connsiteY22-9952" fmla="*/ 52946 h 2169991"/>
              <a:gd name="connsiteX23-9953" fmla="*/ 2316149 w 2804294"/>
              <a:gd name="connsiteY23-9954" fmla="*/ 25311 h 2169991"/>
              <a:gd name="connsiteX24-9955" fmla="*/ 2260399 w 2804294"/>
              <a:gd name="connsiteY24-9956" fmla="*/ 52139 h 2169991"/>
              <a:gd name="connsiteX25-9957" fmla="*/ 2055675 w 2804294"/>
              <a:gd name="connsiteY25-9958" fmla="*/ 30303 h 2169991"/>
              <a:gd name="connsiteX26-9959" fmla="*/ 2021710 w 2804294"/>
              <a:gd name="connsiteY26-9960" fmla="*/ 12836 h 2169991"/>
              <a:gd name="connsiteX27-9961" fmla="*/ 2034409 w 2804294"/>
              <a:gd name="connsiteY27-9962" fmla="*/ 12836 h 2169991"/>
              <a:gd name="connsiteX28-9963" fmla="*/ 1710768 w 2804294"/>
              <a:gd name="connsiteY28-9964" fmla="*/ 89853 h 2169991"/>
              <a:gd name="connsiteX29-9965" fmla="*/ 1654887 w 2804294"/>
              <a:gd name="connsiteY29-9966" fmla="*/ 156994 h 2169991"/>
              <a:gd name="connsiteX30-9967" fmla="*/ 1648887 w 2804294"/>
              <a:gd name="connsiteY30-9968" fmla="*/ 427064 h 2169991"/>
              <a:gd name="connsiteX31-9969" fmla="*/ 1466148 w 2804294"/>
              <a:gd name="connsiteY31-9970" fmla="*/ 630289 h 2169991"/>
              <a:gd name="connsiteX32-9971" fmla="*/ 1231973 w 2804294"/>
              <a:gd name="connsiteY32-9972" fmla="*/ 764104 h 2169991"/>
              <a:gd name="connsiteX33-9973" fmla="*/ 1109309 w 2804294"/>
              <a:gd name="connsiteY33-9974" fmla="*/ 875616 h 2169991"/>
              <a:gd name="connsiteX34-9975" fmla="*/ 640958 w 2804294"/>
              <a:gd name="connsiteY34-9976" fmla="*/ 998279 h 2169991"/>
              <a:gd name="connsiteX35-9977" fmla="*/ 574051 w 2804294"/>
              <a:gd name="connsiteY35-9978" fmla="*/ 1054036 h 2169991"/>
              <a:gd name="connsiteX36-9979" fmla="*/ 440236 w 2804294"/>
              <a:gd name="connsiteY36-9980" fmla="*/ 1377421 h 2169991"/>
              <a:gd name="connsiteX37-9981" fmla="*/ 128002 w 2804294"/>
              <a:gd name="connsiteY37-9982" fmla="*/ 1544689 h 2169991"/>
              <a:gd name="connsiteX38-9983" fmla="*/ 105699 w 2804294"/>
              <a:gd name="connsiteY38-9984" fmla="*/ 1689655 h 2169991"/>
              <a:gd name="connsiteX39-9985" fmla="*/ 27641 w 2804294"/>
              <a:gd name="connsiteY39-9986" fmla="*/ 1801167 h 2169991"/>
              <a:gd name="connsiteX40-9987" fmla="*/ 5338 w 2804294"/>
              <a:gd name="connsiteY40-9988" fmla="*/ 2035343 h 2169991"/>
              <a:gd name="connsiteX41-9989" fmla="*/ 1063 w 2804294"/>
              <a:gd name="connsiteY41-9990" fmla="*/ 1994254 h 2169991"/>
              <a:gd name="connsiteX42-9991" fmla="*/ 17008 w 2804294"/>
              <a:gd name="connsiteY42-9992" fmla="*/ 2046930 h 2169991"/>
              <a:gd name="connsiteX43-9993" fmla="*/ 128636 w 2804294"/>
              <a:gd name="connsiteY43-9994" fmla="*/ 2047577 h 2169991"/>
              <a:gd name="connsiteX44-9995" fmla="*/ 21003 w 2804294"/>
              <a:gd name="connsiteY44-9996" fmla="*/ 2043366 h 2169991"/>
              <a:gd name="connsiteX45-9997" fmla="*/ 346055 w 2804294"/>
              <a:gd name="connsiteY45-9998" fmla="*/ 2137683 h 2169991"/>
              <a:gd name="connsiteX0-9999" fmla="*/ 108153 w 2804294"/>
              <a:gd name="connsiteY0-10000" fmla="*/ 2043062 h 2169991"/>
              <a:gd name="connsiteX1-10001" fmla="*/ 96280 w 2804294"/>
              <a:gd name="connsiteY1-10002" fmla="*/ 2031188 h 2169991"/>
              <a:gd name="connsiteX2-10003" fmla="*/ 102217 w 2804294"/>
              <a:gd name="connsiteY2-10004" fmla="*/ 2043062 h 2169991"/>
              <a:gd name="connsiteX3-10005" fmla="*/ 261945 w 2804294"/>
              <a:gd name="connsiteY3-10006" fmla="*/ 2118634 h 2169991"/>
              <a:gd name="connsiteX4-10007" fmla="*/ 251002 w 2804294"/>
              <a:gd name="connsiteY4-10008" fmla="*/ 2137401 h 2169991"/>
              <a:gd name="connsiteX5-10009" fmla="*/ 588466 w 2804294"/>
              <a:gd name="connsiteY5-10010" fmla="*/ 2118368 h 2169991"/>
              <a:gd name="connsiteX6-10011" fmla="*/ 941719 w 2804294"/>
              <a:gd name="connsiteY6-10012" fmla="*/ 2056337 h 2169991"/>
              <a:gd name="connsiteX7-10013" fmla="*/ 964343 w 2804294"/>
              <a:gd name="connsiteY7-10014" fmla="*/ 1622748 h 2169991"/>
              <a:gd name="connsiteX8-10015" fmla="*/ 2079465 w 2804294"/>
              <a:gd name="connsiteY8-10016" fmla="*/ 1611597 h 2169991"/>
              <a:gd name="connsiteX9-10017" fmla="*/ 2068314 w 2804294"/>
              <a:gd name="connsiteY9-10018" fmla="*/ 764104 h 2169991"/>
              <a:gd name="connsiteX10-10019" fmla="*/ 2224431 w 2804294"/>
              <a:gd name="connsiteY10-10020" fmla="*/ 663743 h 2169991"/>
              <a:gd name="connsiteX11-10021" fmla="*/ 2570119 w 2804294"/>
              <a:gd name="connsiteY11-10022" fmla="*/ 485323 h 2169991"/>
              <a:gd name="connsiteX12-10023" fmla="*/ 2804294 w 2804294"/>
              <a:gd name="connsiteY12-10024" fmla="*/ 496475 h 2169991"/>
              <a:gd name="connsiteX13-10025" fmla="*/ 2804294 w 2804294"/>
              <a:gd name="connsiteY13-10026" fmla="*/ 329206 h 2169991"/>
              <a:gd name="connsiteX14-10027" fmla="*/ 2759690 w 2804294"/>
              <a:gd name="connsiteY14-10028" fmla="*/ 251148 h 2169991"/>
              <a:gd name="connsiteX15-10029" fmla="*/ 2748538 w 2804294"/>
              <a:gd name="connsiteY15-10030" fmla="*/ 217694 h 2169991"/>
              <a:gd name="connsiteX16-10031" fmla="*/ 2692782 w 2804294"/>
              <a:gd name="connsiteY16-10032" fmla="*/ 195392 h 2169991"/>
              <a:gd name="connsiteX17-10033" fmla="*/ 2681631 w 2804294"/>
              <a:gd name="connsiteY17-10034" fmla="*/ 239997 h 2169991"/>
              <a:gd name="connsiteX18-10035" fmla="*/ 2558968 w 2804294"/>
              <a:gd name="connsiteY18-10036" fmla="*/ 206543 h 2169991"/>
              <a:gd name="connsiteX19-10037" fmla="*/ 2524923 w 2804294"/>
              <a:gd name="connsiteY19-10038" fmla="*/ 214354 h 2169991"/>
              <a:gd name="connsiteX20-10039" fmla="*/ 2440538 w 2804294"/>
              <a:gd name="connsiteY20-10040" fmla="*/ 224258 h 2169991"/>
              <a:gd name="connsiteX21-10041" fmla="*/ 2431388 w 2804294"/>
              <a:gd name="connsiteY21-10042" fmla="*/ 130310 h 2169991"/>
              <a:gd name="connsiteX22-10043" fmla="*/ 2365894 w 2804294"/>
              <a:gd name="connsiteY22-10044" fmla="*/ 52946 h 2169991"/>
              <a:gd name="connsiteX23-10045" fmla="*/ 2316149 w 2804294"/>
              <a:gd name="connsiteY23-10046" fmla="*/ 25311 h 2169991"/>
              <a:gd name="connsiteX24-10047" fmla="*/ 2260153 w 2804294"/>
              <a:gd name="connsiteY24-10048" fmla="*/ 52130 h 2169991"/>
              <a:gd name="connsiteX25-10049" fmla="*/ 2055675 w 2804294"/>
              <a:gd name="connsiteY25-10050" fmla="*/ 30303 h 2169991"/>
              <a:gd name="connsiteX26-10051" fmla="*/ 2021710 w 2804294"/>
              <a:gd name="connsiteY26-10052" fmla="*/ 12836 h 2169991"/>
              <a:gd name="connsiteX27-10053" fmla="*/ 2034409 w 2804294"/>
              <a:gd name="connsiteY27-10054" fmla="*/ 12836 h 2169991"/>
              <a:gd name="connsiteX28-10055" fmla="*/ 1710768 w 2804294"/>
              <a:gd name="connsiteY28-10056" fmla="*/ 89853 h 2169991"/>
              <a:gd name="connsiteX29-10057" fmla="*/ 1654887 w 2804294"/>
              <a:gd name="connsiteY29-10058" fmla="*/ 156994 h 2169991"/>
              <a:gd name="connsiteX30-10059" fmla="*/ 1648887 w 2804294"/>
              <a:gd name="connsiteY30-10060" fmla="*/ 427064 h 2169991"/>
              <a:gd name="connsiteX31-10061" fmla="*/ 1466148 w 2804294"/>
              <a:gd name="connsiteY31-10062" fmla="*/ 630289 h 2169991"/>
              <a:gd name="connsiteX32-10063" fmla="*/ 1231973 w 2804294"/>
              <a:gd name="connsiteY32-10064" fmla="*/ 764104 h 2169991"/>
              <a:gd name="connsiteX33-10065" fmla="*/ 1109309 w 2804294"/>
              <a:gd name="connsiteY33-10066" fmla="*/ 875616 h 2169991"/>
              <a:gd name="connsiteX34-10067" fmla="*/ 640958 w 2804294"/>
              <a:gd name="connsiteY34-10068" fmla="*/ 998279 h 2169991"/>
              <a:gd name="connsiteX35-10069" fmla="*/ 574051 w 2804294"/>
              <a:gd name="connsiteY35-10070" fmla="*/ 1054036 h 2169991"/>
              <a:gd name="connsiteX36-10071" fmla="*/ 440236 w 2804294"/>
              <a:gd name="connsiteY36-10072" fmla="*/ 1377421 h 2169991"/>
              <a:gd name="connsiteX37-10073" fmla="*/ 128002 w 2804294"/>
              <a:gd name="connsiteY37-10074" fmla="*/ 1544689 h 2169991"/>
              <a:gd name="connsiteX38-10075" fmla="*/ 105699 w 2804294"/>
              <a:gd name="connsiteY38-10076" fmla="*/ 1689655 h 2169991"/>
              <a:gd name="connsiteX39-10077" fmla="*/ 27641 w 2804294"/>
              <a:gd name="connsiteY39-10078" fmla="*/ 1801167 h 2169991"/>
              <a:gd name="connsiteX40-10079" fmla="*/ 5338 w 2804294"/>
              <a:gd name="connsiteY40-10080" fmla="*/ 2035343 h 2169991"/>
              <a:gd name="connsiteX41-10081" fmla="*/ 1063 w 2804294"/>
              <a:gd name="connsiteY41-10082" fmla="*/ 1994254 h 2169991"/>
              <a:gd name="connsiteX42-10083" fmla="*/ 17008 w 2804294"/>
              <a:gd name="connsiteY42-10084" fmla="*/ 2046930 h 2169991"/>
              <a:gd name="connsiteX43-10085" fmla="*/ 128636 w 2804294"/>
              <a:gd name="connsiteY43-10086" fmla="*/ 2047577 h 2169991"/>
              <a:gd name="connsiteX44-10087" fmla="*/ 21003 w 2804294"/>
              <a:gd name="connsiteY44-10088" fmla="*/ 2043366 h 2169991"/>
              <a:gd name="connsiteX45-10089" fmla="*/ 346055 w 2804294"/>
              <a:gd name="connsiteY45-10090" fmla="*/ 2137683 h 2169991"/>
              <a:gd name="connsiteX0-10091" fmla="*/ 108153 w 2804294"/>
              <a:gd name="connsiteY0-10092" fmla="*/ 2043062 h 2169991"/>
              <a:gd name="connsiteX1-10093" fmla="*/ 96280 w 2804294"/>
              <a:gd name="connsiteY1-10094" fmla="*/ 2031188 h 2169991"/>
              <a:gd name="connsiteX2-10095" fmla="*/ 102217 w 2804294"/>
              <a:gd name="connsiteY2-10096" fmla="*/ 2043062 h 2169991"/>
              <a:gd name="connsiteX3-10097" fmla="*/ 261945 w 2804294"/>
              <a:gd name="connsiteY3-10098" fmla="*/ 2118634 h 2169991"/>
              <a:gd name="connsiteX4-10099" fmla="*/ 251002 w 2804294"/>
              <a:gd name="connsiteY4-10100" fmla="*/ 2137401 h 2169991"/>
              <a:gd name="connsiteX5-10101" fmla="*/ 588466 w 2804294"/>
              <a:gd name="connsiteY5-10102" fmla="*/ 2118368 h 2169991"/>
              <a:gd name="connsiteX6-10103" fmla="*/ 941719 w 2804294"/>
              <a:gd name="connsiteY6-10104" fmla="*/ 2056337 h 2169991"/>
              <a:gd name="connsiteX7-10105" fmla="*/ 964343 w 2804294"/>
              <a:gd name="connsiteY7-10106" fmla="*/ 1622748 h 2169991"/>
              <a:gd name="connsiteX8-10107" fmla="*/ 2079465 w 2804294"/>
              <a:gd name="connsiteY8-10108" fmla="*/ 1611597 h 2169991"/>
              <a:gd name="connsiteX9-10109" fmla="*/ 2068314 w 2804294"/>
              <a:gd name="connsiteY9-10110" fmla="*/ 764104 h 2169991"/>
              <a:gd name="connsiteX10-10111" fmla="*/ 2224431 w 2804294"/>
              <a:gd name="connsiteY10-10112" fmla="*/ 663743 h 2169991"/>
              <a:gd name="connsiteX11-10113" fmla="*/ 2570119 w 2804294"/>
              <a:gd name="connsiteY11-10114" fmla="*/ 485323 h 2169991"/>
              <a:gd name="connsiteX12-10115" fmla="*/ 2804294 w 2804294"/>
              <a:gd name="connsiteY12-10116" fmla="*/ 496475 h 2169991"/>
              <a:gd name="connsiteX13-10117" fmla="*/ 2804294 w 2804294"/>
              <a:gd name="connsiteY13-10118" fmla="*/ 329206 h 2169991"/>
              <a:gd name="connsiteX14-10119" fmla="*/ 2759690 w 2804294"/>
              <a:gd name="connsiteY14-10120" fmla="*/ 251148 h 2169991"/>
              <a:gd name="connsiteX15-10121" fmla="*/ 2748538 w 2804294"/>
              <a:gd name="connsiteY15-10122" fmla="*/ 217694 h 2169991"/>
              <a:gd name="connsiteX16-10123" fmla="*/ 2692782 w 2804294"/>
              <a:gd name="connsiteY16-10124" fmla="*/ 195392 h 2169991"/>
              <a:gd name="connsiteX17-10125" fmla="*/ 2681631 w 2804294"/>
              <a:gd name="connsiteY17-10126" fmla="*/ 239997 h 2169991"/>
              <a:gd name="connsiteX18-10127" fmla="*/ 2558968 w 2804294"/>
              <a:gd name="connsiteY18-10128" fmla="*/ 206543 h 2169991"/>
              <a:gd name="connsiteX19-10129" fmla="*/ 2524923 w 2804294"/>
              <a:gd name="connsiteY19-10130" fmla="*/ 214354 h 2169991"/>
              <a:gd name="connsiteX20-10131" fmla="*/ 2440538 w 2804294"/>
              <a:gd name="connsiteY20-10132" fmla="*/ 224258 h 2169991"/>
              <a:gd name="connsiteX21-10133" fmla="*/ 2431388 w 2804294"/>
              <a:gd name="connsiteY21-10134" fmla="*/ 130310 h 2169991"/>
              <a:gd name="connsiteX22-10135" fmla="*/ 2365894 w 2804294"/>
              <a:gd name="connsiteY22-10136" fmla="*/ 52946 h 2169991"/>
              <a:gd name="connsiteX23-10137" fmla="*/ 2316149 w 2804294"/>
              <a:gd name="connsiteY23-10138" fmla="*/ 25311 h 2169991"/>
              <a:gd name="connsiteX24-10139" fmla="*/ 2260153 w 2804294"/>
              <a:gd name="connsiteY24-10140" fmla="*/ 52130 h 2169991"/>
              <a:gd name="connsiteX25-10141" fmla="*/ 2055675 w 2804294"/>
              <a:gd name="connsiteY25-10142" fmla="*/ 30303 h 2169991"/>
              <a:gd name="connsiteX26-10143" fmla="*/ 2021710 w 2804294"/>
              <a:gd name="connsiteY26-10144" fmla="*/ 12836 h 2169991"/>
              <a:gd name="connsiteX27-10145" fmla="*/ 2034409 w 2804294"/>
              <a:gd name="connsiteY27-10146" fmla="*/ 12836 h 2169991"/>
              <a:gd name="connsiteX28-10147" fmla="*/ 1710768 w 2804294"/>
              <a:gd name="connsiteY28-10148" fmla="*/ 89853 h 2169991"/>
              <a:gd name="connsiteX29-10149" fmla="*/ 1654887 w 2804294"/>
              <a:gd name="connsiteY29-10150" fmla="*/ 156994 h 2169991"/>
              <a:gd name="connsiteX30-10151" fmla="*/ 1648887 w 2804294"/>
              <a:gd name="connsiteY30-10152" fmla="*/ 427064 h 2169991"/>
              <a:gd name="connsiteX31-10153" fmla="*/ 1466148 w 2804294"/>
              <a:gd name="connsiteY31-10154" fmla="*/ 630289 h 2169991"/>
              <a:gd name="connsiteX32-10155" fmla="*/ 1231973 w 2804294"/>
              <a:gd name="connsiteY32-10156" fmla="*/ 764104 h 2169991"/>
              <a:gd name="connsiteX33-10157" fmla="*/ 1109309 w 2804294"/>
              <a:gd name="connsiteY33-10158" fmla="*/ 875616 h 2169991"/>
              <a:gd name="connsiteX34-10159" fmla="*/ 640958 w 2804294"/>
              <a:gd name="connsiteY34-10160" fmla="*/ 998279 h 2169991"/>
              <a:gd name="connsiteX35-10161" fmla="*/ 574051 w 2804294"/>
              <a:gd name="connsiteY35-10162" fmla="*/ 1054036 h 2169991"/>
              <a:gd name="connsiteX36-10163" fmla="*/ 440236 w 2804294"/>
              <a:gd name="connsiteY36-10164" fmla="*/ 1377421 h 2169991"/>
              <a:gd name="connsiteX37-10165" fmla="*/ 128002 w 2804294"/>
              <a:gd name="connsiteY37-10166" fmla="*/ 1544689 h 2169991"/>
              <a:gd name="connsiteX38-10167" fmla="*/ 105699 w 2804294"/>
              <a:gd name="connsiteY38-10168" fmla="*/ 1689655 h 2169991"/>
              <a:gd name="connsiteX39-10169" fmla="*/ 27641 w 2804294"/>
              <a:gd name="connsiteY39-10170" fmla="*/ 1801167 h 2169991"/>
              <a:gd name="connsiteX40-10171" fmla="*/ 5338 w 2804294"/>
              <a:gd name="connsiteY40-10172" fmla="*/ 2035343 h 2169991"/>
              <a:gd name="connsiteX41-10173" fmla="*/ 1063 w 2804294"/>
              <a:gd name="connsiteY41-10174" fmla="*/ 1994254 h 2169991"/>
              <a:gd name="connsiteX42-10175" fmla="*/ 17008 w 2804294"/>
              <a:gd name="connsiteY42-10176" fmla="*/ 2046930 h 2169991"/>
              <a:gd name="connsiteX43-10177" fmla="*/ 128636 w 2804294"/>
              <a:gd name="connsiteY43-10178" fmla="*/ 2047577 h 2169991"/>
              <a:gd name="connsiteX44-10179" fmla="*/ 21003 w 2804294"/>
              <a:gd name="connsiteY44-10180" fmla="*/ 2043366 h 2169991"/>
              <a:gd name="connsiteX45-10181" fmla="*/ 346055 w 2804294"/>
              <a:gd name="connsiteY45-10182" fmla="*/ 2137683 h 2169991"/>
              <a:gd name="connsiteX0-10183" fmla="*/ 108153 w 2804294"/>
              <a:gd name="connsiteY0-10184" fmla="*/ 2043060 h 2169989"/>
              <a:gd name="connsiteX1-10185" fmla="*/ 96280 w 2804294"/>
              <a:gd name="connsiteY1-10186" fmla="*/ 2031186 h 2169989"/>
              <a:gd name="connsiteX2-10187" fmla="*/ 102217 w 2804294"/>
              <a:gd name="connsiteY2-10188" fmla="*/ 2043060 h 2169989"/>
              <a:gd name="connsiteX3-10189" fmla="*/ 261945 w 2804294"/>
              <a:gd name="connsiteY3-10190" fmla="*/ 2118632 h 2169989"/>
              <a:gd name="connsiteX4-10191" fmla="*/ 251002 w 2804294"/>
              <a:gd name="connsiteY4-10192" fmla="*/ 2137399 h 2169989"/>
              <a:gd name="connsiteX5-10193" fmla="*/ 588466 w 2804294"/>
              <a:gd name="connsiteY5-10194" fmla="*/ 2118366 h 2169989"/>
              <a:gd name="connsiteX6-10195" fmla="*/ 941719 w 2804294"/>
              <a:gd name="connsiteY6-10196" fmla="*/ 2056335 h 2169989"/>
              <a:gd name="connsiteX7-10197" fmla="*/ 964343 w 2804294"/>
              <a:gd name="connsiteY7-10198" fmla="*/ 1622746 h 2169989"/>
              <a:gd name="connsiteX8-10199" fmla="*/ 2079465 w 2804294"/>
              <a:gd name="connsiteY8-10200" fmla="*/ 1611595 h 2169989"/>
              <a:gd name="connsiteX9-10201" fmla="*/ 2068314 w 2804294"/>
              <a:gd name="connsiteY9-10202" fmla="*/ 764102 h 2169989"/>
              <a:gd name="connsiteX10-10203" fmla="*/ 2224431 w 2804294"/>
              <a:gd name="connsiteY10-10204" fmla="*/ 663741 h 2169989"/>
              <a:gd name="connsiteX11-10205" fmla="*/ 2570119 w 2804294"/>
              <a:gd name="connsiteY11-10206" fmla="*/ 485321 h 2169989"/>
              <a:gd name="connsiteX12-10207" fmla="*/ 2804294 w 2804294"/>
              <a:gd name="connsiteY12-10208" fmla="*/ 496473 h 2169989"/>
              <a:gd name="connsiteX13-10209" fmla="*/ 2804294 w 2804294"/>
              <a:gd name="connsiteY13-10210" fmla="*/ 329204 h 2169989"/>
              <a:gd name="connsiteX14-10211" fmla="*/ 2759690 w 2804294"/>
              <a:gd name="connsiteY14-10212" fmla="*/ 251146 h 2169989"/>
              <a:gd name="connsiteX15-10213" fmla="*/ 2748538 w 2804294"/>
              <a:gd name="connsiteY15-10214" fmla="*/ 217692 h 2169989"/>
              <a:gd name="connsiteX16-10215" fmla="*/ 2692782 w 2804294"/>
              <a:gd name="connsiteY16-10216" fmla="*/ 195390 h 2169989"/>
              <a:gd name="connsiteX17-10217" fmla="*/ 2681631 w 2804294"/>
              <a:gd name="connsiteY17-10218" fmla="*/ 239995 h 2169989"/>
              <a:gd name="connsiteX18-10219" fmla="*/ 2558968 w 2804294"/>
              <a:gd name="connsiteY18-10220" fmla="*/ 206541 h 2169989"/>
              <a:gd name="connsiteX19-10221" fmla="*/ 2524923 w 2804294"/>
              <a:gd name="connsiteY19-10222" fmla="*/ 214352 h 2169989"/>
              <a:gd name="connsiteX20-10223" fmla="*/ 2440538 w 2804294"/>
              <a:gd name="connsiteY20-10224" fmla="*/ 224256 h 2169989"/>
              <a:gd name="connsiteX21-10225" fmla="*/ 2431388 w 2804294"/>
              <a:gd name="connsiteY21-10226" fmla="*/ 130308 h 2169989"/>
              <a:gd name="connsiteX22-10227" fmla="*/ 2365894 w 2804294"/>
              <a:gd name="connsiteY22-10228" fmla="*/ 52944 h 2169989"/>
              <a:gd name="connsiteX23-10229" fmla="*/ 2316149 w 2804294"/>
              <a:gd name="connsiteY23-10230" fmla="*/ 25309 h 2169989"/>
              <a:gd name="connsiteX24-10231" fmla="*/ 2260153 w 2804294"/>
              <a:gd name="connsiteY24-10232" fmla="*/ 52128 h 2169989"/>
              <a:gd name="connsiteX25-10233" fmla="*/ 2055675 w 2804294"/>
              <a:gd name="connsiteY25-10234" fmla="*/ 30301 h 2169989"/>
              <a:gd name="connsiteX26-10235" fmla="*/ 2021710 w 2804294"/>
              <a:gd name="connsiteY26-10236" fmla="*/ 12834 h 2169989"/>
              <a:gd name="connsiteX27-10237" fmla="*/ 2034409 w 2804294"/>
              <a:gd name="connsiteY27-10238" fmla="*/ 12834 h 2169989"/>
              <a:gd name="connsiteX28-10239" fmla="*/ 1710582 w 2804294"/>
              <a:gd name="connsiteY28-10240" fmla="*/ 89836 h 2169989"/>
              <a:gd name="connsiteX29-10241" fmla="*/ 1654887 w 2804294"/>
              <a:gd name="connsiteY29-10242" fmla="*/ 156992 h 2169989"/>
              <a:gd name="connsiteX30-10243" fmla="*/ 1648887 w 2804294"/>
              <a:gd name="connsiteY30-10244" fmla="*/ 427062 h 2169989"/>
              <a:gd name="connsiteX31-10245" fmla="*/ 1466148 w 2804294"/>
              <a:gd name="connsiteY31-10246" fmla="*/ 630287 h 2169989"/>
              <a:gd name="connsiteX32-10247" fmla="*/ 1231973 w 2804294"/>
              <a:gd name="connsiteY32-10248" fmla="*/ 764102 h 2169989"/>
              <a:gd name="connsiteX33-10249" fmla="*/ 1109309 w 2804294"/>
              <a:gd name="connsiteY33-10250" fmla="*/ 875614 h 2169989"/>
              <a:gd name="connsiteX34-10251" fmla="*/ 640958 w 2804294"/>
              <a:gd name="connsiteY34-10252" fmla="*/ 998277 h 2169989"/>
              <a:gd name="connsiteX35-10253" fmla="*/ 574051 w 2804294"/>
              <a:gd name="connsiteY35-10254" fmla="*/ 1054034 h 2169989"/>
              <a:gd name="connsiteX36-10255" fmla="*/ 440236 w 2804294"/>
              <a:gd name="connsiteY36-10256" fmla="*/ 1377419 h 2169989"/>
              <a:gd name="connsiteX37-10257" fmla="*/ 128002 w 2804294"/>
              <a:gd name="connsiteY37-10258" fmla="*/ 1544687 h 2169989"/>
              <a:gd name="connsiteX38-10259" fmla="*/ 105699 w 2804294"/>
              <a:gd name="connsiteY38-10260" fmla="*/ 1689653 h 2169989"/>
              <a:gd name="connsiteX39-10261" fmla="*/ 27641 w 2804294"/>
              <a:gd name="connsiteY39-10262" fmla="*/ 1801165 h 2169989"/>
              <a:gd name="connsiteX40-10263" fmla="*/ 5338 w 2804294"/>
              <a:gd name="connsiteY40-10264" fmla="*/ 2035341 h 2169989"/>
              <a:gd name="connsiteX41-10265" fmla="*/ 1063 w 2804294"/>
              <a:gd name="connsiteY41-10266" fmla="*/ 1994252 h 2169989"/>
              <a:gd name="connsiteX42-10267" fmla="*/ 17008 w 2804294"/>
              <a:gd name="connsiteY42-10268" fmla="*/ 2046928 h 2169989"/>
              <a:gd name="connsiteX43-10269" fmla="*/ 128636 w 2804294"/>
              <a:gd name="connsiteY43-10270" fmla="*/ 2047575 h 2169989"/>
              <a:gd name="connsiteX44-10271" fmla="*/ 21003 w 2804294"/>
              <a:gd name="connsiteY44-10272" fmla="*/ 2043364 h 2169989"/>
              <a:gd name="connsiteX45-10273" fmla="*/ 346055 w 2804294"/>
              <a:gd name="connsiteY45-10274" fmla="*/ 2137681 h 2169989"/>
              <a:gd name="connsiteX0-10275" fmla="*/ 108153 w 2804294"/>
              <a:gd name="connsiteY0-10276" fmla="*/ 2043060 h 2169989"/>
              <a:gd name="connsiteX1-10277" fmla="*/ 96280 w 2804294"/>
              <a:gd name="connsiteY1-10278" fmla="*/ 2031186 h 2169989"/>
              <a:gd name="connsiteX2-10279" fmla="*/ 261945 w 2804294"/>
              <a:gd name="connsiteY2-10280" fmla="*/ 2118632 h 2169989"/>
              <a:gd name="connsiteX3-10281" fmla="*/ 251002 w 2804294"/>
              <a:gd name="connsiteY3-10282" fmla="*/ 2137399 h 2169989"/>
              <a:gd name="connsiteX4-10283" fmla="*/ 588466 w 2804294"/>
              <a:gd name="connsiteY4-10284" fmla="*/ 2118366 h 2169989"/>
              <a:gd name="connsiteX5-10285" fmla="*/ 941719 w 2804294"/>
              <a:gd name="connsiteY5-10286" fmla="*/ 2056335 h 2169989"/>
              <a:gd name="connsiteX6-10287" fmla="*/ 964343 w 2804294"/>
              <a:gd name="connsiteY6-10288" fmla="*/ 1622746 h 2169989"/>
              <a:gd name="connsiteX7-10289" fmla="*/ 2079465 w 2804294"/>
              <a:gd name="connsiteY7-10290" fmla="*/ 1611595 h 2169989"/>
              <a:gd name="connsiteX8-10291" fmla="*/ 2068314 w 2804294"/>
              <a:gd name="connsiteY8-10292" fmla="*/ 764102 h 2169989"/>
              <a:gd name="connsiteX9-10293" fmla="*/ 2224431 w 2804294"/>
              <a:gd name="connsiteY9-10294" fmla="*/ 663741 h 2169989"/>
              <a:gd name="connsiteX10-10295" fmla="*/ 2570119 w 2804294"/>
              <a:gd name="connsiteY10-10296" fmla="*/ 485321 h 2169989"/>
              <a:gd name="connsiteX11-10297" fmla="*/ 2804294 w 2804294"/>
              <a:gd name="connsiteY11-10298" fmla="*/ 496473 h 2169989"/>
              <a:gd name="connsiteX12-10299" fmla="*/ 2804294 w 2804294"/>
              <a:gd name="connsiteY12-10300" fmla="*/ 329204 h 2169989"/>
              <a:gd name="connsiteX13-10301" fmla="*/ 2759690 w 2804294"/>
              <a:gd name="connsiteY13-10302" fmla="*/ 251146 h 2169989"/>
              <a:gd name="connsiteX14-10303" fmla="*/ 2748538 w 2804294"/>
              <a:gd name="connsiteY14-10304" fmla="*/ 217692 h 2169989"/>
              <a:gd name="connsiteX15-10305" fmla="*/ 2692782 w 2804294"/>
              <a:gd name="connsiteY15-10306" fmla="*/ 195390 h 2169989"/>
              <a:gd name="connsiteX16-10307" fmla="*/ 2681631 w 2804294"/>
              <a:gd name="connsiteY16-10308" fmla="*/ 239995 h 2169989"/>
              <a:gd name="connsiteX17-10309" fmla="*/ 2558968 w 2804294"/>
              <a:gd name="connsiteY17-10310" fmla="*/ 206541 h 2169989"/>
              <a:gd name="connsiteX18-10311" fmla="*/ 2524923 w 2804294"/>
              <a:gd name="connsiteY18-10312" fmla="*/ 214352 h 2169989"/>
              <a:gd name="connsiteX19-10313" fmla="*/ 2440538 w 2804294"/>
              <a:gd name="connsiteY19-10314" fmla="*/ 224256 h 2169989"/>
              <a:gd name="connsiteX20-10315" fmla="*/ 2431388 w 2804294"/>
              <a:gd name="connsiteY20-10316" fmla="*/ 130308 h 2169989"/>
              <a:gd name="connsiteX21-10317" fmla="*/ 2365894 w 2804294"/>
              <a:gd name="connsiteY21-10318" fmla="*/ 52944 h 2169989"/>
              <a:gd name="connsiteX22-10319" fmla="*/ 2316149 w 2804294"/>
              <a:gd name="connsiteY22-10320" fmla="*/ 25309 h 2169989"/>
              <a:gd name="connsiteX23-10321" fmla="*/ 2260153 w 2804294"/>
              <a:gd name="connsiteY23-10322" fmla="*/ 52128 h 2169989"/>
              <a:gd name="connsiteX24-10323" fmla="*/ 2055675 w 2804294"/>
              <a:gd name="connsiteY24-10324" fmla="*/ 30301 h 2169989"/>
              <a:gd name="connsiteX25-10325" fmla="*/ 2021710 w 2804294"/>
              <a:gd name="connsiteY25-10326" fmla="*/ 12834 h 2169989"/>
              <a:gd name="connsiteX26-10327" fmla="*/ 2034409 w 2804294"/>
              <a:gd name="connsiteY26-10328" fmla="*/ 12834 h 2169989"/>
              <a:gd name="connsiteX27-10329" fmla="*/ 1710582 w 2804294"/>
              <a:gd name="connsiteY27-10330" fmla="*/ 89836 h 2169989"/>
              <a:gd name="connsiteX28-10331" fmla="*/ 1654887 w 2804294"/>
              <a:gd name="connsiteY28-10332" fmla="*/ 156992 h 2169989"/>
              <a:gd name="connsiteX29-10333" fmla="*/ 1648887 w 2804294"/>
              <a:gd name="connsiteY29-10334" fmla="*/ 427062 h 2169989"/>
              <a:gd name="connsiteX30-10335" fmla="*/ 1466148 w 2804294"/>
              <a:gd name="connsiteY30-10336" fmla="*/ 630287 h 2169989"/>
              <a:gd name="connsiteX31-10337" fmla="*/ 1231973 w 2804294"/>
              <a:gd name="connsiteY31-10338" fmla="*/ 764102 h 2169989"/>
              <a:gd name="connsiteX32-10339" fmla="*/ 1109309 w 2804294"/>
              <a:gd name="connsiteY32-10340" fmla="*/ 875614 h 2169989"/>
              <a:gd name="connsiteX33-10341" fmla="*/ 640958 w 2804294"/>
              <a:gd name="connsiteY33-10342" fmla="*/ 998277 h 2169989"/>
              <a:gd name="connsiteX34-10343" fmla="*/ 574051 w 2804294"/>
              <a:gd name="connsiteY34-10344" fmla="*/ 1054034 h 2169989"/>
              <a:gd name="connsiteX35-10345" fmla="*/ 440236 w 2804294"/>
              <a:gd name="connsiteY35-10346" fmla="*/ 1377419 h 2169989"/>
              <a:gd name="connsiteX36-10347" fmla="*/ 128002 w 2804294"/>
              <a:gd name="connsiteY36-10348" fmla="*/ 1544687 h 2169989"/>
              <a:gd name="connsiteX37-10349" fmla="*/ 105699 w 2804294"/>
              <a:gd name="connsiteY37-10350" fmla="*/ 1689653 h 2169989"/>
              <a:gd name="connsiteX38-10351" fmla="*/ 27641 w 2804294"/>
              <a:gd name="connsiteY38-10352" fmla="*/ 1801165 h 2169989"/>
              <a:gd name="connsiteX39-10353" fmla="*/ 5338 w 2804294"/>
              <a:gd name="connsiteY39-10354" fmla="*/ 2035341 h 2169989"/>
              <a:gd name="connsiteX40-10355" fmla="*/ 1063 w 2804294"/>
              <a:gd name="connsiteY40-10356" fmla="*/ 1994252 h 2169989"/>
              <a:gd name="connsiteX41-10357" fmla="*/ 17008 w 2804294"/>
              <a:gd name="connsiteY41-10358" fmla="*/ 2046928 h 2169989"/>
              <a:gd name="connsiteX42-10359" fmla="*/ 128636 w 2804294"/>
              <a:gd name="connsiteY42-10360" fmla="*/ 2047575 h 2169989"/>
              <a:gd name="connsiteX43-10361" fmla="*/ 21003 w 2804294"/>
              <a:gd name="connsiteY43-10362" fmla="*/ 2043364 h 2169989"/>
              <a:gd name="connsiteX44-10363" fmla="*/ 346055 w 2804294"/>
              <a:gd name="connsiteY44-10364" fmla="*/ 2137681 h 2169989"/>
              <a:gd name="connsiteX0-10365" fmla="*/ 108153 w 2804294"/>
              <a:gd name="connsiteY0-10366" fmla="*/ 2043060 h 2169989"/>
              <a:gd name="connsiteX1-10367" fmla="*/ 96280 w 2804294"/>
              <a:gd name="connsiteY1-10368" fmla="*/ 2031186 h 2169989"/>
              <a:gd name="connsiteX2-10369" fmla="*/ 261945 w 2804294"/>
              <a:gd name="connsiteY2-10370" fmla="*/ 2118632 h 2169989"/>
              <a:gd name="connsiteX3-10371" fmla="*/ 251002 w 2804294"/>
              <a:gd name="connsiteY3-10372" fmla="*/ 2137399 h 2169989"/>
              <a:gd name="connsiteX4-10373" fmla="*/ 588466 w 2804294"/>
              <a:gd name="connsiteY4-10374" fmla="*/ 2118366 h 2169989"/>
              <a:gd name="connsiteX5-10375" fmla="*/ 941719 w 2804294"/>
              <a:gd name="connsiteY5-10376" fmla="*/ 2056335 h 2169989"/>
              <a:gd name="connsiteX6-10377" fmla="*/ 964343 w 2804294"/>
              <a:gd name="connsiteY6-10378" fmla="*/ 1622746 h 2169989"/>
              <a:gd name="connsiteX7-10379" fmla="*/ 2079465 w 2804294"/>
              <a:gd name="connsiteY7-10380" fmla="*/ 1611595 h 2169989"/>
              <a:gd name="connsiteX8-10381" fmla="*/ 2068314 w 2804294"/>
              <a:gd name="connsiteY8-10382" fmla="*/ 764102 h 2169989"/>
              <a:gd name="connsiteX9-10383" fmla="*/ 2224431 w 2804294"/>
              <a:gd name="connsiteY9-10384" fmla="*/ 663741 h 2169989"/>
              <a:gd name="connsiteX10-10385" fmla="*/ 2570119 w 2804294"/>
              <a:gd name="connsiteY10-10386" fmla="*/ 485321 h 2169989"/>
              <a:gd name="connsiteX11-10387" fmla="*/ 2804294 w 2804294"/>
              <a:gd name="connsiteY11-10388" fmla="*/ 496473 h 2169989"/>
              <a:gd name="connsiteX12-10389" fmla="*/ 2804294 w 2804294"/>
              <a:gd name="connsiteY12-10390" fmla="*/ 329204 h 2169989"/>
              <a:gd name="connsiteX13-10391" fmla="*/ 2759690 w 2804294"/>
              <a:gd name="connsiteY13-10392" fmla="*/ 251146 h 2169989"/>
              <a:gd name="connsiteX14-10393" fmla="*/ 2748538 w 2804294"/>
              <a:gd name="connsiteY14-10394" fmla="*/ 217692 h 2169989"/>
              <a:gd name="connsiteX15-10395" fmla="*/ 2692782 w 2804294"/>
              <a:gd name="connsiteY15-10396" fmla="*/ 195390 h 2169989"/>
              <a:gd name="connsiteX16-10397" fmla="*/ 2681631 w 2804294"/>
              <a:gd name="connsiteY16-10398" fmla="*/ 239995 h 2169989"/>
              <a:gd name="connsiteX17-10399" fmla="*/ 2558968 w 2804294"/>
              <a:gd name="connsiteY17-10400" fmla="*/ 206541 h 2169989"/>
              <a:gd name="connsiteX18-10401" fmla="*/ 2524923 w 2804294"/>
              <a:gd name="connsiteY18-10402" fmla="*/ 214352 h 2169989"/>
              <a:gd name="connsiteX19-10403" fmla="*/ 2440538 w 2804294"/>
              <a:gd name="connsiteY19-10404" fmla="*/ 224256 h 2169989"/>
              <a:gd name="connsiteX20-10405" fmla="*/ 2431388 w 2804294"/>
              <a:gd name="connsiteY20-10406" fmla="*/ 130308 h 2169989"/>
              <a:gd name="connsiteX21-10407" fmla="*/ 2365894 w 2804294"/>
              <a:gd name="connsiteY21-10408" fmla="*/ 52944 h 2169989"/>
              <a:gd name="connsiteX22-10409" fmla="*/ 2316149 w 2804294"/>
              <a:gd name="connsiteY22-10410" fmla="*/ 25309 h 2169989"/>
              <a:gd name="connsiteX23-10411" fmla="*/ 2260153 w 2804294"/>
              <a:gd name="connsiteY23-10412" fmla="*/ 52128 h 2169989"/>
              <a:gd name="connsiteX24-10413" fmla="*/ 2055675 w 2804294"/>
              <a:gd name="connsiteY24-10414" fmla="*/ 30301 h 2169989"/>
              <a:gd name="connsiteX25-10415" fmla="*/ 2021710 w 2804294"/>
              <a:gd name="connsiteY25-10416" fmla="*/ 12834 h 2169989"/>
              <a:gd name="connsiteX26-10417" fmla="*/ 2034409 w 2804294"/>
              <a:gd name="connsiteY26-10418" fmla="*/ 12834 h 2169989"/>
              <a:gd name="connsiteX27-10419" fmla="*/ 1710582 w 2804294"/>
              <a:gd name="connsiteY27-10420" fmla="*/ 89836 h 2169989"/>
              <a:gd name="connsiteX28-10421" fmla="*/ 1654887 w 2804294"/>
              <a:gd name="connsiteY28-10422" fmla="*/ 156992 h 2169989"/>
              <a:gd name="connsiteX29-10423" fmla="*/ 1648887 w 2804294"/>
              <a:gd name="connsiteY29-10424" fmla="*/ 427062 h 2169989"/>
              <a:gd name="connsiteX30-10425" fmla="*/ 1466148 w 2804294"/>
              <a:gd name="connsiteY30-10426" fmla="*/ 630287 h 2169989"/>
              <a:gd name="connsiteX31-10427" fmla="*/ 1231973 w 2804294"/>
              <a:gd name="connsiteY31-10428" fmla="*/ 764102 h 2169989"/>
              <a:gd name="connsiteX32-10429" fmla="*/ 1109309 w 2804294"/>
              <a:gd name="connsiteY32-10430" fmla="*/ 875614 h 2169989"/>
              <a:gd name="connsiteX33-10431" fmla="*/ 640958 w 2804294"/>
              <a:gd name="connsiteY33-10432" fmla="*/ 998277 h 2169989"/>
              <a:gd name="connsiteX34-10433" fmla="*/ 574051 w 2804294"/>
              <a:gd name="connsiteY34-10434" fmla="*/ 1054034 h 2169989"/>
              <a:gd name="connsiteX35-10435" fmla="*/ 440236 w 2804294"/>
              <a:gd name="connsiteY35-10436" fmla="*/ 1377419 h 2169989"/>
              <a:gd name="connsiteX36-10437" fmla="*/ 128002 w 2804294"/>
              <a:gd name="connsiteY36-10438" fmla="*/ 1544687 h 2169989"/>
              <a:gd name="connsiteX37-10439" fmla="*/ 105699 w 2804294"/>
              <a:gd name="connsiteY37-10440" fmla="*/ 1689653 h 2169989"/>
              <a:gd name="connsiteX38-10441" fmla="*/ 27641 w 2804294"/>
              <a:gd name="connsiteY38-10442" fmla="*/ 1801165 h 2169989"/>
              <a:gd name="connsiteX39-10443" fmla="*/ 5338 w 2804294"/>
              <a:gd name="connsiteY39-10444" fmla="*/ 2035341 h 2169989"/>
              <a:gd name="connsiteX40-10445" fmla="*/ 1063 w 2804294"/>
              <a:gd name="connsiteY40-10446" fmla="*/ 1994252 h 2169989"/>
              <a:gd name="connsiteX41-10447" fmla="*/ 17008 w 2804294"/>
              <a:gd name="connsiteY41-10448" fmla="*/ 2046928 h 2169989"/>
              <a:gd name="connsiteX42-10449" fmla="*/ 128636 w 2804294"/>
              <a:gd name="connsiteY42-10450" fmla="*/ 2047575 h 2169989"/>
              <a:gd name="connsiteX43-10451" fmla="*/ 21003 w 2804294"/>
              <a:gd name="connsiteY43-10452" fmla="*/ 2043364 h 2169989"/>
              <a:gd name="connsiteX44-10453" fmla="*/ 346055 w 2804294"/>
              <a:gd name="connsiteY44-10454" fmla="*/ 2137681 h 2169989"/>
              <a:gd name="connsiteX45-10455" fmla="*/ 108153 w 2804294"/>
              <a:gd name="connsiteY45-10456" fmla="*/ 2043060 h 2169989"/>
              <a:gd name="connsiteX0-10457" fmla="*/ 108153 w 2804294"/>
              <a:gd name="connsiteY0-10458" fmla="*/ 2043060 h 2169989"/>
              <a:gd name="connsiteX1-10459" fmla="*/ 261945 w 2804294"/>
              <a:gd name="connsiteY1-10460" fmla="*/ 2118632 h 2169989"/>
              <a:gd name="connsiteX2-10461" fmla="*/ 251002 w 2804294"/>
              <a:gd name="connsiteY2-10462" fmla="*/ 2137399 h 2169989"/>
              <a:gd name="connsiteX3-10463" fmla="*/ 588466 w 2804294"/>
              <a:gd name="connsiteY3-10464" fmla="*/ 2118366 h 2169989"/>
              <a:gd name="connsiteX4-10465" fmla="*/ 941719 w 2804294"/>
              <a:gd name="connsiteY4-10466" fmla="*/ 2056335 h 2169989"/>
              <a:gd name="connsiteX5-10467" fmla="*/ 964343 w 2804294"/>
              <a:gd name="connsiteY5-10468" fmla="*/ 1622746 h 2169989"/>
              <a:gd name="connsiteX6-10469" fmla="*/ 2079465 w 2804294"/>
              <a:gd name="connsiteY6-10470" fmla="*/ 1611595 h 2169989"/>
              <a:gd name="connsiteX7-10471" fmla="*/ 2068314 w 2804294"/>
              <a:gd name="connsiteY7-10472" fmla="*/ 764102 h 2169989"/>
              <a:gd name="connsiteX8-10473" fmla="*/ 2224431 w 2804294"/>
              <a:gd name="connsiteY8-10474" fmla="*/ 663741 h 2169989"/>
              <a:gd name="connsiteX9-10475" fmla="*/ 2570119 w 2804294"/>
              <a:gd name="connsiteY9-10476" fmla="*/ 485321 h 2169989"/>
              <a:gd name="connsiteX10-10477" fmla="*/ 2804294 w 2804294"/>
              <a:gd name="connsiteY10-10478" fmla="*/ 496473 h 2169989"/>
              <a:gd name="connsiteX11-10479" fmla="*/ 2804294 w 2804294"/>
              <a:gd name="connsiteY11-10480" fmla="*/ 329204 h 2169989"/>
              <a:gd name="connsiteX12-10481" fmla="*/ 2759690 w 2804294"/>
              <a:gd name="connsiteY12-10482" fmla="*/ 251146 h 2169989"/>
              <a:gd name="connsiteX13-10483" fmla="*/ 2748538 w 2804294"/>
              <a:gd name="connsiteY13-10484" fmla="*/ 217692 h 2169989"/>
              <a:gd name="connsiteX14-10485" fmla="*/ 2692782 w 2804294"/>
              <a:gd name="connsiteY14-10486" fmla="*/ 195390 h 2169989"/>
              <a:gd name="connsiteX15-10487" fmla="*/ 2681631 w 2804294"/>
              <a:gd name="connsiteY15-10488" fmla="*/ 239995 h 2169989"/>
              <a:gd name="connsiteX16-10489" fmla="*/ 2558968 w 2804294"/>
              <a:gd name="connsiteY16-10490" fmla="*/ 206541 h 2169989"/>
              <a:gd name="connsiteX17-10491" fmla="*/ 2524923 w 2804294"/>
              <a:gd name="connsiteY17-10492" fmla="*/ 214352 h 2169989"/>
              <a:gd name="connsiteX18-10493" fmla="*/ 2440538 w 2804294"/>
              <a:gd name="connsiteY18-10494" fmla="*/ 224256 h 2169989"/>
              <a:gd name="connsiteX19-10495" fmla="*/ 2431388 w 2804294"/>
              <a:gd name="connsiteY19-10496" fmla="*/ 130308 h 2169989"/>
              <a:gd name="connsiteX20-10497" fmla="*/ 2365894 w 2804294"/>
              <a:gd name="connsiteY20-10498" fmla="*/ 52944 h 2169989"/>
              <a:gd name="connsiteX21-10499" fmla="*/ 2316149 w 2804294"/>
              <a:gd name="connsiteY21-10500" fmla="*/ 25309 h 2169989"/>
              <a:gd name="connsiteX22-10501" fmla="*/ 2260153 w 2804294"/>
              <a:gd name="connsiteY22-10502" fmla="*/ 52128 h 2169989"/>
              <a:gd name="connsiteX23-10503" fmla="*/ 2055675 w 2804294"/>
              <a:gd name="connsiteY23-10504" fmla="*/ 30301 h 2169989"/>
              <a:gd name="connsiteX24-10505" fmla="*/ 2021710 w 2804294"/>
              <a:gd name="connsiteY24-10506" fmla="*/ 12834 h 2169989"/>
              <a:gd name="connsiteX25-10507" fmla="*/ 2034409 w 2804294"/>
              <a:gd name="connsiteY25-10508" fmla="*/ 12834 h 2169989"/>
              <a:gd name="connsiteX26-10509" fmla="*/ 1710582 w 2804294"/>
              <a:gd name="connsiteY26-10510" fmla="*/ 89836 h 2169989"/>
              <a:gd name="connsiteX27-10511" fmla="*/ 1654887 w 2804294"/>
              <a:gd name="connsiteY27-10512" fmla="*/ 156992 h 2169989"/>
              <a:gd name="connsiteX28-10513" fmla="*/ 1648887 w 2804294"/>
              <a:gd name="connsiteY28-10514" fmla="*/ 427062 h 2169989"/>
              <a:gd name="connsiteX29-10515" fmla="*/ 1466148 w 2804294"/>
              <a:gd name="connsiteY29-10516" fmla="*/ 630287 h 2169989"/>
              <a:gd name="connsiteX30-10517" fmla="*/ 1231973 w 2804294"/>
              <a:gd name="connsiteY30-10518" fmla="*/ 764102 h 2169989"/>
              <a:gd name="connsiteX31-10519" fmla="*/ 1109309 w 2804294"/>
              <a:gd name="connsiteY31-10520" fmla="*/ 875614 h 2169989"/>
              <a:gd name="connsiteX32-10521" fmla="*/ 640958 w 2804294"/>
              <a:gd name="connsiteY32-10522" fmla="*/ 998277 h 2169989"/>
              <a:gd name="connsiteX33-10523" fmla="*/ 574051 w 2804294"/>
              <a:gd name="connsiteY33-10524" fmla="*/ 1054034 h 2169989"/>
              <a:gd name="connsiteX34-10525" fmla="*/ 440236 w 2804294"/>
              <a:gd name="connsiteY34-10526" fmla="*/ 1377419 h 2169989"/>
              <a:gd name="connsiteX35-10527" fmla="*/ 128002 w 2804294"/>
              <a:gd name="connsiteY35-10528" fmla="*/ 1544687 h 2169989"/>
              <a:gd name="connsiteX36-10529" fmla="*/ 105699 w 2804294"/>
              <a:gd name="connsiteY36-10530" fmla="*/ 1689653 h 2169989"/>
              <a:gd name="connsiteX37-10531" fmla="*/ 27641 w 2804294"/>
              <a:gd name="connsiteY37-10532" fmla="*/ 1801165 h 2169989"/>
              <a:gd name="connsiteX38-10533" fmla="*/ 5338 w 2804294"/>
              <a:gd name="connsiteY38-10534" fmla="*/ 2035341 h 2169989"/>
              <a:gd name="connsiteX39-10535" fmla="*/ 1063 w 2804294"/>
              <a:gd name="connsiteY39-10536" fmla="*/ 1994252 h 2169989"/>
              <a:gd name="connsiteX40-10537" fmla="*/ 17008 w 2804294"/>
              <a:gd name="connsiteY40-10538" fmla="*/ 2046928 h 2169989"/>
              <a:gd name="connsiteX41-10539" fmla="*/ 128636 w 2804294"/>
              <a:gd name="connsiteY41-10540" fmla="*/ 2047575 h 2169989"/>
              <a:gd name="connsiteX42-10541" fmla="*/ 21003 w 2804294"/>
              <a:gd name="connsiteY42-10542" fmla="*/ 2043364 h 2169989"/>
              <a:gd name="connsiteX43-10543" fmla="*/ 346055 w 2804294"/>
              <a:gd name="connsiteY43-10544" fmla="*/ 2137681 h 2169989"/>
              <a:gd name="connsiteX44-10545" fmla="*/ 108153 w 2804294"/>
              <a:gd name="connsiteY44-10546" fmla="*/ 2043060 h 2169989"/>
              <a:gd name="connsiteX0-10547" fmla="*/ 346055 w 2804294"/>
              <a:gd name="connsiteY0-10548" fmla="*/ 2137681 h 2169989"/>
              <a:gd name="connsiteX1-10549" fmla="*/ 261945 w 2804294"/>
              <a:gd name="connsiteY1-10550" fmla="*/ 2118632 h 2169989"/>
              <a:gd name="connsiteX2-10551" fmla="*/ 251002 w 2804294"/>
              <a:gd name="connsiteY2-10552" fmla="*/ 2137399 h 2169989"/>
              <a:gd name="connsiteX3-10553" fmla="*/ 588466 w 2804294"/>
              <a:gd name="connsiteY3-10554" fmla="*/ 2118366 h 2169989"/>
              <a:gd name="connsiteX4-10555" fmla="*/ 941719 w 2804294"/>
              <a:gd name="connsiteY4-10556" fmla="*/ 2056335 h 2169989"/>
              <a:gd name="connsiteX5-10557" fmla="*/ 964343 w 2804294"/>
              <a:gd name="connsiteY5-10558" fmla="*/ 1622746 h 2169989"/>
              <a:gd name="connsiteX6-10559" fmla="*/ 2079465 w 2804294"/>
              <a:gd name="connsiteY6-10560" fmla="*/ 1611595 h 2169989"/>
              <a:gd name="connsiteX7-10561" fmla="*/ 2068314 w 2804294"/>
              <a:gd name="connsiteY7-10562" fmla="*/ 764102 h 2169989"/>
              <a:gd name="connsiteX8-10563" fmla="*/ 2224431 w 2804294"/>
              <a:gd name="connsiteY8-10564" fmla="*/ 663741 h 2169989"/>
              <a:gd name="connsiteX9-10565" fmla="*/ 2570119 w 2804294"/>
              <a:gd name="connsiteY9-10566" fmla="*/ 485321 h 2169989"/>
              <a:gd name="connsiteX10-10567" fmla="*/ 2804294 w 2804294"/>
              <a:gd name="connsiteY10-10568" fmla="*/ 496473 h 2169989"/>
              <a:gd name="connsiteX11-10569" fmla="*/ 2804294 w 2804294"/>
              <a:gd name="connsiteY11-10570" fmla="*/ 329204 h 2169989"/>
              <a:gd name="connsiteX12-10571" fmla="*/ 2759690 w 2804294"/>
              <a:gd name="connsiteY12-10572" fmla="*/ 251146 h 2169989"/>
              <a:gd name="connsiteX13-10573" fmla="*/ 2748538 w 2804294"/>
              <a:gd name="connsiteY13-10574" fmla="*/ 217692 h 2169989"/>
              <a:gd name="connsiteX14-10575" fmla="*/ 2692782 w 2804294"/>
              <a:gd name="connsiteY14-10576" fmla="*/ 195390 h 2169989"/>
              <a:gd name="connsiteX15-10577" fmla="*/ 2681631 w 2804294"/>
              <a:gd name="connsiteY15-10578" fmla="*/ 239995 h 2169989"/>
              <a:gd name="connsiteX16-10579" fmla="*/ 2558968 w 2804294"/>
              <a:gd name="connsiteY16-10580" fmla="*/ 206541 h 2169989"/>
              <a:gd name="connsiteX17-10581" fmla="*/ 2524923 w 2804294"/>
              <a:gd name="connsiteY17-10582" fmla="*/ 214352 h 2169989"/>
              <a:gd name="connsiteX18-10583" fmla="*/ 2440538 w 2804294"/>
              <a:gd name="connsiteY18-10584" fmla="*/ 224256 h 2169989"/>
              <a:gd name="connsiteX19-10585" fmla="*/ 2431388 w 2804294"/>
              <a:gd name="connsiteY19-10586" fmla="*/ 130308 h 2169989"/>
              <a:gd name="connsiteX20-10587" fmla="*/ 2365894 w 2804294"/>
              <a:gd name="connsiteY20-10588" fmla="*/ 52944 h 2169989"/>
              <a:gd name="connsiteX21-10589" fmla="*/ 2316149 w 2804294"/>
              <a:gd name="connsiteY21-10590" fmla="*/ 25309 h 2169989"/>
              <a:gd name="connsiteX22-10591" fmla="*/ 2260153 w 2804294"/>
              <a:gd name="connsiteY22-10592" fmla="*/ 52128 h 2169989"/>
              <a:gd name="connsiteX23-10593" fmla="*/ 2055675 w 2804294"/>
              <a:gd name="connsiteY23-10594" fmla="*/ 30301 h 2169989"/>
              <a:gd name="connsiteX24-10595" fmla="*/ 2021710 w 2804294"/>
              <a:gd name="connsiteY24-10596" fmla="*/ 12834 h 2169989"/>
              <a:gd name="connsiteX25-10597" fmla="*/ 2034409 w 2804294"/>
              <a:gd name="connsiteY25-10598" fmla="*/ 12834 h 2169989"/>
              <a:gd name="connsiteX26-10599" fmla="*/ 1710582 w 2804294"/>
              <a:gd name="connsiteY26-10600" fmla="*/ 89836 h 2169989"/>
              <a:gd name="connsiteX27-10601" fmla="*/ 1654887 w 2804294"/>
              <a:gd name="connsiteY27-10602" fmla="*/ 156992 h 2169989"/>
              <a:gd name="connsiteX28-10603" fmla="*/ 1648887 w 2804294"/>
              <a:gd name="connsiteY28-10604" fmla="*/ 427062 h 2169989"/>
              <a:gd name="connsiteX29-10605" fmla="*/ 1466148 w 2804294"/>
              <a:gd name="connsiteY29-10606" fmla="*/ 630287 h 2169989"/>
              <a:gd name="connsiteX30-10607" fmla="*/ 1231973 w 2804294"/>
              <a:gd name="connsiteY30-10608" fmla="*/ 764102 h 2169989"/>
              <a:gd name="connsiteX31-10609" fmla="*/ 1109309 w 2804294"/>
              <a:gd name="connsiteY31-10610" fmla="*/ 875614 h 2169989"/>
              <a:gd name="connsiteX32-10611" fmla="*/ 640958 w 2804294"/>
              <a:gd name="connsiteY32-10612" fmla="*/ 998277 h 2169989"/>
              <a:gd name="connsiteX33-10613" fmla="*/ 574051 w 2804294"/>
              <a:gd name="connsiteY33-10614" fmla="*/ 1054034 h 2169989"/>
              <a:gd name="connsiteX34-10615" fmla="*/ 440236 w 2804294"/>
              <a:gd name="connsiteY34-10616" fmla="*/ 1377419 h 2169989"/>
              <a:gd name="connsiteX35-10617" fmla="*/ 128002 w 2804294"/>
              <a:gd name="connsiteY35-10618" fmla="*/ 1544687 h 2169989"/>
              <a:gd name="connsiteX36-10619" fmla="*/ 105699 w 2804294"/>
              <a:gd name="connsiteY36-10620" fmla="*/ 1689653 h 2169989"/>
              <a:gd name="connsiteX37-10621" fmla="*/ 27641 w 2804294"/>
              <a:gd name="connsiteY37-10622" fmla="*/ 1801165 h 2169989"/>
              <a:gd name="connsiteX38-10623" fmla="*/ 5338 w 2804294"/>
              <a:gd name="connsiteY38-10624" fmla="*/ 2035341 h 2169989"/>
              <a:gd name="connsiteX39-10625" fmla="*/ 1063 w 2804294"/>
              <a:gd name="connsiteY39-10626" fmla="*/ 1994252 h 2169989"/>
              <a:gd name="connsiteX40-10627" fmla="*/ 17008 w 2804294"/>
              <a:gd name="connsiteY40-10628" fmla="*/ 2046928 h 2169989"/>
              <a:gd name="connsiteX41-10629" fmla="*/ 128636 w 2804294"/>
              <a:gd name="connsiteY41-10630" fmla="*/ 2047575 h 2169989"/>
              <a:gd name="connsiteX42-10631" fmla="*/ 21003 w 2804294"/>
              <a:gd name="connsiteY42-10632" fmla="*/ 2043364 h 2169989"/>
              <a:gd name="connsiteX43-10633" fmla="*/ 346055 w 2804294"/>
              <a:gd name="connsiteY43-10634" fmla="*/ 2137681 h 2169989"/>
              <a:gd name="connsiteX0-10635" fmla="*/ 19940 w 2803231"/>
              <a:gd name="connsiteY0-10636" fmla="*/ 2043364 h 2169989"/>
              <a:gd name="connsiteX1-10637" fmla="*/ 344992 w 2803231"/>
              <a:gd name="connsiteY1-10638" fmla="*/ 2137681 h 2169989"/>
              <a:gd name="connsiteX2-10639" fmla="*/ 260882 w 2803231"/>
              <a:gd name="connsiteY2-10640" fmla="*/ 2118632 h 2169989"/>
              <a:gd name="connsiteX3-10641" fmla="*/ 249939 w 2803231"/>
              <a:gd name="connsiteY3-10642" fmla="*/ 2137399 h 2169989"/>
              <a:gd name="connsiteX4-10643" fmla="*/ 587403 w 2803231"/>
              <a:gd name="connsiteY4-10644" fmla="*/ 2118366 h 2169989"/>
              <a:gd name="connsiteX5-10645" fmla="*/ 940656 w 2803231"/>
              <a:gd name="connsiteY5-10646" fmla="*/ 2056335 h 2169989"/>
              <a:gd name="connsiteX6-10647" fmla="*/ 963280 w 2803231"/>
              <a:gd name="connsiteY6-10648" fmla="*/ 1622746 h 2169989"/>
              <a:gd name="connsiteX7-10649" fmla="*/ 2078402 w 2803231"/>
              <a:gd name="connsiteY7-10650" fmla="*/ 1611595 h 2169989"/>
              <a:gd name="connsiteX8-10651" fmla="*/ 2067251 w 2803231"/>
              <a:gd name="connsiteY8-10652" fmla="*/ 764102 h 2169989"/>
              <a:gd name="connsiteX9-10653" fmla="*/ 2223368 w 2803231"/>
              <a:gd name="connsiteY9-10654" fmla="*/ 663741 h 2169989"/>
              <a:gd name="connsiteX10-10655" fmla="*/ 2569056 w 2803231"/>
              <a:gd name="connsiteY10-10656" fmla="*/ 485321 h 2169989"/>
              <a:gd name="connsiteX11-10657" fmla="*/ 2803231 w 2803231"/>
              <a:gd name="connsiteY11-10658" fmla="*/ 496473 h 2169989"/>
              <a:gd name="connsiteX12-10659" fmla="*/ 2803231 w 2803231"/>
              <a:gd name="connsiteY12-10660" fmla="*/ 329204 h 2169989"/>
              <a:gd name="connsiteX13-10661" fmla="*/ 2758627 w 2803231"/>
              <a:gd name="connsiteY13-10662" fmla="*/ 251146 h 2169989"/>
              <a:gd name="connsiteX14-10663" fmla="*/ 2747475 w 2803231"/>
              <a:gd name="connsiteY14-10664" fmla="*/ 217692 h 2169989"/>
              <a:gd name="connsiteX15-10665" fmla="*/ 2691719 w 2803231"/>
              <a:gd name="connsiteY15-10666" fmla="*/ 195390 h 2169989"/>
              <a:gd name="connsiteX16-10667" fmla="*/ 2680568 w 2803231"/>
              <a:gd name="connsiteY16-10668" fmla="*/ 239995 h 2169989"/>
              <a:gd name="connsiteX17-10669" fmla="*/ 2557905 w 2803231"/>
              <a:gd name="connsiteY17-10670" fmla="*/ 206541 h 2169989"/>
              <a:gd name="connsiteX18-10671" fmla="*/ 2523860 w 2803231"/>
              <a:gd name="connsiteY18-10672" fmla="*/ 214352 h 2169989"/>
              <a:gd name="connsiteX19-10673" fmla="*/ 2439475 w 2803231"/>
              <a:gd name="connsiteY19-10674" fmla="*/ 224256 h 2169989"/>
              <a:gd name="connsiteX20-10675" fmla="*/ 2430325 w 2803231"/>
              <a:gd name="connsiteY20-10676" fmla="*/ 130308 h 2169989"/>
              <a:gd name="connsiteX21-10677" fmla="*/ 2364831 w 2803231"/>
              <a:gd name="connsiteY21-10678" fmla="*/ 52944 h 2169989"/>
              <a:gd name="connsiteX22-10679" fmla="*/ 2315086 w 2803231"/>
              <a:gd name="connsiteY22-10680" fmla="*/ 25309 h 2169989"/>
              <a:gd name="connsiteX23-10681" fmla="*/ 2259090 w 2803231"/>
              <a:gd name="connsiteY23-10682" fmla="*/ 52128 h 2169989"/>
              <a:gd name="connsiteX24-10683" fmla="*/ 2054612 w 2803231"/>
              <a:gd name="connsiteY24-10684" fmla="*/ 30301 h 2169989"/>
              <a:gd name="connsiteX25-10685" fmla="*/ 2020647 w 2803231"/>
              <a:gd name="connsiteY25-10686" fmla="*/ 12834 h 2169989"/>
              <a:gd name="connsiteX26-10687" fmla="*/ 2033346 w 2803231"/>
              <a:gd name="connsiteY26-10688" fmla="*/ 12834 h 2169989"/>
              <a:gd name="connsiteX27-10689" fmla="*/ 1709519 w 2803231"/>
              <a:gd name="connsiteY27-10690" fmla="*/ 89836 h 2169989"/>
              <a:gd name="connsiteX28-10691" fmla="*/ 1653824 w 2803231"/>
              <a:gd name="connsiteY28-10692" fmla="*/ 156992 h 2169989"/>
              <a:gd name="connsiteX29-10693" fmla="*/ 1647824 w 2803231"/>
              <a:gd name="connsiteY29-10694" fmla="*/ 427062 h 2169989"/>
              <a:gd name="connsiteX30-10695" fmla="*/ 1465085 w 2803231"/>
              <a:gd name="connsiteY30-10696" fmla="*/ 630287 h 2169989"/>
              <a:gd name="connsiteX31-10697" fmla="*/ 1230910 w 2803231"/>
              <a:gd name="connsiteY31-10698" fmla="*/ 764102 h 2169989"/>
              <a:gd name="connsiteX32-10699" fmla="*/ 1108246 w 2803231"/>
              <a:gd name="connsiteY32-10700" fmla="*/ 875614 h 2169989"/>
              <a:gd name="connsiteX33-10701" fmla="*/ 639895 w 2803231"/>
              <a:gd name="connsiteY33-10702" fmla="*/ 998277 h 2169989"/>
              <a:gd name="connsiteX34-10703" fmla="*/ 572988 w 2803231"/>
              <a:gd name="connsiteY34-10704" fmla="*/ 1054034 h 2169989"/>
              <a:gd name="connsiteX35-10705" fmla="*/ 439173 w 2803231"/>
              <a:gd name="connsiteY35-10706" fmla="*/ 1377419 h 2169989"/>
              <a:gd name="connsiteX36-10707" fmla="*/ 126939 w 2803231"/>
              <a:gd name="connsiteY36-10708" fmla="*/ 1544687 h 2169989"/>
              <a:gd name="connsiteX37-10709" fmla="*/ 104636 w 2803231"/>
              <a:gd name="connsiteY37-10710" fmla="*/ 1689653 h 2169989"/>
              <a:gd name="connsiteX38-10711" fmla="*/ 26578 w 2803231"/>
              <a:gd name="connsiteY38-10712" fmla="*/ 1801165 h 2169989"/>
              <a:gd name="connsiteX39-10713" fmla="*/ 4275 w 2803231"/>
              <a:gd name="connsiteY39-10714" fmla="*/ 2035341 h 2169989"/>
              <a:gd name="connsiteX40-10715" fmla="*/ 0 w 2803231"/>
              <a:gd name="connsiteY40-10716" fmla="*/ 1994252 h 2169989"/>
              <a:gd name="connsiteX41-10717" fmla="*/ 15945 w 2803231"/>
              <a:gd name="connsiteY41-10718" fmla="*/ 2046928 h 2169989"/>
              <a:gd name="connsiteX42-10719" fmla="*/ 219003 w 2803231"/>
              <a:gd name="connsiteY42-10720" fmla="*/ 2139000 h 2169989"/>
              <a:gd name="connsiteX0-10721" fmla="*/ 19940 w 2803231"/>
              <a:gd name="connsiteY0-10722" fmla="*/ 2043364 h 2169989"/>
              <a:gd name="connsiteX1-10723" fmla="*/ 344992 w 2803231"/>
              <a:gd name="connsiteY1-10724" fmla="*/ 2137681 h 2169989"/>
              <a:gd name="connsiteX2-10725" fmla="*/ 260882 w 2803231"/>
              <a:gd name="connsiteY2-10726" fmla="*/ 2118632 h 2169989"/>
              <a:gd name="connsiteX3-10727" fmla="*/ 249939 w 2803231"/>
              <a:gd name="connsiteY3-10728" fmla="*/ 2137399 h 2169989"/>
              <a:gd name="connsiteX4-10729" fmla="*/ 587403 w 2803231"/>
              <a:gd name="connsiteY4-10730" fmla="*/ 2118366 h 2169989"/>
              <a:gd name="connsiteX5-10731" fmla="*/ 940656 w 2803231"/>
              <a:gd name="connsiteY5-10732" fmla="*/ 2056335 h 2169989"/>
              <a:gd name="connsiteX6-10733" fmla="*/ 963280 w 2803231"/>
              <a:gd name="connsiteY6-10734" fmla="*/ 1622746 h 2169989"/>
              <a:gd name="connsiteX7-10735" fmla="*/ 2078402 w 2803231"/>
              <a:gd name="connsiteY7-10736" fmla="*/ 1611595 h 2169989"/>
              <a:gd name="connsiteX8-10737" fmla="*/ 2067251 w 2803231"/>
              <a:gd name="connsiteY8-10738" fmla="*/ 764102 h 2169989"/>
              <a:gd name="connsiteX9-10739" fmla="*/ 2223368 w 2803231"/>
              <a:gd name="connsiteY9-10740" fmla="*/ 663741 h 2169989"/>
              <a:gd name="connsiteX10-10741" fmla="*/ 2569056 w 2803231"/>
              <a:gd name="connsiteY10-10742" fmla="*/ 485321 h 2169989"/>
              <a:gd name="connsiteX11-10743" fmla="*/ 2803231 w 2803231"/>
              <a:gd name="connsiteY11-10744" fmla="*/ 496473 h 2169989"/>
              <a:gd name="connsiteX12-10745" fmla="*/ 2803231 w 2803231"/>
              <a:gd name="connsiteY12-10746" fmla="*/ 329204 h 2169989"/>
              <a:gd name="connsiteX13-10747" fmla="*/ 2758627 w 2803231"/>
              <a:gd name="connsiteY13-10748" fmla="*/ 251146 h 2169989"/>
              <a:gd name="connsiteX14-10749" fmla="*/ 2747475 w 2803231"/>
              <a:gd name="connsiteY14-10750" fmla="*/ 217692 h 2169989"/>
              <a:gd name="connsiteX15-10751" fmla="*/ 2691719 w 2803231"/>
              <a:gd name="connsiteY15-10752" fmla="*/ 195390 h 2169989"/>
              <a:gd name="connsiteX16-10753" fmla="*/ 2680568 w 2803231"/>
              <a:gd name="connsiteY16-10754" fmla="*/ 239995 h 2169989"/>
              <a:gd name="connsiteX17-10755" fmla="*/ 2557905 w 2803231"/>
              <a:gd name="connsiteY17-10756" fmla="*/ 206541 h 2169989"/>
              <a:gd name="connsiteX18-10757" fmla="*/ 2523860 w 2803231"/>
              <a:gd name="connsiteY18-10758" fmla="*/ 214352 h 2169989"/>
              <a:gd name="connsiteX19-10759" fmla="*/ 2439475 w 2803231"/>
              <a:gd name="connsiteY19-10760" fmla="*/ 224256 h 2169989"/>
              <a:gd name="connsiteX20-10761" fmla="*/ 2430325 w 2803231"/>
              <a:gd name="connsiteY20-10762" fmla="*/ 130308 h 2169989"/>
              <a:gd name="connsiteX21-10763" fmla="*/ 2364831 w 2803231"/>
              <a:gd name="connsiteY21-10764" fmla="*/ 52944 h 2169989"/>
              <a:gd name="connsiteX22-10765" fmla="*/ 2315086 w 2803231"/>
              <a:gd name="connsiteY22-10766" fmla="*/ 25309 h 2169989"/>
              <a:gd name="connsiteX23-10767" fmla="*/ 2259090 w 2803231"/>
              <a:gd name="connsiteY23-10768" fmla="*/ 52128 h 2169989"/>
              <a:gd name="connsiteX24-10769" fmla="*/ 2054612 w 2803231"/>
              <a:gd name="connsiteY24-10770" fmla="*/ 30301 h 2169989"/>
              <a:gd name="connsiteX25-10771" fmla="*/ 2020647 w 2803231"/>
              <a:gd name="connsiteY25-10772" fmla="*/ 12834 h 2169989"/>
              <a:gd name="connsiteX26-10773" fmla="*/ 2033346 w 2803231"/>
              <a:gd name="connsiteY26-10774" fmla="*/ 12834 h 2169989"/>
              <a:gd name="connsiteX27-10775" fmla="*/ 1709519 w 2803231"/>
              <a:gd name="connsiteY27-10776" fmla="*/ 89836 h 2169989"/>
              <a:gd name="connsiteX28-10777" fmla="*/ 1653824 w 2803231"/>
              <a:gd name="connsiteY28-10778" fmla="*/ 156992 h 2169989"/>
              <a:gd name="connsiteX29-10779" fmla="*/ 1647824 w 2803231"/>
              <a:gd name="connsiteY29-10780" fmla="*/ 427062 h 2169989"/>
              <a:gd name="connsiteX30-10781" fmla="*/ 1465085 w 2803231"/>
              <a:gd name="connsiteY30-10782" fmla="*/ 630287 h 2169989"/>
              <a:gd name="connsiteX31-10783" fmla="*/ 1230910 w 2803231"/>
              <a:gd name="connsiteY31-10784" fmla="*/ 764102 h 2169989"/>
              <a:gd name="connsiteX32-10785" fmla="*/ 1108246 w 2803231"/>
              <a:gd name="connsiteY32-10786" fmla="*/ 875614 h 2169989"/>
              <a:gd name="connsiteX33-10787" fmla="*/ 639895 w 2803231"/>
              <a:gd name="connsiteY33-10788" fmla="*/ 998277 h 2169989"/>
              <a:gd name="connsiteX34-10789" fmla="*/ 572988 w 2803231"/>
              <a:gd name="connsiteY34-10790" fmla="*/ 1054034 h 2169989"/>
              <a:gd name="connsiteX35-10791" fmla="*/ 439173 w 2803231"/>
              <a:gd name="connsiteY35-10792" fmla="*/ 1377419 h 2169989"/>
              <a:gd name="connsiteX36-10793" fmla="*/ 126939 w 2803231"/>
              <a:gd name="connsiteY36-10794" fmla="*/ 1544687 h 2169989"/>
              <a:gd name="connsiteX37-10795" fmla="*/ 104636 w 2803231"/>
              <a:gd name="connsiteY37-10796" fmla="*/ 1689653 h 2169989"/>
              <a:gd name="connsiteX38-10797" fmla="*/ 26578 w 2803231"/>
              <a:gd name="connsiteY38-10798" fmla="*/ 1801165 h 2169989"/>
              <a:gd name="connsiteX39-10799" fmla="*/ 4275 w 2803231"/>
              <a:gd name="connsiteY39-10800" fmla="*/ 2035341 h 2169989"/>
              <a:gd name="connsiteX40-10801" fmla="*/ 0 w 2803231"/>
              <a:gd name="connsiteY40-10802" fmla="*/ 1994252 h 2169989"/>
              <a:gd name="connsiteX41-10803" fmla="*/ 15945 w 2803231"/>
              <a:gd name="connsiteY41-10804" fmla="*/ 2046928 h 2169989"/>
              <a:gd name="connsiteX0-10805" fmla="*/ 19940 w 2803231"/>
              <a:gd name="connsiteY0-10806" fmla="*/ 2043364 h 2137681"/>
              <a:gd name="connsiteX1-10807" fmla="*/ 344992 w 2803231"/>
              <a:gd name="connsiteY1-10808" fmla="*/ 2137681 h 2137681"/>
              <a:gd name="connsiteX2-10809" fmla="*/ 260882 w 2803231"/>
              <a:gd name="connsiteY2-10810" fmla="*/ 2118632 h 2137681"/>
              <a:gd name="connsiteX3-10811" fmla="*/ 587403 w 2803231"/>
              <a:gd name="connsiteY3-10812" fmla="*/ 2118366 h 2137681"/>
              <a:gd name="connsiteX4-10813" fmla="*/ 940656 w 2803231"/>
              <a:gd name="connsiteY4-10814" fmla="*/ 2056335 h 2137681"/>
              <a:gd name="connsiteX5-10815" fmla="*/ 963280 w 2803231"/>
              <a:gd name="connsiteY5-10816" fmla="*/ 1622746 h 2137681"/>
              <a:gd name="connsiteX6-10817" fmla="*/ 2078402 w 2803231"/>
              <a:gd name="connsiteY6-10818" fmla="*/ 1611595 h 2137681"/>
              <a:gd name="connsiteX7-10819" fmla="*/ 2067251 w 2803231"/>
              <a:gd name="connsiteY7-10820" fmla="*/ 764102 h 2137681"/>
              <a:gd name="connsiteX8-10821" fmla="*/ 2223368 w 2803231"/>
              <a:gd name="connsiteY8-10822" fmla="*/ 663741 h 2137681"/>
              <a:gd name="connsiteX9-10823" fmla="*/ 2569056 w 2803231"/>
              <a:gd name="connsiteY9-10824" fmla="*/ 485321 h 2137681"/>
              <a:gd name="connsiteX10-10825" fmla="*/ 2803231 w 2803231"/>
              <a:gd name="connsiteY10-10826" fmla="*/ 496473 h 2137681"/>
              <a:gd name="connsiteX11-10827" fmla="*/ 2803231 w 2803231"/>
              <a:gd name="connsiteY11-10828" fmla="*/ 329204 h 2137681"/>
              <a:gd name="connsiteX12-10829" fmla="*/ 2758627 w 2803231"/>
              <a:gd name="connsiteY12-10830" fmla="*/ 251146 h 2137681"/>
              <a:gd name="connsiteX13-10831" fmla="*/ 2747475 w 2803231"/>
              <a:gd name="connsiteY13-10832" fmla="*/ 217692 h 2137681"/>
              <a:gd name="connsiteX14-10833" fmla="*/ 2691719 w 2803231"/>
              <a:gd name="connsiteY14-10834" fmla="*/ 195390 h 2137681"/>
              <a:gd name="connsiteX15-10835" fmla="*/ 2680568 w 2803231"/>
              <a:gd name="connsiteY15-10836" fmla="*/ 239995 h 2137681"/>
              <a:gd name="connsiteX16-10837" fmla="*/ 2557905 w 2803231"/>
              <a:gd name="connsiteY16-10838" fmla="*/ 206541 h 2137681"/>
              <a:gd name="connsiteX17-10839" fmla="*/ 2523860 w 2803231"/>
              <a:gd name="connsiteY17-10840" fmla="*/ 214352 h 2137681"/>
              <a:gd name="connsiteX18-10841" fmla="*/ 2439475 w 2803231"/>
              <a:gd name="connsiteY18-10842" fmla="*/ 224256 h 2137681"/>
              <a:gd name="connsiteX19-10843" fmla="*/ 2430325 w 2803231"/>
              <a:gd name="connsiteY19-10844" fmla="*/ 130308 h 2137681"/>
              <a:gd name="connsiteX20-10845" fmla="*/ 2364831 w 2803231"/>
              <a:gd name="connsiteY20-10846" fmla="*/ 52944 h 2137681"/>
              <a:gd name="connsiteX21-10847" fmla="*/ 2315086 w 2803231"/>
              <a:gd name="connsiteY21-10848" fmla="*/ 25309 h 2137681"/>
              <a:gd name="connsiteX22-10849" fmla="*/ 2259090 w 2803231"/>
              <a:gd name="connsiteY22-10850" fmla="*/ 52128 h 2137681"/>
              <a:gd name="connsiteX23-10851" fmla="*/ 2054612 w 2803231"/>
              <a:gd name="connsiteY23-10852" fmla="*/ 30301 h 2137681"/>
              <a:gd name="connsiteX24-10853" fmla="*/ 2020647 w 2803231"/>
              <a:gd name="connsiteY24-10854" fmla="*/ 12834 h 2137681"/>
              <a:gd name="connsiteX25-10855" fmla="*/ 2033346 w 2803231"/>
              <a:gd name="connsiteY25-10856" fmla="*/ 12834 h 2137681"/>
              <a:gd name="connsiteX26-10857" fmla="*/ 1709519 w 2803231"/>
              <a:gd name="connsiteY26-10858" fmla="*/ 89836 h 2137681"/>
              <a:gd name="connsiteX27-10859" fmla="*/ 1653824 w 2803231"/>
              <a:gd name="connsiteY27-10860" fmla="*/ 156992 h 2137681"/>
              <a:gd name="connsiteX28-10861" fmla="*/ 1647824 w 2803231"/>
              <a:gd name="connsiteY28-10862" fmla="*/ 427062 h 2137681"/>
              <a:gd name="connsiteX29-10863" fmla="*/ 1465085 w 2803231"/>
              <a:gd name="connsiteY29-10864" fmla="*/ 630287 h 2137681"/>
              <a:gd name="connsiteX30-10865" fmla="*/ 1230910 w 2803231"/>
              <a:gd name="connsiteY30-10866" fmla="*/ 764102 h 2137681"/>
              <a:gd name="connsiteX31-10867" fmla="*/ 1108246 w 2803231"/>
              <a:gd name="connsiteY31-10868" fmla="*/ 875614 h 2137681"/>
              <a:gd name="connsiteX32-10869" fmla="*/ 639895 w 2803231"/>
              <a:gd name="connsiteY32-10870" fmla="*/ 998277 h 2137681"/>
              <a:gd name="connsiteX33-10871" fmla="*/ 572988 w 2803231"/>
              <a:gd name="connsiteY33-10872" fmla="*/ 1054034 h 2137681"/>
              <a:gd name="connsiteX34-10873" fmla="*/ 439173 w 2803231"/>
              <a:gd name="connsiteY34-10874" fmla="*/ 1377419 h 2137681"/>
              <a:gd name="connsiteX35-10875" fmla="*/ 126939 w 2803231"/>
              <a:gd name="connsiteY35-10876" fmla="*/ 1544687 h 2137681"/>
              <a:gd name="connsiteX36-10877" fmla="*/ 104636 w 2803231"/>
              <a:gd name="connsiteY36-10878" fmla="*/ 1689653 h 2137681"/>
              <a:gd name="connsiteX37-10879" fmla="*/ 26578 w 2803231"/>
              <a:gd name="connsiteY37-10880" fmla="*/ 1801165 h 2137681"/>
              <a:gd name="connsiteX38-10881" fmla="*/ 4275 w 2803231"/>
              <a:gd name="connsiteY38-10882" fmla="*/ 2035341 h 2137681"/>
              <a:gd name="connsiteX39-10883" fmla="*/ 0 w 2803231"/>
              <a:gd name="connsiteY39-10884" fmla="*/ 1994252 h 2137681"/>
              <a:gd name="connsiteX40-10885" fmla="*/ 15945 w 2803231"/>
              <a:gd name="connsiteY40-10886" fmla="*/ 2046928 h 2137681"/>
              <a:gd name="connsiteX0-10887" fmla="*/ 19940 w 2803231"/>
              <a:gd name="connsiteY0-10888" fmla="*/ 2043364 h 2128749"/>
              <a:gd name="connsiteX1-10889" fmla="*/ 260882 w 2803231"/>
              <a:gd name="connsiteY1-10890" fmla="*/ 2118632 h 2128749"/>
              <a:gd name="connsiteX2-10891" fmla="*/ 587403 w 2803231"/>
              <a:gd name="connsiteY2-10892" fmla="*/ 2118366 h 2128749"/>
              <a:gd name="connsiteX3-10893" fmla="*/ 940656 w 2803231"/>
              <a:gd name="connsiteY3-10894" fmla="*/ 2056335 h 2128749"/>
              <a:gd name="connsiteX4-10895" fmla="*/ 963280 w 2803231"/>
              <a:gd name="connsiteY4-10896" fmla="*/ 1622746 h 2128749"/>
              <a:gd name="connsiteX5-10897" fmla="*/ 2078402 w 2803231"/>
              <a:gd name="connsiteY5-10898" fmla="*/ 1611595 h 2128749"/>
              <a:gd name="connsiteX6-10899" fmla="*/ 2067251 w 2803231"/>
              <a:gd name="connsiteY6-10900" fmla="*/ 764102 h 2128749"/>
              <a:gd name="connsiteX7-10901" fmla="*/ 2223368 w 2803231"/>
              <a:gd name="connsiteY7-10902" fmla="*/ 663741 h 2128749"/>
              <a:gd name="connsiteX8-10903" fmla="*/ 2569056 w 2803231"/>
              <a:gd name="connsiteY8-10904" fmla="*/ 485321 h 2128749"/>
              <a:gd name="connsiteX9-10905" fmla="*/ 2803231 w 2803231"/>
              <a:gd name="connsiteY9-10906" fmla="*/ 496473 h 2128749"/>
              <a:gd name="connsiteX10-10907" fmla="*/ 2803231 w 2803231"/>
              <a:gd name="connsiteY10-10908" fmla="*/ 329204 h 2128749"/>
              <a:gd name="connsiteX11-10909" fmla="*/ 2758627 w 2803231"/>
              <a:gd name="connsiteY11-10910" fmla="*/ 251146 h 2128749"/>
              <a:gd name="connsiteX12-10911" fmla="*/ 2747475 w 2803231"/>
              <a:gd name="connsiteY12-10912" fmla="*/ 217692 h 2128749"/>
              <a:gd name="connsiteX13-10913" fmla="*/ 2691719 w 2803231"/>
              <a:gd name="connsiteY13-10914" fmla="*/ 195390 h 2128749"/>
              <a:gd name="connsiteX14-10915" fmla="*/ 2680568 w 2803231"/>
              <a:gd name="connsiteY14-10916" fmla="*/ 239995 h 2128749"/>
              <a:gd name="connsiteX15-10917" fmla="*/ 2557905 w 2803231"/>
              <a:gd name="connsiteY15-10918" fmla="*/ 206541 h 2128749"/>
              <a:gd name="connsiteX16-10919" fmla="*/ 2523860 w 2803231"/>
              <a:gd name="connsiteY16-10920" fmla="*/ 214352 h 2128749"/>
              <a:gd name="connsiteX17-10921" fmla="*/ 2439475 w 2803231"/>
              <a:gd name="connsiteY17-10922" fmla="*/ 224256 h 2128749"/>
              <a:gd name="connsiteX18-10923" fmla="*/ 2430325 w 2803231"/>
              <a:gd name="connsiteY18-10924" fmla="*/ 130308 h 2128749"/>
              <a:gd name="connsiteX19-10925" fmla="*/ 2364831 w 2803231"/>
              <a:gd name="connsiteY19-10926" fmla="*/ 52944 h 2128749"/>
              <a:gd name="connsiteX20-10927" fmla="*/ 2315086 w 2803231"/>
              <a:gd name="connsiteY20-10928" fmla="*/ 25309 h 2128749"/>
              <a:gd name="connsiteX21-10929" fmla="*/ 2259090 w 2803231"/>
              <a:gd name="connsiteY21-10930" fmla="*/ 52128 h 2128749"/>
              <a:gd name="connsiteX22-10931" fmla="*/ 2054612 w 2803231"/>
              <a:gd name="connsiteY22-10932" fmla="*/ 30301 h 2128749"/>
              <a:gd name="connsiteX23-10933" fmla="*/ 2020647 w 2803231"/>
              <a:gd name="connsiteY23-10934" fmla="*/ 12834 h 2128749"/>
              <a:gd name="connsiteX24-10935" fmla="*/ 2033346 w 2803231"/>
              <a:gd name="connsiteY24-10936" fmla="*/ 12834 h 2128749"/>
              <a:gd name="connsiteX25-10937" fmla="*/ 1709519 w 2803231"/>
              <a:gd name="connsiteY25-10938" fmla="*/ 89836 h 2128749"/>
              <a:gd name="connsiteX26-10939" fmla="*/ 1653824 w 2803231"/>
              <a:gd name="connsiteY26-10940" fmla="*/ 156992 h 2128749"/>
              <a:gd name="connsiteX27-10941" fmla="*/ 1647824 w 2803231"/>
              <a:gd name="connsiteY27-10942" fmla="*/ 427062 h 2128749"/>
              <a:gd name="connsiteX28-10943" fmla="*/ 1465085 w 2803231"/>
              <a:gd name="connsiteY28-10944" fmla="*/ 630287 h 2128749"/>
              <a:gd name="connsiteX29-10945" fmla="*/ 1230910 w 2803231"/>
              <a:gd name="connsiteY29-10946" fmla="*/ 764102 h 2128749"/>
              <a:gd name="connsiteX30-10947" fmla="*/ 1108246 w 2803231"/>
              <a:gd name="connsiteY30-10948" fmla="*/ 875614 h 2128749"/>
              <a:gd name="connsiteX31-10949" fmla="*/ 639895 w 2803231"/>
              <a:gd name="connsiteY31-10950" fmla="*/ 998277 h 2128749"/>
              <a:gd name="connsiteX32-10951" fmla="*/ 572988 w 2803231"/>
              <a:gd name="connsiteY32-10952" fmla="*/ 1054034 h 2128749"/>
              <a:gd name="connsiteX33-10953" fmla="*/ 439173 w 2803231"/>
              <a:gd name="connsiteY33-10954" fmla="*/ 1377419 h 2128749"/>
              <a:gd name="connsiteX34-10955" fmla="*/ 126939 w 2803231"/>
              <a:gd name="connsiteY34-10956" fmla="*/ 1544687 h 2128749"/>
              <a:gd name="connsiteX35-10957" fmla="*/ 104636 w 2803231"/>
              <a:gd name="connsiteY35-10958" fmla="*/ 1689653 h 2128749"/>
              <a:gd name="connsiteX36-10959" fmla="*/ 26578 w 2803231"/>
              <a:gd name="connsiteY36-10960" fmla="*/ 1801165 h 2128749"/>
              <a:gd name="connsiteX37-10961" fmla="*/ 4275 w 2803231"/>
              <a:gd name="connsiteY37-10962" fmla="*/ 2035341 h 2128749"/>
              <a:gd name="connsiteX38-10963" fmla="*/ 0 w 2803231"/>
              <a:gd name="connsiteY38-10964" fmla="*/ 1994252 h 2128749"/>
              <a:gd name="connsiteX39-10965" fmla="*/ 15945 w 2803231"/>
              <a:gd name="connsiteY39-10966" fmla="*/ 2046928 h 2128749"/>
              <a:gd name="connsiteX0-10967" fmla="*/ 19940 w 2803231"/>
              <a:gd name="connsiteY0-10968" fmla="*/ 2043364 h 2128749"/>
              <a:gd name="connsiteX1-10969" fmla="*/ 260882 w 2803231"/>
              <a:gd name="connsiteY1-10970" fmla="*/ 2118632 h 2128749"/>
              <a:gd name="connsiteX2-10971" fmla="*/ 587403 w 2803231"/>
              <a:gd name="connsiteY2-10972" fmla="*/ 2118366 h 2128749"/>
              <a:gd name="connsiteX3-10973" fmla="*/ 940656 w 2803231"/>
              <a:gd name="connsiteY3-10974" fmla="*/ 2056335 h 2128749"/>
              <a:gd name="connsiteX4-10975" fmla="*/ 963280 w 2803231"/>
              <a:gd name="connsiteY4-10976" fmla="*/ 1622746 h 2128749"/>
              <a:gd name="connsiteX5-10977" fmla="*/ 2078402 w 2803231"/>
              <a:gd name="connsiteY5-10978" fmla="*/ 1611595 h 2128749"/>
              <a:gd name="connsiteX6-10979" fmla="*/ 2067251 w 2803231"/>
              <a:gd name="connsiteY6-10980" fmla="*/ 764102 h 2128749"/>
              <a:gd name="connsiteX7-10981" fmla="*/ 2223368 w 2803231"/>
              <a:gd name="connsiteY7-10982" fmla="*/ 663741 h 2128749"/>
              <a:gd name="connsiteX8-10983" fmla="*/ 2569056 w 2803231"/>
              <a:gd name="connsiteY8-10984" fmla="*/ 485321 h 2128749"/>
              <a:gd name="connsiteX9-10985" fmla="*/ 2803231 w 2803231"/>
              <a:gd name="connsiteY9-10986" fmla="*/ 496473 h 2128749"/>
              <a:gd name="connsiteX10-10987" fmla="*/ 2803231 w 2803231"/>
              <a:gd name="connsiteY10-10988" fmla="*/ 329204 h 2128749"/>
              <a:gd name="connsiteX11-10989" fmla="*/ 2758627 w 2803231"/>
              <a:gd name="connsiteY11-10990" fmla="*/ 251146 h 2128749"/>
              <a:gd name="connsiteX12-10991" fmla="*/ 2747475 w 2803231"/>
              <a:gd name="connsiteY12-10992" fmla="*/ 217692 h 2128749"/>
              <a:gd name="connsiteX13-10993" fmla="*/ 2691719 w 2803231"/>
              <a:gd name="connsiteY13-10994" fmla="*/ 195390 h 2128749"/>
              <a:gd name="connsiteX14-10995" fmla="*/ 2680568 w 2803231"/>
              <a:gd name="connsiteY14-10996" fmla="*/ 239995 h 2128749"/>
              <a:gd name="connsiteX15-10997" fmla="*/ 2557905 w 2803231"/>
              <a:gd name="connsiteY15-10998" fmla="*/ 206541 h 2128749"/>
              <a:gd name="connsiteX16-10999" fmla="*/ 2523860 w 2803231"/>
              <a:gd name="connsiteY16-11000" fmla="*/ 214352 h 2128749"/>
              <a:gd name="connsiteX17-11001" fmla="*/ 2439475 w 2803231"/>
              <a:gd name="connsiteY17-11002" fmla="*/ 224256 h 2128749"/>
              <a:gd name="connsiteX18-11003" fmla="*/ 2430325 w 2803231"/>
              <a:gd name="connsiteY18-11004" fmla="*/ 130308 h 2128749"/>
              <a:gd name="connsiteX19-11005" fmla="*/ 2364831 w 2803231"/>
              <a:gd name="connsiteY19-11006" fmla="*/ 52944 h 2128749"/>
              <a:gd name="connsiteX20-11007" fmla="*/ 2315086 w 2803231"/>
              <a:gd name="connsiteY20-11008" fmla="*/ 25309 h 2128749"/>
              <a:gd name="connsiteX21-11009" fmla="*/ 2259090 w 2803231"/>
              <a:gd name="connsiteY21-11010" fmla="*/ 52128 h 2128749"/>
              <a:gd name="connsiteX22-11011" fmla="*/ 2054612 w 2803231"/>
              <a:gd name="connsiteY22-11012" fmla="*/ 30301 h 2128749"/>
              <a:gd name="connsiteX23-11013" fmla="*/ 2020647 w 2803231"/>
              <a:gd name="connsiteY23-11014" fmla="*/ 12834 h 2128749"/>
              <a:gd name="connsiteX24-11015" fmla="*/ 2033346 w 2803231"/>
              <a:gd name="connsiteY24-11016" fmla="*/ 12834 h 2128749"/>
              <a:gd name="connsiteX25-11017" fmla="*/ 1709519 w 2803231"/>
              <a:gd name="connsiteY25-11018" fmla="*/ 89836 h 2128749"/>
              <a:gd name="connsiteX26-11019" fmla="*/ 1653824 w 2803231"/>
              <a:gd name="connsiteY26-11020" fmla="*/ 156992 h 2128749"/>
              <a:gd name="connsiteX27-11021" fmla="*/ 1647824 w 2803231"/>
              <a:gd name="connsiteY27-11022" fmla="*/ 427062 h 2128749"/>
              <a:gd name="connsiteX28-11023" fmla="*/ 1465085 w 2803231"/>
              <a:gd name="connsiteY28-11024" fmla="*/ 630287 h 2128749"/>
              <a:gd name="connsiteX29-11025" fmla="*/ 1230910 w 2803231"/>
              <a:gd name="connsiteY29-11026" fmla="*/ 764102 h 2128749"/>
              <a:gd name="connsiteX30-11027" fmla="*/ 1108246 w 2803231"/>
              <a:gd name="connsiteY30-11028" fmla="*/ 875614 h 2128749"/>
              <a:gd name="connsiteX31-11029" fmla="*/ 639895 w 2803231"/>
              <a:gd name="connsiteY31-11030" fmla="*/ 998277 h 2128749"/>
              <a:gd name="connsiteX32-11031" fmla="*/ 572988 w 2803231"/>
              <a:gd name="connsiteY32-11032" fmla="*/ 1054034 h 2128749"/>
              <a:gd name="connsiteX33-11033" fmla="*/ 439173 w 2803231"/>
              <a:gd name="connsiteY33-11034" fmla="*/ 1377419 h 2128749"/>
              <a:gd name="connsiteX34-11035" fmla="*/ 126939 w 2803231"/>
              <a:gd name="connsiteY34-11036" fmla="*/ 1544687 h 2128749"/>
              <a:gd name="connsiteX35-11037" fmla="*/ 104636 w 2803231"/>
              <a:gd name="connsiteY35-11038" fmla="*/ 1689653 h 2128749"/>
              <a:gd name="connsiteX36-11039" fmla="*/ 26578 w 2803231"/>
              <a:gd name="connsiteY36-11040" fmla="*/ 1801165 h 2128749"/>
              <a:gd name="connsiteX37-11041" fmla="*/ 4275 w 2803231"/>
              <a:gd name="connsiteY37-11042" fmla="*/ 2035341 h 2128749"/>
              <a:gd name="connsiteX38-11043" fmla="*/ 0 w 2803231"/>
              <a:gd name="connsiteY38-11044" fmla="*/ 1922472 h 2128749"/>
              <a:gd name="connsiteX39-11045" fmla="*/ 15945 w 2803231"/>
              <a:gd name="connsiteY39-11046" fmla="*/ 2046928 h 2128749"/>
              <a:gd name="connsiteX0-11047" fmla="*/ 19940 w 2803231"/>
              <a:gd name="connsiteY0-11048" fmla="*/ 2043364 h 2128749"/>
              <a:gd name="connsiteX1-11049" fmla="*/ 260882 w 2803231"/>
              <a:gd name="connsiteY1-11050" fmla="*/ 2118632 h 2128749"/>
              <a:gd name="connsiteX2-11051" fmla="*/ 587403 w 2803231"/>
              <a:gd name="connsiteY2-11052" fmla="*/ 2118366 h 2128749"/>
              <a:gd name="connsiteX3-11053" fmla="*/ 940656 w 2803231"/>
              <a:gd name="connsiteY3-11054" fmla="*/ 2056335 h 2128749"/>
              <a:gd name="connsiteX4-11055" fmla="*/ 963280 w 2803231"/>
              <a:gd name="connsiteY4-11056" fmla="*/ 1622746 h 2128749"/>
              <a:gd name="connsiteX5-11057" fmla="*/ 2078402 w 2803231"/>
              <a:gd name="connsiteY5-11058" fmla="*/ 1611595 h 2128749"/>
              <a:gd name="connsiteX6-11059" fmla="*/ 2067251 w 2803231"/>
              <a:gd name="connsiteY6-11060" fmla="*/ 764102 h 2128749"/>
              <a:gd name="connsiteX7-11061" fmla="*/ 2223368 w 2803231"/>
              <a:gd name="connsiteY7-11062" fmla="*/ 663741 h 2128749"/>
              <a:gd name="connsiteX8-11063" fmla="*/ 2569056 w 2803231"/>
              <a:gd name="connsiteY8-11064" fmla="*/ 485321 h 2128749"/>
              <a:gd name="connsiteX9-11065" fmla="*/ 2803231 w 2803231"/>
              <a:gd name="connsiteY9-11066" fmla="*/ 496473 h 2128749"/>
              <a:gd name="connsiteX10-11067" fmla="*/ 2803231 w 2803231"/>
              <a:gd name="connsiteY10-11068" fmla="*/ 329204 h 2128749"/>
              <a:gd name="connsiteX11-11069" fmla="*/ 2758627 w 2803231"/>
              <a:gd name="connsiteY11-11070" fmla="*/ 251146 h 2128749"/>
              <a:gd name="connsiteX12-11071" fmla="*/ 2747475 w 2803231"/>
              <a:gd name="connsiteY12-11072" fmla="*/ 217692 h 2128749"/>
              <a:gd name="connsiteX13-11073" fmla="*/ 2691719 w 2803231"/>
              <a:gd name="connsiteY13-11074" fmla="*/ 195390 h 2128749"/>
              <a:gd name="connsiteX14-11075" fmla="*/ 2680568 w 2803231"/>
              <a:gd name="connsiteY14-11076" fmla="*/ 239995 h 2128749"/>
              <a:gd name="connsiteX15-11077" fmla="*/ 2557905 w 2803231"/>
              <a:gd name="connsiteY15-11078" fmla="*/ 206541 h 2128749"/>
              <a:gd name="connsiteX16-11079" fmla="*/ 2523860 w 2803231"/>
              <a:gd name="connsiteY16-11080" fmla="*/ 214352 h 2128749"/>
              <a:gd name="connsiteX17-11081" fmla="*/ 2439475 w 2803231"/>
              <a:gd name="connsiteY17-11082" fmla="*/ 224256 h 2128749"/>
              <a:gd name="connsiteX18-11083" fmla="*/ 2430325 w 2803231"/>
              <a:gd name="connsiteY18-11084" fmla="*/ 130308 h 2128749"/>
              <a:gd name="connsiteX19-11085" fmla="*/ 2364831 w 2803231"/>
              <a:gd name="connsiteY19-11086" fmla="*/ 52944 h 2128749"/>
              <a:gd name="connsiteX20-11087" fmla="*/ 2315086 w 2803231"/>
              <a:gd name="connsiteY20-11088" fmla="*/ 25309 h 2128749"/>
              <a:gd name="connsiteX21-11089" fmla="*/ 2259090 w 2803231"/>
              <a:gd name="connsiteY21-11090" fmla="*/ 52128 h 2128749"/>
              <a:gd name="connsiteX22-11091" fmla="*/ 2054612 w 2803231"/>
              <a:gd name="connsiteY22-11092" fmla="*/ 30301 h 2128749"/>
              <a:gd name="connsiteX23-11093" fmla="*/ 2020647 w 2803231"/>
              <a:gd name="connsiteY23-11094" fmla="*/ 12834 h 2128749"/>
              <a:gd name="connsiteX24-11095" fmla="*/ 2033346 w 2803231"/>
              <a:gd name="connsiteY24-11096" fmla="*/ 12834 h 2128749"/>
              <a:gd name="connsiteX25-11097" fmla="*/ 1709519 w 2803231"/>
              <a:gd name="connsiteY25-11098" fmla="*/ 89836 h 2128749"/>
              <a:gd name="connsiteX26-11099" fmla="*/ 1653824 w 2803231"/>
              <a:gd name="connsiteY26-11100" fmla="*/ 156992 h 2128749"/>
              <a:gd name="connsiteX27-11101" fmla="*/ 1647824 w 2803231"/>
              <a:gd name="connsiteY27-11102" fmla="*/ 427062 h 2128749"/>
              <a:gd name="connsiteX28-11103" fmla="*/ 1465085 w 2803231"/>
              <a:gd name="connsiteY28-11104" fmla="*/ 630287 h 2128749"/>
              <a:gd name="connsiteX29-11105" fmla="*/ 1230910 w 2803231"/>
              <a:gd name="connsiteY29-11106" fmla="*/ 764102 h 2128749"/>
              <a:gd name="connsiteX30-11107" fmla="*/ 1108246 w 2803231"/>
              <a:gd name="connsiteY30-11108" fmla="*/ 875614 h 2128749"/>
              <a:gd name="connsiteX31-11109" fmla="*/ 639895 w 2803231"/>
              <a:gd name="connsiteY31-11110" fmla="*/ 998277 h 2128749"/>
              <a:gd name="connsiteX32-11111" fmla="*/ 572988 w 2803231"/>
              <a:gd name="connsiteY32-11112" fmla="*/ 1054034 h 2128749"/>
              <a:gd name="connsiteX33-11113" fmla="*/ 439173 w 2803231"/>
              <a:gd name="connsiteY33-11114" fmla="*/ 1377419 h 2128749"/>
              <a:gd name="connsiteX34-11115" fmla="*/ 126939 w 2803231"/>
              <a:gd name="connsiteY34-11116" fmla="*/ 1544687 h 2128749"/>
              <a:gd name="connsiteX35-11117" fmla="*/ 104636 w 2803231"/>
              <a:gd name="connsiteY35-11118" fmla="*/ 1689653 h 2128749"/>
              <a:gd name="connsiteX36-11119" fmla="*/ 26578 w 2803231"/>
              <a:gd name="connsiteY36-11120" fmla="*/ 1801165 h 2128749"/>
              <a:gd name="connsiteX37-11121" fmla="*/ 25817 w 2803231"/>
              <a:gd name="connsiteY37-11122" fmla="*/ 1952203 h 2128749"/>
              <a:gd name="connsiteX38-11123" fmla="*/ 4275 w 2803231"/>
              <a:gd name="connsiteY38-11124" fmla="*/ 2035341 h 2128749"/>
              <a:gd name="connsiteX39-11125" fmla="*/ 0 w 2803231"/>
              <a:gd name="connsiteY39-11126" fmla="*/ 1922472 h 2128749"/>
              <a:gd name="connsiteX40-11127" fmla="*/ 15945 w 2803231"/>
              <a:gd name="connsiteY40-11128" fmla="*/ 2046928 h 2128749"/>
              <a:gd name="connsiteX0-11129" fmla="*/ 50627 w 2833918"/>
              <a:gd name="connsiteY0-11130" fmla="*/ 2043364 h 2128749"/>
              <a:gd name="connsiteX1-11131" fmla="*/ 291569 w 2833918"/>
              <a:gd name="connsiteY1-11132" fmla="*/ 2118632 h 2128749"/>
              <a:gd name="connsiteX2-11133" fmla="*/ 618090 w 2833918"/>
              <a:gd name="connsiteY2-11134" fmla="*/ 2118366 h 2128749"/>
              <a:gd name="connsiteX3-11135" fmla="*/ 971343 w 2833918"/>
              <a:gd name="connsiteY3-11136" fmla="*/ 2056335 h 2128749"/>
              <a:gd name="connsiteX4-11137" fmla="*/ 993967 w 2833918"/>
              <a:gd name="connsiteY4-11138" fmla="*/ 1622746 h 2128749"/>
              <a:gd name="connsiteX5-11139" fmla="*/ 2109089 w 2833918"/>
              <a:gd name="connsiteY5-11140" fmla="*/ 1611595 h 2128749"/>
              <a:gd name="connsiteX6-11141" fmla="*/ 2097938 w 2833918"/>
              <a:gd name="connsiteY6-11142" fmla="*/ 764102 h 2128749"/>
              <a:gd name="connsiteX7-11143" fmla="*/ 2254055 w 2833918"/>
              <a:gd name="connsiteY7-11144" fmla="*/ 663741 h 2128749"/>
              <a:gd name="connsiteX8-11145" fmla="*/ 2599743 w 2833918"/>
              <a:gd name="connsiteY8-11146" fmla="*/ 485321 h 2128749"/>
              <a:gd name="connsiteX9-11147" fmla="*/ 2833918 w 2833918"/>
              <a:gd name="connsiteY9-11148" fmla="*/ 496473 h 2128749"/>
              <a:gd name="connsiteX10-11149" fmla="*/ 2833918 w 2833918"/>
              <a:gd name="connsiteY10-11150" fmla="*/ 329204 h 2128749"/>
              <a:gd name="connsiteX11-11151" fmla="*/ 2789314 w 2833918"/>
              <a:gd name="connsiteY11-11152" fmla="*/ 251146 h 2128749"/>
              <a:gd name="connsiteX12-11153" fmla="*/ 2778162 w 2833918"/>
              <a:gd name="connsiteY12-11154" fmla="*/ 217692 h 2128749"/>
              <a:gd name="connsiteX13-11155" fmla="*/ 2722406 w 2833918"/>
              <a:gd name="connsiteY13-11156" fmla="*/ 195390 h 2128749"/>
              <a:gd name="connsiteX14-11157" fmla="*/ 2711255 w 2833918"/>
              <a:gd name="connsiteY14-11158" fmla="*/ 239995 h 2128749"/>
              <a:gd name="connsiteX15-11159" fmla="*/ 2588592 w 2833918"/>
              <a:gd name="connsiteY15-11160" fmla="*/ 206541 h 2128749"/>
              <a:gd name="connsiteX16-11161" fmla="*/ 2554547 w 2833918"/>
              <a:gd name="connsiteY16-11162" fmla="*/ 214352 h 2128749"/>
              <a:gd name="connsiteX17-11163" fmla="*/ 2470162 w 2833918"/>
              <a:gd name="connsiteY17-11164" fmla="*/ 224256 h 2128749"/>
              <a:gd name="connsiteX18-11165" fmla="*/ 2461012 w 2833918"/>
              <a:gd name="connsiteY18-11166" fmla="*/ 130308 h 2128749"/>
              <a:gd name="connsiteX19-11167" fmla="*/ 2395518 w 2833918"/>
              <a:gd name="connsiteY19-11168" fmla="*/ 52944 h 2128749"/>
              <a:gd name="connsiteX20-11169" fmla="*/ 2345773 w 2833918"/>
              <a:gd name="connsiteY20-11170" fmla="*/ 25309 h 2128749"/>
              <a:gd name="connsiteX21-11171" fmla="*/ 2289777 w 2833918"/>
              <a:gd name="connsiteY21-11172" fmla="*/ 52128 h 2128749"/>
              <a:gd name="connsiteX22-11173" fmla="*/ 2085299 w 2833918"/>
              <a:gd name="connsiteY22-11174" fmla="*/ 30301 h 2128749"/>
              <a:gd name="connsiteX23-11175" fmla="*/ 2051334 w 2833918"/>
              <a:gd name="connsiteY23-11176" fmla="*/ 12834 h 2128749"/>
              <a:gd name="connsiteX24-11177" fmla="*/ 2064033 w 2833918"/>
              <a:gd name="connsiteY24-11178" fmla="*/ 12834 h 2128749"/>
              <a:gd name="connsiteX25-11179" fmla="*/ 1740206 w 2833918"/>
              <a:gd name="connsiteY25-11180" fmla="*/ 89836 h 2128749"/>
              <a:gd name="connsiteX26-11181" fmla="*/ 1684511 w 2833918"/>
              <a:gd name="connsiteY26-11182" fmla="*/ 156992 h 2128749"/>
              <a:gd name="connsiteX27-11183" fmla="*/ 1678511 w 2833918"/>
              <a:gd name="connsiteY27-11184" fmla="*/ 427062 h 2128749"/>
              <a:gd name="connsiteX28-11185" fmla="*/ 1495772 w 2833918"/>
              <a:gd name="connsiteY28-11186" fmla="*/ 630287 h 2128749"/>
              <a:gd name="connsiteX29-11187" fmla="*/ 1261597 w 2833918"/>
              <a:gd name="connsiteY29-11188" fmla="*/ 764102 h 2128749"/>
              <a:gd name="connsiteX30-11189" fmla="*/ 1138933 w 2833918"/>
              <a:gd name="connsiteY30-11190" fmla="*/ 875614 h 2128749"/>
              <a:gd name="connsiteX31-11191" fmla="*/ 670582 w 2833918"/>
              <a:gd name="connsiteY31-11192" fmla="*/ 998277 h 2128749"/>
              <a:gd name="connsiteX32-11193" fmla="*/ 603675 w 2833918"/>
              <a:gd name="connsiteY32-11194" fmla="*/ 1054034 h 2128749"/>
              <a:gd name="connsiteX33-11195" fmla="*/ 469860 w 2833918"/>
              <a:gd name="connsiteY33-11196" fmla="*/ 1377419 h 2128749"/>
              <a:gd name="connsiteX34-11197" fmla="*/ 157626 w 2833918"/>
              <a:gd name="connsiteY34-11198" fmla="*/ 1544687 h 2128749"/>
              <a:gd name="connsiteX35-11199" fmla="*/ 135323 w 2833918"/>
              <a:gd name="connsiteY35-11200" fmla="*/ 1689653 h 2128749"/>
              <a:gd name="connsiteX36-11201" fmla="*/ 57265 w 2833918"/>
              <a:gd name="connsiteY36-11202" fmla="*/ 1801165 h 2128749"/>
              <a:gd name="connsiteX37-11203" fmla="*/ 56504 w 2833918"/>
              <a:gd name="connsiteY37-11204" fmla="*/ 1952203 h 2128749"/>
              <a:gd name="connsiteX38-11205" fmla="*/ 34962 w 2833918"/>
              <a:gd name="connsiteY38-11206" fmla="*/ 2035341 h 2128749"/>
              <a:gd name="connsiteX39-11207" fmla="*/ 30687 w 2833918"/>
              <a:gd name="connsiteY39-11208" fmla="*/ 1922472 h 2128749"/>
              <a:gd name="connsiteX40-11209" fmla="*/ 46632 w 2833918"/>
              <a:gd name="connsiteY40-11210" fmla="*/ 2046928 h 2128749"/>
              <a:gd name="connsiteX0-11211" fmla="*/ 51887 w 2835178"/>
              <a:gd name="connsiteY0-11212" fmla="*/ 2043364 h 2128749"/>
              <a:gd name="connsiteX1-11213" fmla="*/ 292829 w 2835178"/>
              <a:gd name="connsiteY1-11214" fmla="*/ 2118632 h 2128749"/>
              <a:gd name="connsiteX2-11215" fmla="*/ 619350 w 2835178"/>
              <a:gd name="connsiteY2-11216" fmla="*/ 2118366 h 2128749"/>
              <a:gd name="connsiteX3-11217" fmla="*/ 972603 w 2835178"/>
              <a:gd name="connsiteY3-11218" fmla="*/ 2056335 h 2128749"/>
              <a:gd name="connsiteX4-11219" fmla="*/ 995227 w 2835178"/>
              <a:gd name="connsiteY4-11220" fmla="*/ 1622746 h 2128749"/>
              <a:gd name="connsiteX5-11221" fmla="*/ 2110349 w 2835178"/>
              <a:gd name="connsiteY5-11222" fmla="*/ 1611595 h 2128749"/>
              <a:gd name="connsiteX6-11223" fmla="*/ 2099198 w 2835178"/>
              <a:gd name="connsiteY6-11224" fmla="*/ 764102 h 2128749"/>
              <a:gd name="connsiteX7-11225" fmla="*/ 2255315 w 2835178"/>
              <a:gd name="connsiteY7-11226" fmla="*/ 663741 h 2128749"/>
              <a:gd name="connsiteX8-11227" fmla="*/ 2601003 w 2835178"/>
              <a:gd name="connsiteY8-11228" fmla="*/ 485321 h 2128749"/>
              <a:gd name="connsiteX9-11229" fmla="*/ 2835178 w 2835178"/>
              <a:gd name="connsiteY9-11230" fmla="*/ 496473 h 2128749"/>
              <a:gd name="connsiteX10-11231" fmla="*/ 2835178 w 2835178"/>
              <a:gd name="connsiteY10-11232" fmla="*/ 329204 h 2128749"/>
              <a:gd name="connsiteX11-11233" fmla="*/ 2790574 w 2835178"/>
              <a:gd name="connsiteY11-11234" fmla="*/ 251146 h 2128749"/>
              <a:gd name="connsiteX12-11235" fmla="*/ 2779422 w 2835178"/>
              <a:gd name="connsiteY12-11236" fmla="*/ 217692 h 2128749"/>
              <a:gd name="connsiteX13-11237" fmla="*/ 2723666 w 2835178"/>
              <a:gd name="connsiteY13-11238" fmla="*/ 195390 h 2128749"/>
              <a:gd name="connsiteX14-11239" fmla="*/ 2712515 w 2835178"/>
              <a:gd name="connsiteY14-11240" fmla="*/ 239995 h 2128749"/>
              <a:gd name="connsiteX15-11241" fmla="*/ 2589852 w 2835178"/>
              <a:gd name="connsiteY15-11242" fmla="*/ 206541 h 2128749"/>
              <a:gd name="connsiteX16-11243" fmla="*/ 2555807 w 2835178"/>
              <a:gd name="connsiteY16-11244" fmla="*/ 214352 h 2128749"/>
              <a:gd name="connsiteX17-11245" fmla="*/ 2471422 w 2835178"/>
              <a:gd name="connsiteY17-11246" fmla="*/ 224256 h 2128749"/>
              <a:gd name="connsiteX18-11247" fmla="*/ 2462272 w 2835178"/>
              <a:gd name="connsiteY18-11248" fmla="*/ 130308 h 2128749"/>
              <a:gd name="connsiteX19-11249" fmla="*/ 2396778 w 2835178"/>
              <a:gd name="connsiteY19-11250" fmla="*/ 52944 h 2128749"/>
              <a:gd name="connsiteX20-11251" fmla="*/ 2347033 w 2835178"/>
              <a:gd name="connsiteY20-11252" fmla="*/ 25309 h 2128749"/>
              <a:gd name="connsiteX21-11253" fmla="*/ 2291037 w 2835178"/>
              <a:gd name="connsiteY21-11254" fmla="*/ 52128 h 2128749"/>
              <a:gd name="connsiteX22-11255" fmla="*/ 2086559 w 2835178"/>
              <a:gd name="connsiteY22-11256" fmla="*/ 30301 h 2128749"/>
              <a:gd name="connsiteX23-11257" fmla="*/ 2052594 w 2835178"/>
              <a:gd name="connsiteY23-11258" fmla="*/ 12834 h 2128749"/>
              <a:gd name="connsiteX24-11259" fmla="*/ 2065293 w 2835178"/>
              <a:gd name="connsiteY24-11260" fmla="*/ 12834 h 2128749"/>
              <a:gd name="connsiteX25-11261" fmla="*/ 1741466 w 2835178"/>
              <a:gd name="connsiteY25-11262" fmla="*/ 89836 h 2128749"/>
              <a:gd name="connsiteX26-11263" fmla="*/ 1685771 w 2835178"/>
              <a:gd name="connsiteY26-11264" fmla="*/ 156992 h 2128749"/>
              <a:gd name="connsiteX27-11265" fmla="*/ 1679771 w 2835178"/>
              <a:gd name="connsiteY27-11266" fmla="*/ 427062 h 2128749"/>
              <a:gd name="connsiteX28-11267" fmla="*/ 1497032 w 2835178"/>
              <a:gd name="connsiteY28-11268" fmla="*/ 630287 h 2128749"/>
              <a:gd name="connsiteX29-11269" fmla="*/ 1262857 w 2835178"/>
              <a:gd name="connsiteY29-11270" fmla="*/ 764102 h 2128749"/>
              <a:gd name="connsiteX30-11271" fmla="*/ 1140193 w 2835178"/>
              <a:gd name="connsiteY30-11272" fmla="*/ 875614 h 2128749"/>
              <a:gd name="connsiteX31-11273" fmla="*/ 671842 w 2835178"/>
              <a:gd name="connsiteY31-11274" fmla="*/ 998277 h 2128749"/>
              <a:gd name="connsiteX32-11275" fmla="*/ 604935 w 2835178"/>
              <a:gd name="connsiteY32-11276" fmla="*/ 1054034 h 2128749"/>
              <a:gd name="connsiteX33-11277" fmla="*/ 471120 w 2835178"/>
              <a:gd name="connsiteY33-11278" fmla="*/ 1377419 h 2128749"/>
              <a:gd name="connsiteX34-11279" fmla="*/ 158886 w 2835178"/>
              <a:gd name="connsiteY34-11280" fmla="*/ 1544687 h 2128749"/>
              <a:gd name="connsiteX35-11281" fmla="*/ 136583 w 2835178"/>
              <a:gd name="connsiteY35-11282" fmla="*/ 1689653 h 2128749"/>
              <a:gd name="connsiteX36-11283" fmla="*/ 58525 w 2835178"/>
              <a:gd name="connsiteY36-11284" fmla="*/ 1801165 h 2128749"/>
              <a:gd name="connsiteX37-11285" fmla="*/ 57764 w 2835178"/>
              <a:gd name="connsiteY37-11286" fmla="*/ 1952203 h 2128749"/>
              <a:gd name="connsiteX38-11287" fmla="*/ 36222 w 2835178"/>
              <a:gd name="connsiteY38-11288" fmla="*/ 2035341 h 2128749"/>
              <a:gd name="connsiteX39-11289" fmla="*/ 31947 w 2835178"/>
              <a:gd name="connsiteY39-11290" fmla="*/ 1922472 h 2128749"/>
              <a:gd name="connsiteX40-11291" fmla="*/ 47892 w 2835178"/>
              <a:gd name="connsiteY40-11292" fmla="*/ 2046928 h 2128749"/>
              <a:gd name="connsiteX0-11293" fmla="*/ 51887 w 2835178"/>
              <a:gd name="connsiteY0-11294" fmla="*/ 2043364 h 2128749"/>
              <a:gd name="connsiteX1-11295" fmla="*/ 292829 w 2835178"/>
              <a:gd name="connsiteY1-11296" fmla="*/ 2118632 h 2128749"/>
              <a:gd name="connsiteX2-11297" fmla="*/ 619350 w 2835178"/>
              <a:gd name="connsiteY2-11298" fmla="*/ 2118366 h 2128749"/>
              <a:gd name="connsiteX3-11299" fmla="*/ 972603 w 2835178"/>
              <a:gd name="connsiteY3-11300" fmla="*/ 2056335 h 2128749"/>
              <a:gd name="connsiteX4-11301" fmla="*/ 995227 w 2835178"/>
              <a:gd name="connsiteY4-11302" fmla="*/ 1622746 h 2128749"/>
              <a:gd name="connsiteX5-11303" fmla="*/ 2110349 w 2835178"/>
              <a:gd name="connsiteY5-11304" fmla="*/ 1611595 h 2128749"/>
              <a:gd name="connsiteX6-11305" fmla="*/ 2099198 w 2835178"/>
              <a:gd name="connsiteY6-11306" fmla="*/ 764102 h 2128749"/>
              <a:gd name="connsiteX7-11307" fmla="*/ 2255315 w 2835178"/>
              <a:gd name="connsiteY7-11308" fmla="*/ 663741 h 2128749"/>
              <a:gd name="connsiteX8-11309" fmla="*/ 2601003 w 2835178"/>
              <a:gd name="connsiteY8-11310" fmla="*/ 485321 h 2128749"/>
              <a:gd name="connsiteX9-11311" fmla="*/ 2835178 w 2835178"/>
              <a:gd name="connsiteY9-11312" fmla="*/ 496473 h 2128749"/>
              <a:gd name="connsiteX10-11313" fmla="*/ 2835178 w 2835178"/>
              <a:gd name="connsiteY10-11314" fmla="*/ 329204 h 2128749"/>
              <a:gd name="connsiteX11-11315" fmla="*/ 2790574 w 2835178"/>
              <a:gd name="connsiteY11-11316" fmla="*/ 251146 h 2128749"/>
              <a:gd name="connsiteX12-11317" fmla="*/ 2779422 w 2835178"/>
              <a:gd name="connsiteY12-11318" fmla="*/ 217692 h 2128749"/>
              <a:gd name="connsiteX13-11319" fmla="*/ 2723666 w 2835178"/>
              <a:gd name="connsiteY13-11320" fmla="*/ 195390 h 2128749"/>
              <a:gd name="connsiteX14-11321" fmla="*/ 2712515 w 2835178"/>
              <a:gd name="connsiteY14-11322" fmla="*/ 239995 h 2128749"/>
              <a:gd name="connsiteX15-11323" fmla="*/ 2589852 w 2835178"/>
              <a:gd name="connsiteY15-11324" fmla="*/ 206541 h 2128749"/>
              <a:gd name="connsiteX16-11325" fmla="*/ 2555807 w 2835178"/>
              <a:gd name="connsiteY16-11326" fmla="*/ 214352 h 2128749"/>
              <a:gd name="connsiteX17-11327" fmla="*/ 2471422 w 2835178"/>
              <a:gd name="connsiteY17-11328" fmla="*/ 224256 h 2128749"/>
              <a:gd name="connsiteX18-11329" fmla="*/ 2462272 w 2835178"/>
              <a:gd name="connsiteY18-11330" fmla="*/ 130308 h 2128749"/>
              <a:gd name="connsiteX19-11331" fmla="*/ 2396778 w 2835178"/>
              <a:gd name="connsiteY19-11332" fmla="*/ 52944 h 2128749"/>
              <a:gd name="connsiteX20-11333" fmla="*/ 2347033 w 2835178"/>
              <a:gd name="connsiteY20-11334" fmla="*/ 25309 h 2128749"/>
              <a:gd name="connsiteX21-11335" fmla="*/ 2291037 w 2835178"/>
              <a:gd name="connsiteY21-11336" fmla="*/ 52128 h 2128749"/>
              <a:gd name="connsiteX22-11337" fmla="*/ 2086559 w 2835178"/>
              <a:gd name="connsiteY22-11338" fmla="*/ 30301 h 2128749"/>
              <a:gd name="connsiteX23-11339" fmla="*/ 2052594 w 2835178"/>
              <a:gd name="connsiteY23-11340" fmla="*/ 12834 h 2128749"/>
              <a:gd name="connsiteX24-11341" fmla="*/ 2065293 w 2835178"/>
              <a:gd name="connsiteY24-11342" fmla="*/ 12834 h 2128749"/>
              <a:gd name="connsiteX25-11343" fmla="*/ 1741466 w 2835178"/>
              <a:gd name="connsiteY25-11344" fmla="*/ 89836 h 2128749"/>
              <a:gd name="connsiteX26-11345" fmla="*/ 1685771 w 2835178"/>
              <a:gd name="connsiteY26-11346" fmla="*/ 156992 h 2128749"/>
              <a:gd name="connsiteX27-11347" fmla="*/ 1679771 w 2835178"/>
              <a:gd name="connsiteY27-11348" fmla="*/ 427062 h 2128749"/>
              <a:gd name="connsiteX28-11349" fmla="*/ 1497032 w 2835178"/>
              <a:gd name="connsiteY28-11350" fmla="*/ 630287 h 2128749"/>
              <a:gd name="connsiteX29-11351" fmla="*/ 1262857 w 2835178"/>
              <a:gd name="connsiteY29-11352" fmla="*/ 764102 h 2128749"/>
              <a:gd name="connsiteX30-11353" fmla="*/ 1140193 w 2835178"/>
              <a:gd name="connsiteY30-11354" fmla="*/ 875614 h 2128749"/>
              <a:gd name="connsiteX31-11355" fmla="*/ 671842 w 2835178"/>
              <a:gd name="connsiteY31-11356" fmla="*/ 998277 h 2128749"/>
              <a:gd name="connsiteX32-11357" fmla="*/ 604935 w 2835178"/>
              <a:gd name="connsiteY32-11358" fmla="*/ 1054034 h 2128749"/>
              <a:gd name="connsiteX33-11359" fmla="*/ 471120 w 2835178"/>
              <a:gd name="connsiteY33-11360" fmla="*/ 1377419 h 2128749"/>
              <a:gd name="connsiteX34-11361" fmla="*/ 158886 w 2835178"/>
              <a:gd name="connsiteY34-11362" fmla="*/ 1544687 h 2128749"/>
              <a:gd name="connsiteX35-11363" fmla="*/ 136583 w 2835178"/>
              <a:gd name="connsiteY35-11364" fmla="*/ 1689653 h 2128749"/>
              <a:gd name="connsiteX36-11365" fmla="*/ 58525 w 2835178"/>
              <a:gd name="connsiteY36-11366" fmla="*/ 1801165 h 2128749"/>
              <a:gd name="connsiteX37-11367" fmla="*/ 57764 w 2835178"/>
              <a:gd name="connsiteY37-11368" fmla="*/ 1952203 h 2128749"/>
              <a:gd name="connsiteX38-11369" fmla="*/ 36222 w 2835178"/>
              <a:gd name="connsiteY38-11370" fmla="*/ 2035341 h 2128749"/>
              <a:gd name="connsiteX39-11371" fmla="*/ 31947 w 2835178"/>
              <a:gd name="connsiteY39-11372" fmla="*/ 1922472 h 2128749"/>
              <a:gd name="connsiteX40-11373" fmla="*/ 47892 w 2835178"/>
              <a:gd name="connsiteY40-11374" fmla="*/ 2046928 h 2128749"/>
              <a:gd name="connsiteX0-11375" fmla="*/ 92953 w 2876244"/>
              <a:gd name="connsiteY0-11376" fmla="*/ 2043364 h 2128749"/>
              <a:gd name="connsiteX1-11377" fmla="*/ 333895 w 2876244"/>
              <a:gd name="connsiteY1-11378" fmla="*/ 2118632 h 2128749"/>
              <a:gd name="connsiteX2-11379" fmla="*/ 660416 w 2876244"/>
              <a:gd name="connsiteY2-11380" fmla="*/ 2118366 h 2128749"/>
              <a:gd name="connsiteX3-11381" fmla="*/ 1013669 w 2876244"/>
              <a:gd name="connsiteY3-11382" fmla="*/ 2056335 h 2128749"/>
              <a:gd name="connsiteX4-11383" fmla="*/ 1036293 w 2876244"/>
              <a:gd name="connsiteY4-11384" fmla="*/ 1622746 h 2128749"/>
              <a:gd name="connsiteX5-11385" fmla="*/ 2151415 w 2876244"/>
              <a:gd name="connsiteY5-11386" fmla="*/ 1611595 h 2128749"/>
              <a:gd name="connsiteX6-11387" fmla="*/ 2140264 w 2876244"/>
              <a:gd name="connsiteY6-11388" fmla="*/ 764102 h 2128749"/>
              <a:gd name="connsiteX7-11389" fmla="*/ 2296381 w 2876244"/>
              <a:gd name="connsiteY7-11390" fmla="*/ 663741 h 2128749"/>
              <a:gd name="connsiteX8-11391" fmla="*/ 2642069 w 2876244"/>
              <a:gd name="connsiteY8-11392" fmla="*/ 485321 h 2128749"/>
              <a:gd name="connsiteX9-11393" fmla="*/ 2876244 w 2876244"/>
              <a:gd name="connsiteY9-11394" fmla="*/ 496473 h 2128749"/>
              <a:gd name="connsiteX10-11395" fmla="*/ 2876244 w 2876244"/>
              <a:gd name="connsiteY10-11396" fmla="*/ 329204 h 2128749"/>
              <a:gd name="connsiteX11-11397" fmla="*/ 2831640 w 2876244"/>
              <a:gd name="connsiteY11-11398" fmla="*/ 251146 h 2128749"/>
              <a:gd name="connsiteX12-11399" fmla="*/ 2820488 w 2876244"/>
              <a:gd name="connsiteY12-11400" fmla="*/ 217692 h 2128749"/>
              <a:gd name="connsiteX13-11401" fmla="*/ 2764732 w 2876244"/>
              <a:gd name="connsiteY13-11402" fmla="*/ 195390 h 2128749"/>
              <a:gd name="connsiteX14-11403" fmla="*/ 2753581 w 2876244"/>
              <a:gd name="connsiteY14-11404" fmla="*/ 239995 h 2128749"/>
              <a:gd name="connsiteX15-11405" fmla="*/ 2630918 w 2876244"/>
              <a:gd name="connsiteY15-11406" fmla="*/ 206541 h 2128749"/>
              <a:gd name="connsiteX16-11407" fmla="*/ 2596873 w 2876244"/>
              <a:gd name="connsiteY16-11408" fmla="*/ 214352 h 2128749"/>
              <a:gd name="connsiteX17-11409" fmla="*/ 2512488 w 2876244"/>
              <a:gd name="connsiteY17-11410" fmla="*/ 224256 h 2128749"/>
              <a:gd name="connsiteX18-11411" fmla="*/ 2503338 w 2876244"/>
              <a:gd name="connsiteY18-11412" fmla="*/ 130308 h 2128749"/>
              <a:gd name="connsiteX19-11413" fmla="*/ 2437844 w 2876244"/>
              <a:gd name="connsiteY19-11414" fmla="*/ 52944 h 2128749"/>
              <a:gd name="connsiteX20-11415" fmla="*/ 2388099 w 2876244"/>
              <a:gd name="connsiteY20-11416" fmla="*/ 25309 h 2128749"/>
              <a:gd name="connsiteX21-11417" fmla="*/ 2332103 w 2876244"/>
              <a:gd name="connsiteY21-11418" fmla="*/ 52128 h 2128749"/>
              <a:gd name="connsiteX22-11419" fmla="*/ 2127625 w 2876244"/>
              <a:gd name="connsiteY22-11420" fmla="*/ 30301 h 2128749"/>
              <a:gd name="connsiteX23-11421" fmla="*/ 2093660 w 2876244"/>
              <a:gd name="connsiteY23-11422" fmla="*/ 12834 h 2128749"/>
              <a:gd name="connsiteX24-11423" fmla="*/ 2106359 w 2876244"/>
              <a:gd name="connsiteY24-11424" fmla="*/ 12834 h 2128749"/>
              <a:gd name="connsiteX25-11425" fmla="*/ 1782532 w 2876244"/>
              <a:gd name="connsiteY25-11426" fmla="*/ 89836 h 2128749"/>
              <a:gd name="connsiteX26-11427" fmla="*/ 1726837 w 2876244"/>
              <a:gd name="connsiteY26-11428" fmla="*/ 156992 h 2128749"/>
              <a:gd name="connsiteX27-11429" fmla="*/ 1720837 w 2876244"/>
              <a:gd name="connsiteY27-11430" fmla="*/ 427062 h 2128749"/>
              <a:gd name="connsiteX28-11431" fmla="*/ 1538098 w 2876244"/>
              <a:gd name="connsiteY28-11432" fmla="*/ 630287 h 2128749"/>
              <a:gd name="connsiteX29-11433" fmla="*/ 1303923 w 2876244"/>
              <a:gd name="connsiteY29-11434" fmla="*/ 764102 h 2128749"/>
              <a:gd name="connsiteX30-11435" fmla="*/ 1181259 w 2876244"/>
              <a:gd name="connsiteY30-11436" fmla="*/ 875614 h 2128749"/>
              <a:gd name="connsiteX31-11437" fmla="*/ 712908 w 2876244"/>
              <a:gd name="connsiteY31-11438" fmla="*/ 998277 h 2128749"/>
              <a:gd name="connsiteX32-11439" fmla="*/ 646001 w 2876244"/>
              <a:gd name="connsiteY32-11440" fmla="*/ 1054034 h 2128749"/>
              <a:gd name="connsiteX33-11441" fmla="*/ 512186 w 2876244"/>
              <a:gd name="connsiteY33-11442" fmla="*/ 1377419 h 2128749"/>
              <a:gd name="connsiteX34-11443" fmla="*/ 199952 w 2876244"/>
              <a:gd name="connsiteY34-11444" fmla="*/ 1544687 h 2128749"/>
              <a:gd name="connsiteX35-11445" fmla="*/ 177649 w 2876244"/>
              <a:gd name="connsiteY35-11446" fmla="*/ 1689653 h 2128749"/>
              <a:gd name="connsiteX36-11447" fmla="*/ 99591 w 2876244"/>
              <a:gd name="connsiteY36-11448" fmla="*/ 1801165 h 2128749"/>
              <a:gd name="connsiteX37-11449" fmla="*/ 98830 w 2876244"/>
              <a:gd name="connsiteY37-11450" fmla="*/ 1952203 h 2128749"/>
              <a:gd name="connsiteX38-11451" fmla="*/ 77288 w 2876244"/>
              <a:gd name="connsiteY38-11452" fmla="*/ 2035341 h 2128749"/>
              <a:gd name="connsiteX39-11453" fmla="*/ 73013 w 2876244"/>
              <a:gd name="connsiteY39-11454" fmla="*/ 1922472 h 2128749"/>
              <a:gd name="connsiteX40-11455" fmla="*/ 2657 w 2876244"/>
              <a:gd name="connsiteY40-11456" fmla="*/ 1939099 h 2128749"/>
              <a:gd name="connsiteX41-11457" fmla="*/ 88958 w 2876244"/>
              <a:gd name="connsiteY41-11458" fmla="*/ 2046928 h 2128749"/>
              <a:gd name="connsiteX0-11459" fmla="*/ 90296 w 2873587"/>
              <a:gd name="connsiteY0-11460" fmla="*/ 2043364 h 2128749"/>
              <a:gd name="connsiteX1-11461" fmla="*/ 331238 w 2873587"/>
              <a:gd name="connsiteY1-11462" fmla="*/ 2118632 h 2128749"/>
              <a:gd name="connsiteX2-11463" fmla="*/ 657759 w 2873587"/>
              <a:gd name="connsiteY2-11464" fmla="*/ 2118366 h 2128749"/>
              <a:gd name="connsiteX3-11465" fmla="*/ 1011012 w 2873587"/>
              <a:gd name="connsiteY3-11466" fmla="*/ 2056335 h 2128749"/>
              <a:gd name="connsiteX4-11467" fmla="*/ 1033636 w 2873587"/>
              <a:gd name="connsiteY4-11468" fmla="*/ 1622746 h 2128749"/>
              <a:gd name="connsiteX5-11469" fmla="*/ 2148758 w 2873587"/>
              <a:gd name="connsiteY5-11470" fmla="*/ 1611595 h 2128749"/>
              <a:gd name="connsiteX6-11471" fmla="*/ 2137607 w 2873587"/>
              <a:gd name="connsiteY6-11472" fmla="*/ 764102 h 2128749"/>
              <a:gd name="connsiteX7-11473" fmla="*/ 2293724 w 2873587"/>
              <a:gd name="connsiteY7-11474" fmla="*/ 663741 h 2128749"/>
              <a:gd name="connsiteX8-11475" fmla="*/ 2639412 w 2873587"/>
              <a:gd name="connsiteY8-11476" fmla="*/ 485321 h 2128749"/>
              <a:gd name="connsiteX9-11477" fmla="*/ 2873587 w 2873587"/>
              <a:gd name="connsiteY9-11478" fmla="*/ 496473 h 2128749"/>
              <a:gd name="connsiteX10-11479" fmla="*/ 2873587 w 2873587"/>
              <a:gd name="connsiteY10-11480" fmla="*/ 329204 h 2128749"/>
              <a:gd name="connsiteX11-11481" fmla="*/ 2828983 w 2873587"/>
              <a:gd name="connsiteY11-11482" fmla="*/ 251146 h 2128749"/>
              <a:gd name="connsiteX12-11483" fmla="*/ 2817831 w 2873587"/>
              <a:gd name="connsiteY12-11484" fmla="*/ 217692 h 2128749"/>
              <a:gd name="connsiteX13-11485" fmla="*/ 2762075 w 2873587"/>
              <a:gd name="connsiteY13-11486" fmla="*/ 195390 h 2128749"/>
              <a:gd name="connsiteX14-11487" fmla="*/ 2750924 w 2873587"/>
              <a:gd name="connsiteY14-11488" fmla="*/ 239995 h 2128749"/>
              <a:gd name="connsiteX15-11489" fmla="*/ 2628261 w 2873587"/>
              <a:gd name="connsiteY15-11490" fmla="*/ 206541 h 2128749"/>
              <a:gd name="connsiteX16-11491" fmla="*/ 2594216 w 2873587"/>
              <a:gd name="connsiteY16-11492" fmla="*/ 214352 h 2128749"/>
              <a:gd name="connsiteX17-11493" fmla="*/ 2509831 w 2873587"/>
              <a:gd name="connsiteY17-11494" fmla="*/ 224256 h 2128749"/>
              <a:gd name="connsiteX18-11495" fmla="*/ 2500681 w 2873587"/>
              <a:gd name="connsiteY18-11496" fmla="*/ 130308 h 2128749"/>
              <a:gd name="connsiteX19-11497" fmla="*/ 2435187 w 2873587"/>
              <a:gd name="connsiteY19-11498" fmla="*/ 52944 h 2128749"/>
              <a:gd name="connsiteX20-11499" fmla="*/ 2385442 w 2873587"/>
              <a:gd name="connsiteY20-11500" fmla="*/ 25309 h 2128749"/>
              <a:gd name="connsiteX21-11501" fmla="*/ 2329446 w 2873587"/>
              <a:gd name="connsiteY21-11502" fmla="*/ 52128 h 2128749"/>
              <a:gd name="connsiteX22-11503" fmla="*/ 2124968 w 2873587"/>
              <a:gd name="connsiteY22-11504" fmla="*/ 30301 h 2128749"/>
              <a:gd name="connsiteX23-11505" fmla="*/ 2091003 w 2873587"/>
              <a:gd name="connsiteY23-11506" fmla="*/ 12834 h 2128749"/>
              <a:gd name="connsiteX24-11507" fmla="*/ 2103702 w 2873587"/>
              <a:gd name="connsiteY24-11508" fmla="*/ 12834 h 2128749"/>
              <a:gd name="connsiteX25-11509" fmla="*/ 1779875 w 2873587"/>
              <a:gd name="connsiteY25-11510" fmla="*/ 89836 h 2128749"/>
              <a:gd name="connsiteX26-11511" fmla="*/ 1724180 w 2873587"/>
              <a:gd name="connsiteY26-11512" fmla="*/ 156992 h 2128749"/>
              <a:gd name="connsiteX27-11513" fmla="*/ 1718180 w 2873587"/>
              <a:gd name="connsiteY27-11514" fmla="*/ 427062 h 2128749"/>
              <a:gd name="connsiteX28-11515" fmla="*/ 1535441 w 2873587"/>
              <a:gd name="connsiteY28-11516" fmla="*/ 630287 h 2128749"/>
              <a:gd name="connsiteX29-11517" fmla="*/ 1301266 w 2873587"/>
              <a:gd name="connsiteY29-11518" fmla="*/ 764102 h 2128749"/>
              <a:gd name="connsiteX30-11519" fmla="*/ 1178602 w 2873587"/>
              <a:gd name="connsiteY30-11520" fmla="*/ 875614 h 2128749"/>
              <a:gd name="connsiteX31-11521" fmla="*/ 710251 w 2873587"/>
              <a:gd name="connsiteY31-11522" fmla="*/ 998277 h 2128749"/>
              <a:gd name="connsiteX32-11523" fmla="*/ 643344 w 2873587"/>
              <a:gd name="connsiteY32-11524" fmla="*/ 1054034 h 2128749"/>
              <a:gd name="connsiteX33-11525" fmla="*/ 509529 w 2873587"/>
              <a:gd name="connsiteY33-11526" fmla="*/ 1377419 h 2128749"/>
              <a:gd name="connsiteX34-11527" fmla="*/ 197295 w 2873587"/>
              <a:gd name="connsiteY34-11528" fmla="*/ 1544687 h 2128749"/>
              <a:gd name="connsiteX35-11529" fmla="*/ 174992 w 2873587"/>
              <a:gd name="connsiteY35-11530" fmla="*/ 1689653 h 2128749"/>
              <a:gd name="connsiteX36-11531" fmla="*/ 96934 w 2873587"/>
              <a:gd name="connsiteY36-11532" fmla="*/ 1801165 h 2128749"/>
              <a:gd name="connsiteX37-11533" fmla="*/ 96173 w 2873587"/>
              <a:gd name="connsiteY37-11534" fmla="*/ 1952203 h 2128749"/>
              <a:gd name="connsiteX38-11535" fmla="*/ 74631 w 2873587"/>
              <a:gd name="connsiteY38-11536" fmla="*/ 2035341 h 2128749"/>
              <a:gd name="connsiteX39-11537" fmla="*/ 0 w 2873587"/>
              <a:gd name="connsiteY39-11538" fmla="*/ 1939099 h 2128749"/>
              <a:gd name="connsiteX40-11539" fmla="*/ 86301 w 2873587"/>
              <a:gd name="connsiteY40-11540" fmla="*/ 2046928 h 2128749"/>
              <a:gd name="connsiteX0-11541" fmla="*/ 90296 w 2873587"/>
              <a:gd name="connsiteY0-11542" fmla="*/ 2043364 h 2128749"/>
              <a:gd name="connsiteX1-11543" fmla="*/ 331238 w 2873587"/>
              <a:gd name="connsiteY1-11544" fmla="*/ 2118632 h 2128749"/>
              <a:gd name="connsiteX2-11545" fmla="*/ 657759 w 2873587"/>
              <a:gd name="connsiteY2-11546" fmla="*/ 2118366 h 2128749"/>
              <a:gd name="connsiteX3-11547" fmla="*/ 1011012 w 2873587"/>
              <a:gd name="connsiteY3-11548" fmla="*/ 2056335 h 2128749"/>
              <a:gd name="connsiteX4-11549" fmla="*/ 1033636 w 2873587"/>
              <a:gd name="connsiteY4-11550" fmla="*/ 1622746 h 2128749"/>
              <a:gd name="connsiteX5-11551" fmla="*/ 2148758 w 2873587"/>
              <a:gd name="connsiteY5-11552" fmla="*/ 1611595 h 2128749"/>
              <a:gd name="connsiteX6-11553" fmla="*/ 2137607 w 2873587"/>
              <a:gd name="connsiteY6-11554" fmla="*/ 764102 h 2128749"/>
              <a:gd name="connsiteX7-11555" fmla="*/ 2293724 w 2873587"/>
              <a:gd name="connsiteY7-11556" fmla="*/ 663741 h 2128749"/>
              <a:gd name="connsiteX8-11557" fmla="*/ 2639412 w 2873587"/>
              <a:gd name="connsiteY8-11558" fmla="*/ 485321 h 2128749"/>
              <a:gd name="connsiteX9-11559" fmla="*/ 2873587 w 2873587"/>
              <a:gd name="connsiteY9-11560" fmla="*/ 496473 h 2128749"/>
              <a:gd name="connsiteX10-11561" fmla="*/ 2873587 w 2873587"/>
              <a:gd name="connsiteY10-11562" fmla="*/ 329204 h 2128749"/>
              <a:gd name="connsiteX11-11563" fmla="*/ 2828983 w 2873587"/>
              <a:gd name="connsiteY11-11564" fmla="*/ 251146 h 2128749"/>
              <a:gd name="connsiteX12-11565" fmla="*/ 2817831 w 2873587"/>
              <a:gd name="connsiteY12-11566" fmla="*/ 217692 h 2128749"/>
              <a:gd name="connsiteX13-11567" fmla="*/ 2762075 w 2873587"/>
              <a:gd name="connsiteY13-11568" fmla="*/ 195390 h 2128749"/>
              <a:gd name="connsiteX14-11569" fmla="*/ 2750924 w 2873587"/>
              <a:gd name="connsiteY14-11570" fmla="*/ 239995 h 2128749"/>
              <a:gd name="connsiteX15-11571" fmla="*/ 2628261 w 2873587"/>
              <a:gd name="connsiteY15-11572" fmla="*/ 206541 h 2128749"/>
              <a:gd name="connsiteX16-11573" fmla="*/ 2594216 w 2873587"/>
              <a:gd name="connsiteY16-11574" fmla="*/ 214352 h 2128749"/>
              <a:gd name="connsiteX17-11575" fmla="*/ 2509831 w 2873587"/>
              <a:gd name="connsiteY17-11576" fmla="*/ 224256 h 2128749"/>
              <a:gd name="connsiteX18-11577" fmla="*/ 2500681 w 2873587"/>
              <a:gd name="connsiteY18-11578" fmla="*/ 130308 h 2128749"/>
              <a:gd name="connsiteX19-11579" fmla="*/ 2435187 w 2873587"/>
              <a:gd name="connsiteY19-11580" fmla="*/ 52944 h 2128749"/>
              <a:gd name="connsiteX20-11581" fmla="*/ 2385442 w 2873587"/>
              <a:gd name="connsiteY20-11582" fmla="*/ 25309 h 2128749"/>
              <a:gd name="connsiteX21-11583" fmla="*/ 2329446 w 2873587"/>
              <a:gd name="connsiteY21-11584" fmla="*/ 52128 h 2128749"/>
              <a:gd name="connsiteX22-11585" fmla="*/ 2124968 w 2873587"/>
              <a:gd name="connsiteY22-11586" fmla="*/ 30301 h 2128749"/>
              <a:gd name="connsiteX23-11587" fmla="*/ 2091003 w 2873587"/>
              <a:gd name="connsiteY23-11588" fmla="*/ 12834 h 2128749"/>
              <a:gd name="connsiteX24-11589" fmla="*/ 2103702 w 2873587"/>
              <a:gd name="connsiteY24-11590" fmla="*/ 12834 h 2128749"/>
              <a:gd name="connsiteX25-11591" fmla="*/ 1779875 w 2873587"/>
              <a:gd name="connsiteY25-11592" fmla="*/ 89836 h 2128749"/>
              <a:gd name="connsiteX26-11593" fmla="*/ 1724180 w 2873587"/>
              <a:gd name="connsiteY26-11594" fmla="*/ 156992 h 2128749"/>
              <a:gd name="connsiteX27-11595" fmla="*/ 1718180 w 2873587"/>
              <a:gd name="connsiteY27-11596" fmla="*/ 427062 h 2128749"/>
              <a:gd name="connsiteX28-11597" fmla="*/ 1535441 w 2873587"/>
              <a:gd name="connsiteY28-11598" fmla="*/ 630287 h 2128749"/>
              <a:gd name="connsiteX29-11599" fmla="*/ 1301266 w 2873587"/>
              <a:gd name="connsiteY29-11600" fmla="*/ 764102 h 2128749"/>
              <a:gd name="connsiteX30-11601" fmla="*/ 1178602 w 2873587"/>
              <a:gd name="connsiteY30-11602" fmla="*/ 875614 h 2128749"/>
              <a:gd name="connsiteX31-11603" fmla="*/ 710251 w 2873587"/>
              <a:gd name="connsiteY31-11604" fmla="*/ 998277 h 2128749"/>
              <a:gd name="connsiteX32-11605" fmla="*/ 643344 w 2873587"/>
              <a:gd name="connsiteY32-11606" fmla="*/ 1054034 h 2128749"/>
              <a:gd name="connsiteX33-11607" fmla="*/ 509529 w 2873587"/>
              <a:gd name="connsiteY33-11608" fmla="*/ 1377419 h 2128749"/>
              <a:gd name="connsiteX34-11609" fmla="*/ 197295 w 2873587"/>
              <a:gd name="connsiteY34-11610" fmla="*/ 1544687 h 2128749"/>
              <a:gd name="connsiteX35-11611" fmla="*/ 174992 w 2873587"/>
              <a:gd name="connsiteY35-11612" fmla="*/ 1689653 h 2128749"/>
              <a:gd name="connsiteX36-11613" fmla="*/ 96934 w 2873587"/>
              <a:gd name="connsiteY36-11614" fmla="*/ 1801165 h 2128749"/>
              <a:gd name="connsiteX37-11615" fmla="*/ 96173 w 2873587"/>
              <a:gd name="connsiteY37-11616" fmla="*/ 1952203 h 2128749"/>
              <a:gd name="connsiteX38-11617" fmla="*/ 6177 w 2873587"/>
              <a:gd name="connsiteY38-11618" fmla="*/ 1880004 h 2128749"/>
              <a:gd name="connsiteX39-11619" fmla="*/ 74631 w 2873587"/>
              <a:gd name="connsiteY39-11620" fmla="*/ 2035341 h 2128749"/>
              <a:gd name="connsiteX40-11621" fmla="*/ 0 w 2873587"/>
              <a:gd name="connsiteY40-11622" fmla="*/ 1939099 h 2128749"/>
              <a:gd name="connsiteX41-11623" fmla="*/ 86301 w 2873587"/>
              <a:gd name="connsiteY41-11624" fmla="*/ 2046928 h 2128749"/>
              <a:gd name="connsiteX0-11625" fmla="*/ 90296 w 2873587"/>
              <a:gd name="connsiteY0-11626" fmla="*/ 2043364 h 2128749"/>
              <a:gd name="connsiteX1-11627" fmla="*/ 331238 w 2873587"/>
              <a:gd name="connsiteY1-11628" fmla="*/ 2118632 h 2128749"/>
              <a:gd name="connsiteX2-11629" fmla="*/ 657759 w 2873587"/>
              <a:gd name="connsiteY2-11630" fmla="*/ 2118366 h 2128749"/>
              <a:gd name="connsiteX3-11631" fmla="*/ 1011012 w 2873587"/>
              <a:gd name="connsiteY3-11632" fmla="*/ 2056335 h 2128749"/>
              <a:gd name="connsiteX4-11633" fmla="*/ 1033636 w 2873587"/>
              <a:gd name="connsiteY4-11634" fmla="*/ 1622746 h 2128749"/>
              <a:gd name="connsiteX5-11635" fmla="*/ 2148758 w 2873587"/>
              <a:gd name="connsiteY5-11636" fmla="*/ 1611595 h 2128749"/>
              <a:gd name="connsiteX6-11637" fmla="*/ 2137607 w 2873587"/>
              <a:gd name="connsiteY6-11638" fmla="*/ 764102 h 2128749"/>
              <a:gd name="connsiteX7-11639" fmla="*/ 2293724 w 2873587"/>
              <a:gd name="connsiteY7-11640" fmla="*/ 663741 h 2128749"/>
              <a:gd name="connsiteX8-11641" fmla="*/ 2639412 w 2873587"/>
              <a:gd name="connsiteY8-11642" fmla="*/ 485321 h 2128749"/>
              <a:gd name="connsiteX9-11643" fmla="*/ 2873587 w 2873587"/>
              <a:gd name="connsiteY9-11644" fmla="*/ 496473 h 2128749"/>
              <a:gd name="connsiteX10-11645" fmla="*/ 2873587 w 2873587"/>
              <a:gd name="connsiteY10-11646" fmla="*/ 329204 h 2128749"/>
              <a:gd name="connsiteX11-11647" fmla="*/ 2828983 w 2873587"/>
              <a:gd name="connsiteY11-11648" fmla="*/ 251146 h 2128749"/>
              <a:gd name="connsiteX12-11649" fmla="*/ 2817831 w 2873587"/>
              <a:gd name="connsiteY12-11650" fmla="*/ 217692 h 2128749"/>
              <a:gd name="connsiteX13-11651" fmla="*/ 2762075 w 2873587"/>
              <a:gd name="connsiteY13-11652" fmla="*/ 195390 h 2128749"/>
              <a:gd name="connsiteX14-11653" fmla="*/ 2750924 w 2873587"/>
              <a:gd name="connsiteY14-11654" fmla="*/ 239995 h 2128749"/>
              <a:gd name="connsiteX15-11655" fmla="*/ 2628261 w 2873587"/>
              <a:gd name="connsiteY15-11656" fmla="*/ 206541 h 2128749"/>
              <a:gd name="connsiteX16-11657" fmla="*/ 2594216 w 2873587"/>
              <a:gd name="connsiteY16-11658" fmla="*/ 214352 h 2128749"/>
              <a:gd name="connsiteX17-11659" fmla="*/ 2509831 w 2873587"/>
              <a:gd name="connsiteY17-11660" fmla="*/ 224256 h 2128749"/>
              <a:gd name="connsiteX18-11661" fmla="*/ 2500681 w 2873587"/>
              <a:gd name="connsiteY18-11662" fmla="*/ 130308 h 2128749"/>
              <a:gd name="connsiteX19-11663" fmla="*/ 2435187 w 2873587"/>
              <a:gd name="connsiteY19-11664" fmla="*/ 52944 h 2128749"/>
              <a:gd name="connsiteX20-11665" fmla="*/ 2385442 w 2873587"/>
              <a:gd name="connsiteY20-11666" fmla="*/ 25309 h 2128749"/>
              <a:gd name="connsiteX21-11667" fmla="*/ 2329446 w 2873587"/>
              <a:gd name="connsiteY21-11668" fmla="*/ 52128 h 2128749"/>
              <a:gd name="connsiteX22-11669" fmla="*/ 2124968 w 2873587"/>
              <a:gd name="connsiteY22-11670" fmla="*/ 30301 h 2128749"/>
              <a:gd name="connsiteX23-11671" fmla="*/ 2091003 w 2873587"/>
              <a:gd name="connsiteY23-11672" fmla="*/ 12834 h 2128749"/>
              <a:gd name="connsiteX24-11673" fmla="*/ 2103702 w 2873587"/>
              <a:gd name="connsiteY24-11674" fmla="*/ 12834 h 2128749"/>
              <a:gd name="connsiteX25-11675" fmla="*/ 1779875 w 2873587"/>
              <a:gd name="connsiteY25-11676" fmla="*/ 89836 h 2128749"/>
              <a:gd name="connsiteX26-11677" fmla="*/ 1724180 w 2873587"/>
              <a:gd name="connsiteY26-11678" fmla="*/ 156992 h 2128749"/>
              <a:gd name="connsiteX27-11679" fmla="*/ 1718180 w 2873587"/>
              <a:gd name="connsiteY27-11680" fmla="*/ 427062 h 2128749"/>
              <a:gd name="connsiteX28-11681" fmla="*/ 1535441 w 2873587"/>
              <a:gd name="connsiteY28-11682" fmla="*/ 630287 h 2128749"/>
              <a:gd name="connsiteX29-11683" fmla="*/ 1301266 w 2873587"/>
              <a:gd name="connsiteY29-11684" fmla="*/ 764102 h 2128749"/>
              <a:gd name="connsiteX30-11685" fmla="*/ 1178602 w 2873587"/>
              <a:gd name="connsiteY30-11686" fmla="*/ 875614 h 2128749"/>
              <a:gd name="connsiteX31-11687" fmla="*/ 710251 w 2873587"/>
              <a:gd name="connsiteY31-11688" fmla="*/ 998277 h 2128749"/>
              <a:gd name="connsiteX32-11689" fmla="*/ 643344 w 2873587"/>
              <a:gd name="connsiteY32-11690" fmla="*/ 1054034 h 2128749"/>
              <a:gd name="connsiteX33-11691" fmla="*/ 509529 w 2873587"/>
              <a:gd name="connsiteY33-11692" fmla="*/ 1377419 h 2128749"/>
              <a:gd name="connsiteX34-11693" fmla="*/ 197295 w 2873587"/>
              <a:gd name="connsiteY34-11694" fmla="*/ 1544687 h 2128749"/>
              <a:gd name="connsiteX35-11695" fmla="*/ 174992 w 2873587"/>
              <a:gd name="connsiteY35-11696" fmla="*/ 1689653 h 2128749"/>
              <a:gd name="connsiteX36-11697" fmla="*/ 96934 w 2873587"/>
              <a:gd name="connsiteY36-11698" fmla="*/ 1801165 h 2128749"/>
              <a:gd name="connsiteX37-11699" fmla="*/ 96163 w 2873587"/>
              <a:gd name="connsiteY37-11700" fmla="*/ 1951880 h 2128749"/>
              <a:gd name="connsiteX38-11701" fmla="*/ 6177 w 2873587"/>
              <a:gd name="connsiteY38-11702" fmla="*/ 1880004 h 2128749"/>
              <a:gd name="connsiteX39-11703" fmla="*/ 74631 w 2873587"/>
              <a:gd name="connsiteY39-11704" fmla="*/ 2035341 h 2128749"/>
              <a:gd name="connsiteX40-11705" fmla="*/ 0 w 2873587"/>
              <a:gd name="connsiteY40-11706" fmla="*/ 1939099 h 2128749"/>
              <a:gd name="connsiteX41-11707" fmla="*/ 86301 w 2873587"/>
              <a:gd name="connsiteY41-11708" fmla="*/ 2046928 h 2128749"/>
              <a:gd name="connsiteX0-11709" fmla="*/ 90296 w 2873587"/>
              <a:gd name="connsiteY0-11710" fmla="*/ 2043364 h 2128749"/>
              <a:gd name="connsiteX1-11711" fmla="*/ 331238 w 2873587"/>
              <a:gd name="connsiteY1-11712" fmla="*/ 2118632 h 2128749"/>
              <a:gd name="connsiteX2-11713" fmla="*/ 657759 w 2873587"/>
              <a:gd name="connsiteY2-11714" fmla="*/ 2118366 h 2128749"/>
              <a:gd name="connsiteX3-11715" fmla="*/ 1011012 w 2873587"/>
              <a:gd name="connsiteY3-11716" fmla="*/ 2056335 h 2128749"/>
              <a:gd name="connsiteX4-11717" fmla="*/ 1033636 w 2873587"/>
              <a:gd name="connsiteY4-11718" fmla="*/ 1622746 h 2128749"/>
              <a:gd name="connsiteX5-11719" fmla="*/ 2148758 w 2873587"/>
              <a:gd name="connsiteY5-11720" fmla="*/ 1611595 h 2128749"/>
              <a:gd name="connsiteX6-11721" fmla="*/ 2137607 w 2873587"/>
              <a:gd name="connsiteY6-11722" fmla="*/ 764102 h 2128749"/>
              <a:gd name="connsiteX7-11723" fmla="*/ 2293724 w 2873587"/>
              <a:gd name="connsiteY7-11724" fmla="*/ 663741 h 2128749"/>
              <a:gd name="connsiteX8-11725" fmla="*/ 2639412 w 2873587"/>
              <a:gd name="connsiteY8-11726" fmla="*/ 485321 h 2128749"/>
              <a:gd name="connsiteX9-11727" fmla="*/ 2873587 w 2873587"/>
              <a:gd name="connsiteY9-11728" fmla="*/ 496473 h 2128749"/>
              <a:gd name="connsiteX10-11729" fmla="*/ 2873587 w 2873587"/>
              <a:gd name="connsiteY10-11730" fmla="*/ 329204 h 2128749"/>
              <a:gd name="connsiteX11-11731" fmla="*/ 2828983 w 2873587"/>
              <a:gd name="connsiteY11-11732" fmla="*/ 251146 h 2128749"/>
              <a:gd name="connsiteX12-11733" fmla="*/ 2817831 w 2873587"/>
              <a:gd name="connsiteY12-11734" fmla="*/ 217692 h 2128749"/>
              <a:gd name="connsiteX13-11735" fmla="*/ 2762075 w 2873587"/>
              <a:gd name="connsiteY13-11736" fmla="*/ 195390 h 2128749"/>
              <a:gd name="connsiteX14-11737" fmla="*/ 2750924 w 2873587"/>
              <a:gd name="connsiteY14-11738" fmla="*/ 239995 h 2128749"/>
              <a:gd name="connsiteX15-11739" fmla="*/ 2628261 w 2873587"/>
              <a:gd name="connsiteY15-11740" fmla="*/ 206541 h 2128749"/>
              <a:gd name="connsiteX16-11741" fmla="*/ 2594216 w 2873587"/>
              <a:gd name="connsiteY16-11742" fmla="*/ 214352 h 2128749"/>
              <a:gd name="connsiteX17-11743" fmla="*/ 2509831 w 2873587"/>
              <a:gd name="connsiteY17-11744" fmla="*/ 224256 h 2128749"/>
              <a:gd name="connsiteX18-11745" fmla="*/ 2500681 w 2873587"/>
              <a:gd name="connsiteY18-11746" fmla="*/ 130308 h 2128749"/>
              <a:gd name="connsiteX19-11747" fmla="*/ 2435187 w 2873587"/>
              <a:gd name="connsiteY19-11748" fmla="*/ 52944 h 2128749"/>
              <a:gd name="connsiteX20-11749" fmla="*/ 2385442 w 2873587"/>
              <a:gd name="connsiteY20-11750" fmla="*/ 25309 h 2128749"/>
              <a:gd name="connsiteX21-11751" fmla="*/ 2329446 w 2873587"/>
              <a:gd name="connsiteY21-11752" fmla="*/ 52128 h 2128749"/>
              <a:gd name="connsiteX22-11753" fmla="*/ 2124968 w 2873587"/>
              <a:gd name="connsiteY22-11754" fmla="*/ 30301 h 2128749"/>
              <a:gd name="connsiteX23-11755" fmla="*/ 2091003 w 2873587"/>
              <a:gd name="connsiteY23-11756" fmla="*/ 12834 h 2128749"/>
              <a:gd name="connsiteX24-11757" fmla="*/ 2103702 w 2873587"/>
              <a:gd name="connsiteY24-11758" fmla="*/ 12834 h 2128749"/>
              <a:gd name="connsiteX25-11759" fmla="*/ 1779875 w 2873587"/>
              <a:gd name="connsiteY25-11760" fmla="*/ 89836 h 2128749"/>
              <a:gd name="connsiteX26-11761" fmla="*/ 1724180 w 2873587"/>
              <a:gd name="connsiteY26-11762" fmla="*/ 156992 h 2128749"/>
              <a:gd name="connsiteX27-11763" fmla="*/ 1718180 w 2873587"/>
              <a:gd name="connsiteY27-11764" fmla="*/ 427062 h 2128749"/>
              <a:gd name="connsiteX28-11765" fmla="*/ 1535441 w 2873587"/>
              <a:gd name="connsiteY28-11766" fmla="*/ 630287 h 2128749"/>
              <a:gd name="connsiteX29-11767" fmla="*/ 1301266 w 2873587"/>
              <a:gd name="connsiteY29-11768" fmla="*/ 764102 h 2128749"/>
              <a:gd name="connsiteX30-11769" fmla="*/ 1178602 w 2873587"/>
              <a:gd name="connsiteY30-11770" fmla="*/ 875614 h 2128749"/>
              <a:gd name="connsiteX31-11771" fmla="*/ 710251 w 2873587"/>
              <a:gd name="connsiteY31-11772" fmla="*/ 998277 h 2128749"/>
              <a:gd name="connsiteX32-11773" fmla="*/ 643344 w 2873587"/>
              <a:gd name="connsiteY32-11774" fmla="*/ 1054034 h 2128749"/>
              <a:gd name="connsiteX33-11775" fmla="*/ 509529 w 2873587"/>
              <a:gd name="connsiteY33-11776" fmla="*/ 1377419 h 2128749"/>
              <a:gd name="connsiteX34-11777" fmla="*/ 197295 w 2873587"/>
              <a:gd name="connsiteY34-11778" fmla="*/ 1544687 h 2128749"/>
              <a:gd name="connsiteX35-11779" fmla="*/ 174992 w 2873587"/>
              <a:gd name="connsiteY35-11780" fmla="*/ 1689653 h 2128749"/>
              <a:gd name="connsiteX36-11781" fmla="*/ 96934 w 2873587"/>
              <a:gd name="connsiteY36-11782" fmla="*/ 1801165 h 2128749"/>
              <a:gd name="connsiteX37-11783" fmla="*/ 6177 w 2873587"/>
              <a:gd name="connsiteY37-11784" fmla="*/ 1880004 h 2128749"/>
              <a:gd name="connsiteX38-11785" fmla="*/ 74631 w 2873587"/>
              <a:gd name="connsiteY38-11786" fmla="*/ 2035341 h 2128749"/>
              <a:gd name="connsiteX39-11787" fmla="*/ 0 w 2873587"/>
              <a:gd name="connsiteY39-11788" fmla="*/ 1939099 h 2128749"/>
              <a:gd name="connsiteX40-11789" fmla="*/ 86301 w 2873587"/>
              <a:gd name="connsiteY40-11790" fmla="*/ 2046928 h 2128749"/>
              <a:gd name="connsiteX0-11791" fmla="*/ 90296 w 2873587"/>
              <a:gd name="connsiteY0-11792" fmla="*/ 2043364 h 2128749"/>
              <a:gd name="connsiteX1-11793" fmla="*/ 331238 w 2873587"/>
              <a:gd name="connsiteY1-11794" fmla="*/ 2118632 h 2128749"/>
              <a:gd name="connsiteX2-11795" fmla="*/ 657759 w 2873587"/>
              <a:gd name="connsiteY2-11796" fmla="*/ 2118366 h 2128749"/>
              <a:gd name="connsiteX3-11797" fmla="*/ 1011012 w 2873587"/>
              <a:gd name="connsiteY3-11798" fmla="*/ 2056335 h 2128749"/>
              <a:gd name="connsiteX4-11799" fmla="*/ 1033636 w 2873587"/>
              <a:gd name="connsiteY4-11800" fmla="*/ 1622746 h 2128749"/>
              <a:gd name="connsiteX5-11801" fmla="*/ 2148758 w 2873587"/>
              <a:gd name="connsiteY5-11802" fmla="*/ 1611595 h 2128749"/>
              <a:gd name="connsiteX6-11803" fmla="*/ 2137607 w 2873587"/>
              <a:gd name="connsiteY6-11804" fmla="*/ 764102 h 2128749"/>
              <a:gd name="connsiteX7-11805" fmla="*/ 2293724 w 2873587"/>
              <a:gd name="connsiteY7-11806" fmla="*/ 663741 h 2128749"/>
              <a:gd name="connsiteX8-11807" fmla="*/ 2639412 w 2873587"/>
              <a:gd name="connsiteY8-11808" fmla="*/ 485321 h 2128749"/>
              <a:gd name="connsiteX9-11809" fmla="*/ 2873587 w 2873587"/>
              <a:gd name="connsiteY9-11810" fmla="*/ 496473 h 2128749"/>
              <a:gd name="connsiteX10-11811" fmla="*/ 2873587 w 2873587"/>
              <a:gd name="connsiteY10-11812" fmla="*/ 329204 h 2128749"/>
              <a:gd name="connsiteX11-11813" fmla="*/ 2828983 w 2873587"/>
              <a:gd name="connsiteY11-11814" fmla="*/ 251146 h 2128749"/>
              <a:gd name="connsiteX12-11815" fmla="*/ 2817831 w 2873587"/>
              <a:gd name="connsiteY12-11816" fmla="*/ 217692 h 2128749"/>
              <a:gd name="connsiteX13-11817" fmla="*/ 2762075 w 2873587"/>
              <a:gd name="connsiteY13-11818" fmla="*/ 195390 h 2128749"/>
              <a:gd name="connsiteX14-11819" fmla="*/ 2750924 w 2873587"/>
              <a:gd name="connsiteY14-11820" fmla="*/ 239995 h 2128749"/>
              <a:gd name="connsiteX15-11821" fmla="*/ 2628261 w 2873587"/>
              <a:gd name="connsiteY15-11822" fmla="*/ 206541 h 2128749"/>
              <a:gd name="connsiteX16-11823" fmla="*/ 2594216 w 2873587"/>
              <a:gd name="connsiteY16-11824" fmla="*/ 214352 h 2128749"/>
              <a:gd name="connsiteX17-11825" fmla="*/ 2509831 w 2873587"/>
              <a:gd name="connsiteY17-11826" fmla="*/ 224256 h 2128749"/>
              <a:gd name="connsiteX18-11827" fmla="*/ 2500681 w 2873587"/>
              <a:gd name="connsiteY18-11828" fmla="*/ 130308 h 2128749"/>
              <a:gd name="connsiteX19-11829" fmla="*/ 2435187 w 2873587"/>
              <a:gd name="connsiteY19-11830" fmla="*/ 52944 h 2128749"/>
              <a:gd name="connsiteX20-11831" fmla="*/ 2385442 w 2873587"/>
              <a:gd name="connsiteY20-11832" fmla="*/ 25309 h 2128749"/>
              <a:gd name="connsiteX21-11833" fmla="*/ 2329446 w 2873587"/>
              <a:gd name="connsiteY21-11834" fmla="*/ 52128 h 2128749"/>
              <a:gd name="connsiteX22-11835" fmla="*/ 2124968 w 2873587"/>
              <a:gd name="connsiteY22-11836" fmla="*/ 30301 h 2128749"/>
              <a:gd name="connsiteX23-11837" fmla="*/ 2091003 w 2873587"/>
              <a:gd name="connsiteY23-11838" fmla="*/ 12834 h 2128749"/>
              <a:gd name="connsiteX24-11839" fmla="*/ 2103702 w 2873587"/>
              <a:gd name="connsiteY24-11840" fmla="*/ 12834 h 2128749"/>
              <a:gd name="connsiteX25-11841" fmla="*/ 1779875 w 2873587"/>
              <a:gd name="connsiteY25-11842" fmla="*/ 89836 h 2128749"/>
              <a:gd name="connsiteX26-11843" fmla="*/ 1724180 w 2873587"/>
              <a:gd name="connsiteY26-11844" fmla="*/ 156992 h 2128749"/>
              <a:gd name="connsiteX27-11845" fmla="*/ 1718180 w 2873587"/>
              <a:gd name="connsiteY27-11846" fmla="*/ 427062 h 2128749"/>
              <a:gd name="connsiteX28-11847" fmla="*/ 1535441 w 2873587"/>
              <a:gd name="connsiteY28-11848" fmla="*/ 630287 h 2128749"/>
              <a:gd name="connsiteX29-11849" fmla="*/ 1301266 w 2873587"/>
              <a:gd name="connsiteY29-11850" fmla="*/ 764102 h 2128749"/>
              <a:gd name="connsiteX30-11851" fmla="*/ 1178602 w 2873587"/>
              <a:gd name="connsiteY30-11852" fmla="*/ 875614 h 2128749"/>
              <a:gd name="connsiteX31-11853" fmla="*/ 710251 w 2873587"/>
              <a:gd name="connsiteY31-11854" fmla="*/ 998277 h 2128749"/>
              <a:gd name="connsiteX32-11855" fmla="*/ 643344 w 2873587"/>
              <a:gd name="connsiteY32-11856" fmla="*/ 1054034 h 2128749"/>
              <a:gd name="connsiteX33-11857" fmla="*/ 509529 w 2873587"/>
              <a:gd name="connsiteY33-11858" fmla="*/ 1377419 h 2128749"/>
              <a:gd name="connsiteX34-11859" fmla="*/ 197295 w 2873587"/>
              <a:gd name="connsiteY34-11860" fmla="*/ 1544687 h 2128749"/>
              <a:gd name="connsiteX35-11861" fmla="*/ 174992 w 2873587"/>
              <a:gd name="connsiteY35-11862" fmla="*/ 1689653 h 2128749"/>
              <a:gd name="connsiteX36-11863" fmla="*/ 96934 w 2873587"/>
              <a:gd name="connsiteY36-11864" fmla="*/ 1801165 h 2128749"/>
              <a:gd name="connsiteX37-11865" fmla="*/ 6177 w 2873587"/>
              <a:gd name="connsiteY37-11866" fmla="*/ 1880004 h 2128749"/>
              <a:gd name="connsiteX38-11867" fmla="*/ 74631 w 2873587"/>
              <a:gd name="connsiteY38-11868" fmla="*/ 2035341 h 2128749"/>
              <a:gd name="connsiteX39-11869" fmla="*/ 0 w 2873587"/>
              <a:gd name="connsiteY39-11870" fmla="*/ 1939099 h 2128749"/>
              <a:gd name="connsiteX0-11871" fmla="*/ 87708 w 2870999"/>
              <a:gd name="connsiteY0-11872" fmla="*/ 2043364 h 2128749"/>
              <a:gd name="connsiteX1-11873" fmla="*/ 328650 w 2870999"/>
              <a:gd name="connsiteY1-11874" fmla="*/ 2118632 h 2128749"/>
              <a:gd name="connsiteX2-11875" fmla="*/ 655171 w 2870999"/>
              <a:gd name="connsiteY2-11876" fmla="*/ 2118366 h 2128749"/>
              <a:gd name="connsiteX3-11877" fmla="*/ 1008424 w 2870999"/>
              <a:gd name="connsiteY3-11878" fmla="*/ 2056335 h 2128749"/>
              <a:gd name="connsiteX4-11879" fmla="*/ 1031048 w 2870999"/>
              <a:gd name="connsiteY4-11880" fmla="*/ 1622746 h 2128749"/>
              <a:gd name="connsiteX5-11881" fmla="*/ 2146170 w 2870999"/>
              <a:gd name="connsiteY5-11882" fmla="*/ 1611595 h 2128749"/>
              <a:gd name="connsiteX6-11883" fmla="*/ 2135019 w 2870999"/>
              <a:gd name="connsiteY6-11884" fmla="*/ 764102 h 2128749"/>
              <a:gd name="connsiteX7-11885" fmla="*/ 2291136 w 2870999"/>
              <a:gd name="connsiteY7-11886" fmla="*/ 663741 h 2128749"/>
              <a:gd name="connsiteX8-11887" fmla="*/ 2636824 w 2870999"/>
              <a:gd name="connsiteY8-11888" fmla="*/ 485321 h 2128749"/>
              <a:gd name="connsiteX9-11889" fmla="*/ 2870999 w 2870999"/>
              <a:gd name="connsiteY9-11890" fmla="*/ 496473 h 2128749"/>
              <a:gd name="connsiteX10-11891" fmla="*/ 2870999 w 2870999"/>
              <a:gd name="connsiteY10-11892" fmla="*/ 329204 h 2128749"/>
              <a:gd name="connsiteX11-11893" fmla="*/ 2826395 w 2870999"/>
              <a:gd name="connsiteY11-11894" fmla="*/ 251146 h 2128749"/>
              <a:gd name="connsiteX12-11895" fmla="*/ 2815243 w 2870999"/>
              <a:gd name="connsiteY12-11896" fmla="*/ 217692 h 2128749"/>
              <a:gd name="connsiteX13-11897" fmla="*/ 2759487 w 2870999"/>
              <a:gd name="connsiteY13-11898" fmla="*/ 195390 h 2128749"/>
              <a:gd name="connsiteX14-11899" fmla="*/ 2748336 w 2870999"/>
              <a:gd name="connsiteY14-11900" fmla="*/ 239995 h 2128749"/>
              <a:gd name="connsiteX15-11901" fmla="*/ 2625673 w 2870999"/>
              <a:gd name="connsiteY15-11902" fmla="*/ 206541 h 2128749"/>
              <a:gd name="connsiteX16-11903" fmla="*/ 2591628 w 2870999"/>
              <a:gd name="connsiteY16-11904" fmla="*/ 214352 h 2128749"/>
              <a:gd name="connsiteX17-11905" fmla="*/ 2507243 w 2870999"/>
              <a:gd name="connsiteY17-11906" fmla="*/ 224256 h 2128749"/>
              <a:gd name="connsiteX18-11907" fmla="*/ 2498093 w 2870999"/>
              <a:gd name="connsiteY18-11908" fmla="*/ 130308 h 2128749"/>
              <a:gd name="connsiteX19-11909" fmla="*/ 2432599 w 2870999"/>
              <a:gd name="connsiteY19-11910" fmla="*/ 52944 h 2128749"/>
              <a:gd name="connsiteX20-11911" fmla="*/ 2382854 w 2870999"/>
              <a:gd name="connsiteY20-11912" fmla="*/ 25309 h 2128749"/>
              <a:gd name="connsiteX21-11913" fmla="*/ 2326858 w 2870999"/>
              <a:gd name="connsiteY21-11914" fmla="*/ 52128 h 2128749"/>
              <a:gd name="connsiteX22-11915" fmla="*/ 2122380 w 2870999"/>
              <a:gd name="connsiteY22-11916" fmla="*/ 30301 h 2128749"/>
              <a:gd name="connsiteX23-11917" fmla="*/ 2088415 w 2870999"/>
              <a:gd name="connsiteY23-11918" fmla="*/ 12834 h 2128749"/>
              <a:gd name="connsiteX24-11919" fmla="*/ 2101114 w 2870999"/>
              <a:gd name="connsiteY24-11920" fmla="*/ 12834 h 2128749"/>
              <a:gd name="connsiteX25-11921" fmla="*/ 1777287 w 2870999"/>
              <a:gd name="connsiteY25-11922" fmla="*/ 89836 h 2128749"/>
              <a:gd name="connsiteX26-11923" fmla="*/ 1721592 w 2870999"/>
              <a:gd name="connsiteY26-11924" fmla="*/ 156992 h 2128749"/>
              <a:gd name="connsiteX27-11925" fmla="*/ 1715592 w 2870999"/>
              <a:gd name="connsiteY27-11926" fmla="*/ 427062 h 2128749"/>
              <a:gd name="connsiteX28-11927" fmla="*/ 1532853 w 2870999"/>
              <a:gd name="connsiteY28-11928" fmla="*/ 630287 h 2128749"/>
              <a:gd name="connsiteX29-11929" fmla="*/ 1298678 w 2870999"/>
              <a:gd name="connsiteY29-11930" fmla="*/ 764102 h 2128749"/>
              <a:gd name="connsiteX30-11931" fmla="*/ 1176014 w 2870999"/>
              <a:gd name="connsiteY30-11932" fmla="*/ 875614 h 2128749"/>
              <a:gd name="connsiteX31-11933" fmla="*/ 707663 w 2870999"/>
              <a:gd name="connsiteY31-11934" fmla="*/ 998277 h 2128749"/>
              <a:gd name="connsiteX32-11935" fmla="*/ 640756 w 2870999"/>
              <a:gd name="connsiteY32-11936" fmla="*/ 1054034 h 2128749"/>
              <a:gd name="connsiteX33-11937" fmla="*/ 506941 w 2870999"/>
              <a:gd name="connsiteY33-11938" fmla="*/ 1377419 h 2128749"/>
              <a:gd name="connsiteX34-11939" fmla="*/ 194707 w 2870999"/>
              <a:gd name="connsiteY34-11940" fmla="*/ 1544687 h 2128749"/>
              <a:gd name="connsiteX35-11941" fmla="*/ 172404 w 2870999"/>
              <a:gd name="connsiteY35-11942" fmla="*/ 1689653 h 2128749"/>
              <a:gd name="connsiteX36-11943" fmla="*/ 94346 w 2870999"/>
              <a:gd name="connsiteY36-11944" fmla="*/ 1801165 h 2128749"/>
              <a:gd name="connsiteX37-11945" fmla="*/ 3589 w 2870999"/>
              <a:gd name="connsiteY37-11946" fmla="*/ 1880004 h 2128749"/>
              <a:gd name="connsiteX38-11947" fmla="*/ 72043 w 2870999"/>
              <a:gd name="connsiteY38-11948" fmla="*/ 2035341 h 2128749"/>
              <a:gd name="connsiteX0-11949" fmla="*/ 99690 w 2882981"/>
              <a:gd name="connsiteY0-11950" fmla="*/ 2043364 h 2128749"/>
              <a:gd name="connsiteX1-11951" fmla="*/ 340632 w 2882981"/>
              <a:gd name="connsiteY1-11952" fmla="*/ 2118632 h 2128749"/>
              <a:gd name="connsiteX2-11953" fmla="*/ 667153 w 2882981"/>
              <a:gd name="connsiteY2-11954" fmla="*/ 2118366 h 2128749"/>
              <a:gd name="connsiteX3-11955" fmla="*/ 1020406 w 2882981"/>
              <a:gd name="connsiteY3-11956" fmla="*/ 2056335 h 2128749"/>
              <a:gd name="connsiteX4-11957" fmla="*/ 1043030 w 2882981"/>
              <a:gd name="connsiteY4-11958" fmla="*/ 1622746 h 2128749"/>
              <a:gd name="connsiteX5-11959" fmla="*/ 2158152 w 2882981"/>
              <a:gd name="connsiteY5-11960" fmla="*/ 1611595 h 2128749"/>
              <a:gd name="connsiteX6-11961" fmla="*/ 2147001 w 2882981"/>
              <a:gd name="connsiteY6-11962" fmla="*/ 764102 h 2128749"/>
              <a:gd name="connsiteX7-11963" fmla="*/ 2303118 w 2882981"/>
              <a:gd name="connsiteY7-11964" fmla="*/ 663741 h 2128749"/>
              <a:gd name="connsiteX8-11965" fmla="*/ 2648806 w 2882981"/>
              <a:gd name="connsiteY8-11966" fmla="*/ 485321 h 2128749"/>
              <a:gd name="connsiteX9-11967" fmla="*/ 2882981 w 2882981"/>
              <a:gd name="connsiteY9-11968" fmla="*/ 496473 h 2128749"/>
              <a:gd name="connsiteX10-11969" fmla="*/ 2882981 w 2882981"/>
              <a:gd name="connsiteY10-11970" fmla="*/ 329204 h 2128749"/>
              <a:gd name="connsiteX11-11971" fmla="*/ 2838377 w 2882981"/>
              <a:gd name="connsiteY11-11972" fmla="*/ 251146 h 2128749"/>
              <a:gd name="connsiteX12-11973" fmla="*/ 2827225 w 2882981"/>
              <a:gd name="connsiteY12-11974" fmla="*/ 217692 h 2128749"/>
              <a:gd name="connsiteX13-11975" fmla="*/ 2771469 w 2882981"/>
              <a:gd name="connsiteY13-11976" fmla="*/ 195390 h 2128749"/>
              <a:gd name="connsiteX14-11977" fmla="*/ 2760318 w 2882981"/>
              <a:gd name="connsiteY14-11978" fmla="*/ 239995 h 2128749"/>
              <a:gd name="connsiteX15-11979" fmla="*/ 2637655 w 2882981"/>
              <a:gd name="connsiteY15-11980" fmla="*/ 206541 h 2128749"/>
              <a:gd name="connsiteX16-11981" fmla="*/ 2603610 w 2882981"/>
              <a:gd name="connsiteY16-11982" fmla="*/ 214352 h 2128749"/>
              <a:gd name="connsiteX17-11983" fmla="*/ 2519225 w 2882981"/>
              <a:gd name="connsiteY17-11984" fmla="*/ 224256 h 2128749"/>
              <a:gd name="connsiteX18-11985" fmla="*/ 2510075 w 2882981"/>
              <a:gd name="connsiteY18-11986" fmla="*/ 130308 h 2128749"/>
              <a:gd name="connsiteX19-11987" fmla="*/ 2444581 w 2882981"/>
              <a:gd name="connsiteY19-11988" fmla="*/ 52944 h 2128749"/>
              <a:gd name="connsiteX20-11989" fmla="*/ 2394836 w 2882981"/>
              <a:gd name="connsiteY20-11990" fmla="*/ 25309 h 2128749"/>
              <a:gd name="connsiteX21-11991" fmla="*/ 2338840 w 2882981"/>
              <a:gd name="connsiteY21-11992" fmla="*/ 52128 h 2128749"/>
              <a:gd name="connsiteX22-11993" fmla="*/ 2134362 w 2882981"/>
              <a:gd name="connsiteY22-11994" fmla="*/ 30301 h 2128749"/>
              <a:gd name="connsiteX23-11995" fmla="*/ 2100397 w 2882981"/>
              <a:gd name="connsiteY23-11996" fmla="*/ 12834 h 2128749"/>
              <a:gd name="connsiteX24-11997" fmla="*/ 2113096 w 2882981"/>
              <a:gd name="connsiteY24-11998" fmla="*/ 12834 h 2128749"/>
              <a:gd name="connsiteX25-11999" fmla="*/ 1789269 w 2882981"/>
              <a:gd name="connsiteY25-12000" fmla="*/ 89836 h 2128749"/>
              <a:gd name="connsiteX26-12001" fmla="*/ 1733574 w 2882981"/>
              <a:gd name="connsiteY26-12002" fmla="*/ 156992 h 2128749"/>
              <a:gd name="connsiteX27-12003" fmla="*/ 1727574 w 2882981"/>
              <a:gd name="connsiteY27-12004" fmla="*/ 427062 h 2128749"/>
              <a:gd name="connsiteX28-12005" fmla="*/ 1544835 w 2882981"/>
              <a:gd name="connsiteY28-12006" fmla="*/ 630287 h 2128749"/>
              <a:gd name="connsiteX29-12007" fmla="*/ 1310660 w 2882981"/>
              <a:gd name="connsiteY29-12008" fmla="*/ 764102 h 2128749"/>
              <a:gd name="connsiteX30-12009" fmla="*/ 1187996 w 2882981"/>
              <a:gd name="connsiteY30-12010" fmla="*/ 875614 h 2128749"/>
              <a:gd name="connsiteX31-12011" fmla="*/ 719645 w 2882981"/>
              <a:gd name="connsiteY31-12012" fmla="*/ 998277 h 2128749"/>
              <a:gd name="connsiteX32-12013" fmla="*/ 652738 w 2882981"/>
              <a:gd name="connsiteY32-12014" fmla="*/ 1054034 h 2128749"/>
              <a:gd name="connsiteX33-12015" fmla="*/ 518923 w 2882981"/>
              <a:gd name="connsiteY33-12016" fmla="*/ 1377419 h 2128749"/>
              <a:gd name="connsiteX34-12017" fmla="*/ 206689 w 2882981"/>
              <a:gd name="connsiteY34-12018" fmla="*/ 1544687 h 2128749"/>
              <a:gd name="connsiteX35-12019" fmla="*/ 184386 w 2882981"/>
              <a:gd name="connsiteY35-12020" fmla="*/ 1689653 h 2128749"/>
              <a:gd name="connsiteX36-12021" fmla="*/ 106328 w 2882981"/>
              <a:gd name="connsiteY36-12022" fmla="*/ 1801165 h 2128749"/>
              <a:gd name="connsiteX37-12023" fmla="*/ 15571 w 2882981"/>
              <a:gd name="connsiteY37-12024" fmla="*/ 1880004 h 2128749"/>
              <a:gd name="connsiteX38-12025" fmla="*/ 12902 w 2882981"/>
              <a:gd name="connsiteY38-12026" fmla="*/ 1883504 h 2128749"/>
              <a:gd name="connsiteX39-12027" fmla="*/ 84025 w 2882981"/>
              <a:gd name="connsiteY39-12028" fmla="*/ 2035341 h 2128749"/>
              <a:gd name="connsiteX0-12029" fmla="*/ 99690 w 2882981"/>
              <a:gd name="connsiteY0-12030" fmla="*/ 2043364 h 2128749"/>
              <a:gd name="connsiteX1-12031" fmla="*/ 340632 w 2882981"/>
              <a:gd name="connsiteY1-12032" fmla="*/ 2118632 h 2128749"/>
              <a:gd name="connsiteX2-12033" fmla="*/ 667153 w 2882981"/>
              <a:gd name="connsiteY2-12034" fmla="*/ 2118366 h 2128749"/>
              <a:gd name="connsiteX3-12035" fmla="*/ 1020406 w 2882981"/>
              <a:gd name="connsiteY3-12036" fmla="*/ 2056335 h 2128749"/>
              <a:gd name="connsiteX4-12037" fmla="*/ 1043030 w 2882981"/>
              <a:gd name="connsiteY4-12038" fmla="*/ 1622746 h 2128749"/>
              <a:gd name="connsiteX5-12039" fmla="*/ 2158152 w 2882981"/>
              <a:gd name="connsiteY5-12040" fmla="*/ 1611595 h 2128749"/>
              <a:gd name="connsiteX6-12041" fmla="*/ 2147001 w 2882981"/>
              <a:gd name="connsiteY6-12042" fmla="*/ 764102 h 2128749"/>
              <a:gd name="connsiteX7-12043" fmla="*/ 2303118 w 2882981"/>
              <a:gd name="connsiteY7-12044" fmla="*/ 663741 h 2128749"/>
              <a:gd name="connsiteX8-12045" fmla="*/ 2648806 w 2882981"/>
              <a:gd name="connsiteY8-12046" fmla="*/ 485321 h 2128749"/>
              <a:gd name="connsiteX9-12047" fmla="*/ 2882981 w 2882981"/>
              <a:gd name="connsiteY9-12048" fmla="*/ 496473 h 2128749"/>
              <a:gd name="connsiteX10-12049" fmla="*/ 2882981 w 2882981"/>
              <a:gd name="connsiteY10-12050" fmla="*/ 329204 h 2128749"/>
              <a:gd name="connsiteX11-12051" fmla="*/ 2838377 w 2882981"/>
              <a:gd name="connsiteY11-12052" fmla="*/ 251146 h 2128749"/>
              <a:gd name="connsiteX12-12053" fmla="*/ 2827225 w 2882981"/>
              <a:gd name="connsiteY12-12054" fmla="*/ 217692 h 2128749"/>
              <a:gd name="connsiteX13-12055" fmla="*/ 2771469 w 2882981"/>
              <a:gd name="connsiteY13-12056" fmla="*/ 195390 h 2128749"/>
              <a:gd name="connsiteX14-12057" fmla="*/ 2760318 w 2882981"/>
              <a:gd name="connsiteY14-12058" fmla="*/ 239995 h 2128749"/>
              <a:gd name="connsiteX15-12059" fmla="*/ 2637655 w 2882981"/>
              <a:gd name="connsiteY15-12060" fmla="*/ 206541 h 2128749"/>
              <a:gd name="connsiteX16-12061" fmla="*/ 2603610 w 2882981"/>
              <a:gd name="connsiteY16-12062" fmla="*/ 214352 h 2128749"/>
              <a:gd name="connsiteX17-12063" fmla="*/ 2519225 w 2882981"/>
              <a:gd name="connsiteY17-12064" fmla="*/ 224256 h 2128749"/>
              <a:gd name="connsiteX18-12065" fmla="*/ 2510075 w 2882981"/>
              <a:gd name="connsiteY18-12066" fmla="*/ 130308 h 2128749"/>
              <a:gd name="connsiteX19-12067" fmla="*/ 2444581 w 2882981"/>
              <a:gd name="connsiteY19-12068" fmla="*/ 52944 h 2128749"/>
              <a:gd name="connsiteX20-12069" fmla="*/ 2394836 w 2882981"/>
              <a:gd name="connsiteY20-12070" fmla="*/ 25309 h 2128749"/>
              <a:gd name="connsiteX21-12071" fmla="*/ 2338840 w 2882981"/>
              <a:gd name="connsiteY21-12072" fmla="*/ 52128 h 2128749"/>
              <a:gd name="connsiteX22-12073" fmla="*/ 2134362 w 2882981"/>
              <a:gd name="connsiteY22-12074" fmla="*/ 30301 h 2128749"/>
              <a:gd name="connsiteX23-12075" fmla="*/ 2100397 w 2882981"/>
              <a:gd name="connsiteY23-12076" fmla="*/ 12834 h 2128749"/>
              <a:gd name="connsiteX24-12077" fmla="*/ 2113096 w 2882981"/>
              <a:gd name="connsiteY24-12078" fmla="*/ 12834 h 2128749"/>
              <a:gd name="connsiteX25-12079" fmla="*/ 1789269 w 2882981"/>
              <a:gd name="connsiteY25-12080" fmla="*/ 89836 h 2128749"/>
              <a:gd name="connsiteX26-12081" fmla="*/ 1733574 w 2882981"/>
              <a:gd name="connsiteY26-12082" fmla="*/ 156992 h 2128749"/>
              <a:gd name="connsiteX27-12083" fmla="*/ 1727574 w 2882981"/>
              <a:gd name="connsiteY27-12084" fmla="*/ 427062 h 2128749"/>
              <a:gd name="connsiteX28-12085" fmla="*/ 1544835 w 2882981"/>
              <a:gd name="connsiteY28-12086" fmla="*/ 630287 h 2128749"/>
              <a:gd name="connsiteX29-12087" fmla="*/ 1310660 w 2882981"/>
              <a:gd name="connsiteY29-12088" fmla="*/ 764102 h 2128749"/>
              <a:gd name="connsiteX30-12089" fmla="*/ 1187996 w 2882981"/>
              <a:gd name="connsiteY30-12090" fmla="*/ 875614 h 2128749"/>
              <a:gd name="connsiteX31-12091" fmla="*/ 719645 w 2882981"/>
              <a:gd name="connsiteY31-12092" fmla="*/ 998277 h 2128749"/>
              <a:gd name="connsiteX32-12093" fmla="*/ 652738 w 2882981"/>
              <a:gd name="connsiteY32-12094" fmla="*/ 1054034 h 2128749"/>
              <a:gd name="connsiteX33-12095" fmla="*/ 518923 w 2882981"/>
              <a:gd name="connsiteY33-12096" fmla="*/ 1377419 h 2128749"/>
              <a:gd name="connsiteX34-12097" fmla="*/ 206689 w 2882981"/>
              <a:gd name="connsiteY34-12098" fmla="*/ 1544687 h 2128749"/>
              <a:gd name="connsiteX35-12099" fmla="*/ 184386 w 2882981"/>
              <a:gd name="connsiteY35-12100" fmla="*/ 1689653 h 2128749"/>
              <a:gd name="connsiteX36-12101" fmla="*/ 106328 w 2882981"/>
              <a:gd name="connsiteY36-12102" fmla="*/ 1801165 h 2128749"/>
              <a:gd name="connsiteX37-12103" fmla="*/ 15571 w 2882981"/>
              <a:gd name="connsiteY37-12104" fmla="*/ 1880004 h 2128749"/>
              <a:gd name="connsiteX38-12105" fmla="*/ 12902 w 2882981"/>
              <a:gd name="connsiteY38-12106" fmla="*/ 1883504 h 2128749"/>
              <a:gd name="connsiteX39-12107" fmla="*/ 84025 w 2882981"/>
              <a:gd name="connsiteY39-12108" fmla="*/ 2035341 h 2128749"/>
              <a:gd name="connsiteX0-12109" fmla="*/ 99690 w 2882981"/>
              <a:gd name="connsiteY0-12110" fmla="*/ 2043364 h 2128749"/>
              <a:gd name="connsiteX1-12111" fmla="*/ 340632 w 2882981"/>
              <a:gd name="connsiteY1-12112" fmla="*/ 2118632 h 2128749"/>
              <a:gd name="connsiteX2-12113" fmla="*/ 667153 w 2882981"/>
              <a:gd name="connsiteY2-12114" fmla="*/ 2118366 h 2128749"/>
              <a:gd name="connsiteX3-12115" fmla="*/ 1020406 w 2882981"/>
              <a:gd name="connsiteY3-12116" fmla="*/ 2056335 h 2128749"/>
              <a:gd name="connsiteX4-12117" fmla="*/ 1043030 w 2882981"/>
              <a:gd name="connsiteY4-12118" fmla="*/ 1622746 h 2128749"/>
              <a:gd name="connsiteX5-12119" fmla="*/ 2158152 w 2882981"/>
              <a:gd name="connsiteY5-12120" fmla="*/ 1611595 h 2128749"/>
              <a:gd name="connsiteX6-12121" fmla="*/ 2147001 w 2882981"/>
              <a:gd name="connsiteY6-12122" fmla="*/ 764102 h 2128749"/>
              <a:gd name="connsiteX7-12123" fmla="*/ 2303118 w 2882981"/>
              <a:gd name="connsiteY7-12124" fmla="*/ 663741 h 2128749"/>
              <a:gd name="connsiteX8-12125" fmla="*/ 2648806 w 2882981"/>
              <a:gd name="connsiteY8-12126" fmla="*/ 485321 h 2128749"/>
              <a:gd name="connsiteX9-12127" fmla="*/ 2882981 w 2882981"/>
              <a:gd name="connsiteY9-12128" fmla="*/ 496473 h 2128749"/>
              <a:gd name="connsiteX10-12129" fmla="*/ 2882981 w 2882981"/>
              <a:gd name="connsiteY10-12130" fmla="*/ 329204 h 2128749"/>
              <a:gd name="connsiteX11-12131" fmla="*/ 2838377 w 2882981"/>
              <a:gd name="connsiteY11-12132" fmla="*/ 251146 h 2128749"/>
              <a:gd name="connsiteX12-12133" fmla="*/ 2827225 w 2882981"/>
              <a:gd name="connsiteY12-12134" fmla="*/ 217692 h 2128749"/>
              <a:gd name="connsiteX13-12135" fmla="*/ 2771469 w 2882981"/>
              <a:gd name="connsiteY13-12136" fmla="*/ 195390 h 2128749"/>
              <a:gd name="connsiteX14-12137" fmla="*/ 2760318 w 2882981"/>
              <a:gd name="connsiteY14-12138" fmla="*/ 239995 h 2128749"/>
              <a:gd name="connsiteX15-12139" fmla="*/ 2637655 w 2882981"/>
              <a:gd name="connsiteY15-12140" fmla="*/ 206541 h 2128749"/>
              <a:gd name="connsiteX16-12141" fmla="*/ 2603610 w 2882981"/>
              <a:gd name="connsiteY16-12142" fmla="*/ 214352 h 2128749"/>
              <a:gd name="connsiteX17-12143" fmla="*/ 2519225 w 2882981"/>
              <a:gd name="connsiteY17-12144" fmla="*/ 224256 h 2128749"/>
              <a:gd name="connsiteX18-12145" fmla="*/ 2510075 w 2882981"/>
              <a:gd name="connsiteY18-12146" fmla="*/ 130308 h 2128749"/>
              <a:gd name="connsiteX19-12147" fmla="*/ 2444581 w 2882981"/>
              <a:gd name="connsiteY19-12148" fmla="*/ 52944 h 2128749"/>
              <a:gd name="connsiteX20-12149" fmla="*/ 2394836 w 2882981"/>
              <a:gd name="connsiteY20-12150" fmla="*/ 25309 h 2128749"/>
              <a:gd name="connsiteX21-12151" fmla="*/ 2338840 w 2882981"/>
              <a:gd name="connsiteY21-12152" fmla="*/ 52128 h 2128749"/>
              <a:gd name="connsiteX22-12153" fmla="*/ 2134362 w 2882981"/>
              <a:gd name="connsiteY22-12154" fmla="*/ 30301 h 2128749"/>
              <a:gd name="connsiteX23-12155" fmla="*/ 2100397 w 2882981"/>
              <a:gd name="connsiteY23-12156" fmla="*/ 12834 h 2128749"/>
              <a:gd name="connsiteX24-12157" fmla="*/ 2113096 w 2882981"/>
              <a:gd name="connsiteY24-12158" fmla="*/ 12834 h 2128749"/>
              <a:gd name="connsiteX25-12159" fmla="*/ 1789269 w 2882981"/>
              <a:gd name="connsiteY25-12160" fmla="*/ 89836 h 2128749"/>
              <a:gd name="connsiteX26-12161" fmla="*/ 1733574 w 2882981"/>
              <a:gd name="connsiteY26-12162" fmla="*/ 156992 h 2128749"/>
              <a:gd name="connsiteX27-12163" fmla="*/ 1727574 w 2882981"/>
              <a:gd name="connsiteY27-12164" fmla="*/ 427062 h 2128749"/>
              <a:gd name="connsiteX28-12165" fmla="*/ 1544835 w 2882981"/>
              <a:gd name="connsiteY28-12166" fmla="*/ 630287 h 2128749"/>
              <a:gd name="connsiteX29-12167" fmla="*/ 1310660 w 2882981"/>
              <a:gd name="connsiteY29-12168" fmla="*/ 764102 h 2128749"/>
              <a:gd name="connsiteX30-12169" fmla="*/ 1187996 w 2882981"/>
              <a:gd name="connsiteY30-12170" fmla="*/ 875614 h 2128749"/>
              <a:gd name="connsiteX31-12171" fmla="*/ 719645 w 2882981"/>
              <a:gd name="connsiteY31-12172" fmla="*/ 998277 h 2128749"/>
              <a:gd name="connsiteX32-12173" fmla="*/ 652738 w 2882981"/>
              <a:gd name="connsiteY32-12174" fmla="*/ 1054034 h 2128749"/>
              <a:gd name="connsiteX33-12175" fmla="*/ 518923 w 2882981"/>
              <a:gd name="connsiteY33-12176" fmla="*/ 1377419 h 2128749"/>
              <a:gd name="connsiteX34-12177" fmla="*/ 206689 w 2882981"/>
              <a:gd name="connsiteY34-12178" fmla="*/ 1544687 h 2128749"/>
              <a:gd name="connsiteX35-12179" fmla="*/ 184386 w 2882981"/>
              <a:gd name="connsiteY35-12180" fmla="*/ 1689653 h 2128749"/>
              <a:gd name="connsiteX36-12181" fmla="*/ 106328 w 2882981"/>
              <a:gd name="connsiteY36-12182" fmla="*/ 1801165 h 2128749"/>
              <a:gd name="connsiteX37-12183" fmla="*/ 15571 w 2882981"/>
              <a:gd name="connsiteY37-12184" fmla="*/ 1880004 h 2128749"/>
              <a:gd name="connsiteX38-12185" fmla="*/ 12901 w 2882981"/>
              <a:gd name="connsiteY38-12186" fmla="*/ 1883193 h 2128749"/>
              <a:gd name="connsiteX39-12187" fmla="*/ 84025 w 2882981"/>
              <a:gd name="connsiteY39-12188" fmla="*/ 2035341 h 2128749"/>
              <a:gd name="connsiteX0-12189" fmla="*/ 99690 w 2882981"/>
              <a:gd name="connsiteY0-12190" fmla="*/ 2043364 h 2128749"/>
              <a:gd name="connsiteX1-12191" fmla="*/ 340632 w 2882981"/>
              <a:gd name="connsiteY1-12192" fmla="*/ 2118632 h 2128749"/>
              <a:gd name="connsiteX2-12193" fmla="*/ 667153 w 2882981"/>
              <a:gd name="connsiteY2-12194" fmla="*/ 2118366 h 2128749"/>
              <a:gd name="connsiteX3-12195" fmla="*/ 1020406 w 2882981"/>
              <a:gd name="connsiteY3-12196" fmla="*/ 2056335 h 2128749"/>
              <a:gd name="connsiteX4-12197" fmla="*/ 1043030 w 2882981"/>
              <a:gd name="connsiteY4-12198" fmla="*/ 1622746 h 2128749"/>
              <a:gd name="connsiteX5-12199" fmla="*/ 2158152 w 2882981"/>
              <a:gd name="connsiteY5-12200" fmla="*/ 1611595 h 2128749"/>
              <a:gd name="connsiteX6-12201" fmla="*/ 2147001 w 2882981"/>
              <a:gd name="connsiteY6-12202" fmla="*/ 764102 h 2128749"/>
              <a:gd name="connsiteX7-12203" fmla="*/ 2303118 w 2882981"/>
              <a:gd name="connsiteY7-12204" fmla="*/ 663741 h 2128749"/>
              <a:gd name="connsiteX8-12205" fmla="*/ 2648806 w 2882981"/>
              <a:gd name="connsiteY8-12206" fmla="*/ 485321 h 2128749"/>
              <a:gd name="connsiteX9-12207" fmla="*/ 2882981 w 2882981"/>
              <a:gd name="connsiteY9-12208" fmla="*/ 496473 h 2128749"/>
              <a:gd name="connsiteX10-12209" fmla="*/ 2882981 w 2882981"/>
              <a:gd name="connsiteY10-12210" fmla="*/ 329204 h 2128749"/>
              <a:gd name="connsiteX11-12211" fmla="*/ 2838377 w 2882981"/>
              <a:gd name="connsiteY11-12212" fmla="*/ 251146 h 2128749"/>
              <a:gd name="connsiteX12-12213" fmla="*/ 2827225 w 2882981"/>
              <a:gd name="connsiteY12-12214" fmla="*/ 217692 h 2128749"/>
              <a:gd name="connsiteX13-12215" fmla="*/ 2771469 w 2882981"/>
              <a:gd name="connsiteY13-12216" fmla="*/ 195390 h 2128749"/>
              <a:gd name="connsiteX14-12217" fmla="*/ 2760318 w 2882981"/>
              <a:gd name="connsiteY14-12218" fmla="*/ 239995 h 2128749"/>
              <a:gd name="connsiteX15-12219" fmla="*/ 2637655 w 2882981"/>
              <a:gd name="connsiteY15-12220" fmla="*/ 206541 h 2128749"/>
              <a:gd name="connsiteX16-12221" fmla="*/ 2603610 w 2882981"/>
              <a:gd name="connsiteY16-12222" fmla="*/ 214352 h 2128749"/>
              <a:gd name="connsiteX17-12223" fmla="*/ 2519225 w 2882981"/>
              <a:gd name="connsiteY17-12224" fmla="*/ 224256 h 2128749"/>
              <a:gd name="connsiteX18-12225" fmla="*/ 2510075 w 2882981"/>
              <a:gd name="connsiteY18-12226" fmla="*/ 130308 h 2128749"/>
              <a:gd name="connsiteX19-12227" fmla="*/ 2444581 w 2882981"/>
              <a:gd name="connsiteY19-12228" fmla="*/ 52944 h 2128749"/>
              <a:gd name="connsiteX20-12229" fmla="*/ 2394836 w 2882981"/>
              <a:gd name="connsiteY20-12230" fmla="*/ 25309 h 2128749"/>
              <a:gd name="connsiteX21-12231" fmla="*/ 2338840 w 2882981"/>
              <a:gd name="connsiteY21-12232" fmla="*/ 52128 h 2128749"/>
              <a:gd name="connsiteX22-12233" fmla="*/ 2134362 w 2882981"/>
              <a:gd name="connsiteY22-12234" fmla="*/ 30301 h 2128749"/>
              <a:gd name="connsiteX23-12235" fmla="*/ 2100397 w 2882981"/>
              <a:gd name="connsiteY23-12236" fmla="*/ 12834 h 2128749"/>
              <a:gd name="connsiteX24-12237" fmla="*/ 2113096 w 2882981"/>
              <a:gd name="connsiteY24-12238" fmla="*/ 12834 h 2128749"/>
              <a:gd name="connsiteX25-12239" fmla="*/ 1789269 w 2882981"/>
              <a:gd name="connsiteY25-12240" fmla="*/ 89836 h 2128749"/>
              <a:gd name="connsiteX26-12241" fmla="*/ 1733574 w 2882981"/>
              <a:gd name="connsiteY26-12242" fmla="*/ 156992 h 2128749"/>
              <a:gd name="connsiteX27-12243" fmla="*/ 1727574 w 2882981"/>
              <a:gd name="connsiteY27-12244" fmla="*/ 427062 h 2128749"/>
              <a:gd name="connsiteX28-12245" fmla="*/ 1544835 w 2882981"/>
              <a:gd name="connsiteY28-12246" fmla="*/ 630287 h 2128749"/>
              <a:gd name="connsiteX29-12247" fmla="*/ 1310660 w 2882981"/>
              <a:gd name="connsiteY29-12248" fmla="*/ 764102 h 2128749"/>
              <a:gd name="connsiteX30-12249" fmla="*/ 1187996 w 2882981"/>
              <a:gd name="connsiteY30-12250" fmla="*/ 875614 h 2128749"/>
              <a:gd name="connsiteX31-12251" fmla="*/ 719645 w 2882981"/>
              <a:gd name="connsiteY31-12252" fmla="*/ 998277 h 2128749"/>
              <a:gd name="connsiteX32-12253" fmla="*/ 652738 w 2882981"/>
              <a:gd name="connsiteY32-12254" fmla="*/ 1054034 h 2128749"/>
              <a:gd name="connsiteX33-12255" fmla="*/ 518923 w 2882981"/>
              <a:gd name="connsiteY33-12256" fmla="*/ 1377419 h 2128749"/>
              <a:gd name="connsiteX34-12257" fmla="*/ 206689 w 2882981"/>
              <a:gd name="connsiteY34-12258" fmla="*/ 1544687 h 2128749"/>
              <a:gd name="connsiteX35-12259" fmla="*/ 184386 w 2882981"/>
              <a:gd name="connsiteY35-12260" fmla="*/ 1689653 h 2128749"/>
              <a:gd name="connsiteX36-12261" fmla="*/ 106328 w 2882981"/>
              <a:gd name="connsiteY36-12262" fmla="*/ 1801165 h 2128749"/>
              <a:gd name="connsiteX37-12263" fmla="*/ 15571 w 2882981"/>
              <a:gd name="connsiteY37-12264" fmla="*/ 1880004 h 2128749"/>
              <a:gd name="connsiteX38-12265" fmla="*/ 12901 w 2882981"/>
              <a:gd name="connsiteY38-12266" fmla="*/ 1883193 h 2128749"/>
              <a:gd name="connsiteX39-12267" fmla="*/ 84025 w 2882981"/>
              <a:gd name="connsiteY39-12268" fmla="*/ 2035341 h 2128749"/>
              <a:gd name="connsiteX0-12269" fmla="*/ 99690 w 2882981"/>
              <a:gd name="connsiteY0-12270" fmla="*/ 2043364 h 2128749"/>
              <a:gd name="connsiteX1-12271" fmla="*/ 340632 w 2882981"/>
              <a:gd name="connsiteY1-12272" fmla="*/ 2118632 h 2128749"/>
              <a:gd name="connsiteX2-12273" fmla="*/ 667153 w 2882981"/>
              <a:gd name="connsiteY2-12274" fmla="*/ 2118366 h 2128749"/>
              <a:gd name="connsiteX3-12275" fmla="*/ 1020406 w 2882981"/>
              <a:gd name="connsiteY3-12276" fmla="*/ 2056335 h 2128749"/>
              <a:gd name="connsiteX4-12277" fmla="*/ 1043030 w 2882981"/>
              <a:gd name="connsiteY4-12278" fmla="*/ 1622746 h 2128749"/>
              <a:gd name="connsiteX5-12279" fmla="*/ 2158152 w 2882981"/>
              <a:gd name="connsiteY5-12280" fmla="*/ 1611595 h 2128749"/>
              <a:gd name="connsiteX6-12281" fmla="*/ 2147001 w 2882981"/>
              <a:gd name="connsiteY6-12282" fmla="*/ 764102 h 2128749"/>
              <a:gd name="connsiteX7-12283" fmla="*/ 2303118 w 2882981"/>
              <a:gd name="connsiteY7-12284" fmla="*/ 663741 h 2128749"/>
              <a:gd name="connsiteX8-12285" fmla="*/ 2648806 w 2882981"/>
              <a:gd name="connsiteY8-12286" fmla="*/ 485321 h 2128749"/>
              <a:gd name="connsiteX9-12287" fmla="*/ 2882981 w 2882981"/>
              <a:gd name="connsiteY9-12288" fmla="*/ 496473 h 2128749"/>
              <a:gd name="connsiteX10-12289" fmla="*/ 2882981 w 2882981"/>
              <a:gd name="connsiteY10-12290" fmla="*/ 329204 h 2128749"/>
              <a:gd name="connsiteX11-12291" fmla="*/ 2838377 w 2882981"/>
              <a:gd name="connsiteY11-12292" fmla="*/ 251146 h 2128749"/>
              <a:gd name="connsiteX12-12293" fmla="*/ 2827225 w 2882981"/>
              <a:gd name="connsiteY12-12294" fmla="*/ 217692 h 2128749"/>
              <a:gd name="connsiteX13-12295" fmla="*/ 2771469 w 2882981"/>
              <a:gd name="connsiteY13-12296" fmla="*/ 195390 h 2128749"/>
              <a:gd name="connsiteX14-12297" fmla="*/ 2760318 w 2882981"/>
              <a:gd name="connsiteY14-12298" fmla="*/ 239995 h 2128749"/>
              <a:gd name="connsiteX15-12299" fmla="*/ 2637655 w 2882981"/>
              <a:gd name="connsiteY15-12300" fmla="*/ 206541 h 2128749"/>
              <a:gd name="connsiteX16-12301" fmla="*/ 2603610 w 2882981"/>
              <a:gd name="connsiteY16-12302" fmla="*/ 214352 h 2128749"/>
              <a:gd name="connsiteX17-12303" fmla="*/ 2519225 w 2882981"/>
              <a:gd name="connsiteY17-12304" fmla="*/ 224256 h 2128749"/>
              <a:gd name="connsiteX18-12305" fmla="*/ 2510075 w 2882981"/>
              <a:gd name="connsiteY18-12306" fmla="*/ 130308 h 2128749"/>
              <a:gd name="connsiteX19-12307" fmla="*/ 2444581 w 2882981"/>
              <a:gd name="connsiteY19-12308" fmla="*/ 52944 h 2128749"/>
              <a:gd name="connsiteX20-12309" fmla="*/ 2394836 w 2882981"/>
              <a:gd name="connsiteY20-12310" fmla="*/ 25309 h 2128749"/>
              <a:gd name="connsiteX21-12311" fmla="*/ 2338840 w 2882981"/>
              <a:gd name="connsiteY21-12312" fmla="*/ 52128 h 2128749"/>
              <a:gd name="connsiteX22-12313" fmla="*/ 2134362 w 2882981"/>
              <a:gd name="connsiteY22-12314" fmla="*/ 30301 h 2128749"/>
              <a:gd name="connsiteX23-12315" fmla="*/ 2100397 w 2882981"/>
              <a:gd name="connsiteY23-12316" fmla="*/ 12834 h 2128749"/>
              <a:gd name="connsiteX24-12317" fmla="*/ 2113096 w 2882981"/>
              <a:gd name="connsiteY24-12318" fmla="*/ 12834 h 2128749"/>
              <a:gd name="connsiteX25-12319" fmla="*/ 1789269 w 2882981"/>
              <a:gd name="connsiteY25-12320" fmla="*/ 89836 h 2128749"/>
              <a:gd name="connsiteX26-12321" fmla="*/ 1733574 w 2882981"/>
              <a:gd name="connsiteY26-12322" fmla="*/ 156992 h 2128749"/>
              <a:gd name="connsiteX27-12323" fmla="*/ 1727574 w 2882981"/>
              <a:gd name="connsiteY27-12324" fmla="*/ 427062 h 2128749"/>
              <a:gd name="connsiteX28-12325" fmla="*/ 1544835 w 2882981"/>
              <a:gd name="connsiteY28-12326" fmla="*/ 630287 h 2128749"/>
              <a:gd name="connsiteX29-12327" fmla="*/ 1310660 w 2882981"/>
              <a:gd name="connsiteY29-12328" fmla="*/ 764102 h 2128749"/>
              <a:gd name="connsiteX30-12329" fmla="*/ 1187996 w 2882981"/>
              <a:gd name="connsiteY30-12330" fmla="*/ 875614 h 2128749"/>
              <a:gd name="connsiteX31-12331" fmla="*/ 719645 w 2882981"/>
              <a:gd name="connsiteY31-12332" fmla="*/ 998277 h 2128749"/>
              <a:gd name="connsiteX32-12333" fmla="*/ 652738 w 2882981"/>
              <a:gd name="connsiteY32-12334" fmla="*/ 1054034 h 2128749"/>
              <a:gd name="connsiteX33-12335" fmla="*/ 518923 w 2882981"/>
              <a:gd name="connsiteY33-12336" fmla="*/ 1377419 h 2128749"/>
              <a:gd name="connsiteX34-12337" fmla="*/ 206689 w 2882981"/>
              <a:gd name="connsiteY34-12338" fmla="*/ 1544687 h 2128749"/>
              <a:gd name="connsiteX35-12339" fmla="*/ 184386 w 2882981"/>
              <a:gd name="connsiteY35-12340" fmla="*/ 1689653 h 2128749"/>
              <a:gd name="connsiteX36-12341" fmla="*/ 106328 w 2882981"/>
              <a:gd name="connsiteY36-12342" fmla="*/ 1801165 h 2128749"/>
              <a:gd name="connsiteX37-12343" fmla="*/ 15571 w 2882981"/>
              <a:gd name="connsiteY37-12344" fmla="*/ 1880004 h 2128749"/>
              <a:gd name="connsiteX38-12345" fmla="*/ 12901 w 2882981"/>
              <a:gd name="connsiteY38-12346" fmla="*/ 1883193 h 2128749"/>
              <a:gd name="connsiteX39-12347" fmla="*/ 84025 w 2882981"/>
              <a:gd name="connsiteY39-12348" fmla="*/ 2035341 h 2128749"/>
              <a:gd name="connsiteX0-12349" fmla="*/ 99690 w 2882981"/>
              <a:gd name="connsiteY0-12350" fmla="*/ 2043364 h 2128749"/>
              <a:gd name="connsiteX1-12351" fmla="*/ 340632 w 2882981"/>
              <a:gd name="connsiteY1-12352" fmla="*/ 2118632 h 2128749"/>
              <a:gd name="connsiteX2-12353" fmla="*/ 667153 w 2882981"/>
              <a:gd name="connsiteY2-12354" fmla="*/ 2118366 h 2128749"/>
              <a:gd name="connsiteX3-12355" fmla="*/ 1020406 w 2882981"/>
              <a:gd name="connsiteY3-12356" fmla="*/ 2056335 h 2128749"/>
              <a:gd name="connsiteX4-12357" fmla="*/ 1043030 w 2882981"/>
              <a:gd name="connsiteY4-12358" fmla="*/ 1622746 h 2128749"/>
              <a:gd name="connsiteX5-12359" fmla="*/ 2158152 w 2882981"/>
              <a:gd name="connsiteY5-12360" fmla="*/ 1611595 h 2128749"/>
              <a:gd name="connsiteX6-12361" fmla="*/ 2147001 w 2882981"/>
              <a:gd name="connsiteY6-12362" fmla="*/ 764102 h 2128749"/>
              <a:gd name="connsiteX7-12363" fmla="*/ 2303118 w 2882981"/>
              <a:gd name="connsiteY7-12364" fmla="*/ 663741 h 2128749"/>
              <a:gd name="connsiteX8-12365" fmla="*/ 2648806 w 2882981"/>
              <a:gd name="connsiteY8-12366" fmla="*/ 485321 h 2128749"/>
              <a:gd name="connsiteX9-12367" fmla="*/ 2882981 w 2882981"/>
              <a:gd name="connsiteY9-12368" fmla="*/ 496473 h 2128749"/>
              <a:gd name="connsiteX10-12369" fmla="*/ 2882981 w 2882981"/>
              <a:gd name="connsiteY10-12370" fmla="*/ 329204 h 2128749"/>
              <a:gd name="connsiteX11-12371" fmla="*/ 2838377 w 2882981"/>
              <a:gd name="connsiteY11-12372" fmla="*/ 251146 h 2128749"/>
              <a:gd name="connsiteX12-12373" fmla="*/ 2827225 w 2882981"/>
              <a:gd name="connsiteY12-12374" fmla="*/ 217692 h 2128749"/>
              <a:gd name="connsiteX13-12375" fmla="*/ 2771469 w 2882981"/>
              <a:gd name="connsiteY13-12376" fmla="*/ 195390 h 2128749"/>
              <a:gd name="connsiteX14-12377" fmla="*/ 2760318 w 2882981"/>
              <a:gd name="connsiteY14-12378" fmla="*/ 239995 h 2128749"/>
              <a:gd name="connsiteX15-12379" fmla="*/ 2637655 w 2882981"/>
              <a:gd name="connsiteY15-12380" fmla="*/ 206541 h 2128749"/>
              <a:gd name="connsiteX16-12381" fmla="*/ 2603610 w 2882981"/>
              <a:gd name="connsiteY16-12382" fmla="*/ 214352 h 2128749"/>
              <a:gd name="connsiteX17-12383" fmla="*/ 2519225 w 2882981"/>
              <a:gd name="connsiteY17-12384" fmla="*/ 224256 h 2128749"/>
              <a:gd name="connsiteX18-12385" fmla="*/ 2510075 w 2882981"/>
              <a:gd name="connsiteY18-12386" fmla="*/ 130308 h 2128749"/>
              <a:gd name="connsiteX19-12387" fmla="*/ 2444581 w 2882981"/>
              <a:gd name="connsiteY19-12388" fmla="*/ 52944 h 2128749"/>
              <a:gd name="connsiteX20-12389" fmla="*/ 2394836 w 2882981"/>
              <a:gd name="connsiteY20-12390" fmla="*/ 25309 h 2128749"/>
              <a:gd name="connsiteX21-12391" fmla="*/ 2338840 w 2882981"/>
              <a:gd name="connsiteY21-12392" fmla="*/ 52128 h 2128749"/>
              <a:gd name="connsiteX22-12393" fmla="*/ 2134362 w 2882981"/>
              <a:gd name="connsiteY22-12394" fmla="*/ 30301 h 2128749"/>
              <a:gd name="connsiteX23-12395" fmla="*/ 2100397 w 2882981"/>
              <a:gd name="connsiteY23-12396" fmla="*/ 12834 h 2128749"/>
              <a:gd name="connsiteX24-12397" fmla="*/ 2113096 w 2882981"/>
              <a:gd name="connsiteY24-12398" fmla="*/ 12834 h 2128749"/>
              <a:gd name="connsiteX25-12399" fmla="*/ 1789269 w 2882981"/>
              <a:gd name="connsiteY25-12400" fmla="*/ 89836 h 2128749"/>
              <a:gd name="connsiteX26-12401" fmla="*/ 1733574 w 2882981"/>
              <a:gd name="connsiteY26-12402" fmla="*/ 156992 h 2128749"/>
              <a:gd name="connsiteX27-12403" fmla="*/ 1727574 w 2882981"/>
              <a:gd name="connsiteY27-12404" fmla="*/ 427062 h 2128749"/>
              <a:gd name="connsiteX28-12405" fmla="*/ 1544835 w 2882981"/>
              <a:gd name="connsiteY28-12406" fmla="*/ 630287 h 2128749"/>
              <a:gd name="connsiteX29-12407" fmla="*/ 1310660 w 2882981"/>
              <a:gd name="connsiteY29-12408" fmla="*/ 764102 h 2128749"/>
              <a:gd name="connsiteX30-12409" fmla="*/ 1187996 w 2882981"/>
              <a:gd name="connsiteY30-12410" fmla="*/ 875614 h 2128749"/>
              <a:gd name="connsiteX31-12411" fmla="*/ 719645 w 2882981"/>
              <a:gd name="connsiteY31-12412" fmla="*/ 998277 h 2128749"/>
              <a:gd name="connsiteX32-12413" fmla="*/ 652738 w 2882981"/>
              <a:gd name="connsiteY32-12414" fmla="*/ 1054034 h 2128749"/>
              <a:gd name="connsiteX33-12415" fmla="*/ 518923 w 2882981"/>
              <a:gd name="connsiteY33-12416" fmla="*/ 1377419 h 2128749"/>
              <a:gd name="connsiteX34-12417" fmla="*/ 206689 w 2882981"/>
              <a:gd name="connsiteY34-12418" fmla="*/ 1544687 h 2128749"/>
              <a:gd name="connsiteX35-12419" fmla="*/ 184386 w 2882981"/>
              <a:gd name="connsiteY35-12420" fmla="*/ 1689653 h 2128749"/>
              <a:gd name="connsiteX36-12421" fmla="*/ 106328 w 2882981"/>
              <a:gd name="connsiteY36-12422" fmla="*/ 1801165 h 2128749"/>
              <a:gd name="connsiteX37-12423" fmla="*/ 15571 w 2882981"/>
              <a:gd name="connsiteY37-12424" fmla="*/ 1880004 h 2128749"/>
              <a:gd name="connsiteX38-12425" fmla="*/ 12901 w 2882981"/>
              <a:gd name="connsiteY38-12426" fmla="*/ 1883193 h 2128749"/>
              <a:gd name="connsiteX39-12427" fmla="*/ 84025 w 2882981"/>
              <a:gd name="connsiteY39-12428" fmla="*/ 2035341 h 2128749"/>
              <a:gd name="connsiteX0-12429" fmla="*/ 99690 w 2882981"/>
              <a:gd name="connsiteY0-12430" fmla="*/ 2043364 h 2128749"/>
              <a:gd name="connsiteX1-12431" fmla="*/ 340632 w 2882981"/>
              <a:gd name="connsiteY1-12432" fmla="*/ 2118632 h 2128749"/>
              <a:gd name="connsiteX2-12433" fmla="*/ 667153 w 2882981"/>
              <a:gd name="connsiteY2-12434" fmla="*/ 2118366 h 2128749"/>
              <a:gd name="connsiteX3-12435" fmla="*/ 1020406 w 2882981"/>
              <a:gd name="connsiteY3-12436" fmla="*/ 2056335 h 2128749"/>
              <a:gd name="connsiteX4-12437" fmla="*/ 1043030 w 2882981"/>
              <a:gd name="connsiteY4-12438" fmla="*/ 1622746 h 2128749"/>
              <a:gd name="connsiteX5-12439" fmla="*/ 2158152 w 2882981"/>
              <a:gd name="connsiteY5-12440" fmla="*/ 1611595 h 2128749"/>
              <a:gd name="connsiteX6-12441" fmla="*/ 2147001 w 2882981"/>
              <a:gd name="connsiteY6-12442" fmla="*/ 764102 h 2128749"/>
              <a:gd name="connsiteX7-12443" fmla="*/ 2303118 w 2882981"/>
              <a:gd name="connsiteY7-12444" fmla="*/ 663741 h 2128749"/>
              <a:gd name="connsiteX8-12445" fmla="*/ 2648806 w 2882981"/>
              <a:gd name="connsiteY8-12446" fmla="*/ 485321 h 2128749"/>
              <a:gd name="connsiteX9-12447" fmla="*/ 2882981 w 2882981"/>
              <a:gd name="connsiteY9-12448" fmla="*/ 496473 h 2128749"/>
              <a:gd name="connsiteX10-12449" fmla="*/ 2882981 w 2882981"/>
              <a:gd name="connsiteY10-12450" fmla="*/ 329204 h 2128749"/>
              <a:gd name="connsiteX11-12451" fmla="*/ 2838377 w 2882981"/>
              <a:gd name="connsiteY11-12452" fmla="*/ 251146 h 2128749"/>
              <a:gd name="connsiteX12-12453" fmla="*/ 2827225 w 2882981"/>
              <a:gd name="connsiteY12-12454" fmla="*/ 217692 h 2128749"/>
              <a:gd name="connsiteX13-12455" fmla="*/ 2771469 w 2882981"/>
              <a:gd name="connsiteY13-12456" fmla="*/ 195390 h 2128749"/>
              <a:gd name="connsiteX14-12457" fmla="*/ 2760318 w 2882981"/>
              <a:gd name="connsiteY14-12458" fmla="*/ 239995 h 2128749"/>
              <a:gd name="connsiteX15-12459" fmla="*/ 2637655 w 2882981"/>
              <a:gd name="connsiteY15-12460" fmla="*/ 206541 h 2128749"/>
              <a:gd name="connsiteX16-12461" fmla="*/ 2603610 w 2882981"/>
              <a:gd name="connsiteY16-12462" fmla="*/ 214352 h 2128749"/>
              <a:gd name="connsiteX17-12463" fmla="*/ 2519225 w 2882981"/>
              <a:gd name="connsiteY17-12464" fmla="*/ 224256 h 2128749"/>
              <a:gd name="connsiteX18-12465" fmla="*/ 2510075 w 2882981"/>
              <a:gd name="connsiteY18-12466" fmla="*/ 130308 h 2128749"/>
              <a:gd name="connsiteX19-12467" fmla="*/ 2444581 w 2882981"/>
              <a:gd name="connsiteY19-12468" fmla="*/ 52944 h 2128749"/>
              <a:gd name="connsiteX20-12469" fmla="*/ 2394836 w 2882981"/>
              <a:gd name="connsiteY20-12470" fmla="*/ 25309 h 2128749"/>
              <a:gd name="connsiteX21-12471" fmla="*/ 2338840 w 2882981"/>
              <a:gd name="connsiteY21-12472" fmla="*/ 52128 h 2128749"/>
              <a:gd name="connsiteX22-12473" fmla="*/ 2134362 w 2882981"/>
              <a:gd name="connsiteY22-12474" fmla="*/ 30301 h 2128749"/>
              <a:gd name="connsiteX23-12475" fmla="*/ 2100397 w 2882981"/>
              <a:gd name="connsiteY23-12476" fmla="*/ 12834 h 2128749"/>
              <a:gd name="connsiteX24-12477" fmla="*/ 2113096 w 2882981"/>
              <a:gd name="connsiteY24-12478" fmla="*/ 12834 h 2128749"/>
              <a:gd name="connsiteX25-12479" fmla="*/ 1789269 w 2882981"/>
              <a:gd name="connsiteY25-12480" fmla="*/ 89836 h 2128749"/>
              <a:gd name="connsiteX26-12481" fmla="*/ 1733574 w 2882981"/>
              <a:gd name="connsiteY26-12482" fmla="*/ 156992 h 2128749"/>
              <a:gd name="connsiteX27-12483" fmla="*/ 1727574 w 2882981"/>
              <a:gd name="connsiteY27-12484" fmla="*/ 427062 h 2128749"/>
              <a:gd name="connsiteX28-12485" fmla="*/ 1544835 w 2882981"/>
              <a:gd name="connsiteY28-12486" fmla="*/ 630287 h 2128749"/>
              <a:gd name="connsiteX29-12487" fmla="*/ 1310660 w 2882981"/>
              <a:gd name="connsiteY29-12488" fmla="*/ 764102 h 2128749"/>
              <a:gd name="connsiteX30-12489" fmla="*/ 1187996 w 2882981"/>
              <a:gd name="connsiteY30-12490" fmla="*/ 875614 h 2128749"/>
              <a:gd name="connsiteX31-12491" fmla="*/ 719645 w 2882981"/>
              <a:gd name="connsiteY31-12492" fmla="*/ 998277 h 2128749"/>
              <a:gd name="connsiteX32-12493" fmla="*/ 652738 w 2882981"/>
              <a:gd name="connsiteY32-12494" fmla="*/ 1054034 h 2128749"/>
              <a:gd name="connsiteX33-12495" fmla="*/ 518923 w 2882981"/>
              <a:gd name="connsiteY33-12496" fmla="*/ 1377419 h 2128749"/>
              <a:gd name="connsiteX34-12497" fmla="*/ 206689 w 2882981"/>
              <a:gd name="connsiteY34-12498" fmla="*/ 1544687 h 2128749"/>
              <a:gd name="connsiteX35-12499" fmla="*/ 184386 w 2882981"/>
              <a:gd name="connsiteY35-12500" fmla="*/ 1689653 h 2128749"/>
              <a:gd name="connsiteX36-12501" fmla="*/ 106328 w 2882981"/>
              <a:gd name="connsiteY36-12502" fmla="*/ 1801165 h 2128749"/>
              <a:gd name="connsiteX37-12503" fmla="*/ 15571 w 2882981"/>
              <a:gd name="connsiteY37-12504" fmla="*/ 1880004 h 2128749"/>
              <a:gd name="connsiteX38-12505" fmla="*/ 12901 w 2882981"/>
              <a:gd name="connsiteY38-12506" fmla="*/ 1883193 h 2128749"/>
              <a:gd name="connsiteX39-12507" fmla="*/ 12554 w 2882981"/>
              <a:gd name="connsiteY39-12508" fmla="*/ 2035005 h 2128749"/>
              <a:gd name="connsiteX0-12509" fmla="*/ 99748 w 2883039"/>
              <a:gd name="connsiteY0-12510" fmla="*/ 2043364 h 2128749"/>
              <a:gd name="connsiteX1-12511" fmla="*/ 340690 w 2883039"/>
              <a:gd name="connsiteY1-12512" fmla="*/ 2118632 h 2128749"/>
              <a:gd name="connsiteX2-12513" fmla="*/ 667211 w 2883039"/>
              <a:gd name="connsiteY2-12514" fmla="*/ 2118366 h 2128749"/>
              <a:gd name="connsiteX3-12515" fmla="*/ 1020464 w 2883039"/>
              <a:gd name="connsiteY3-12516" fmla="*/ 2056335 h 2128749"/>
              <a:gd name="connsiteX4-12517" fmla="*/ 1043088 w 2883039"/>
              <a:gd name="connsiteY4-12518" fmla="*/ 1622746 h 2128749"/>
              <a:gd name="connsiteX5-12519" fmla="*/ 2158210 w 2883039"/>
              <a:gd name="connsiteY5-12520" fmla="*/ 1611595 h 2128749"/>
              <a:gd name="connsiteX6-12521" fmla="*/ 2147059 w 2883039"/>
              <a:gd name="connsiteY6-12522" fmla="*/ 764102 h 2128749"/>
              <a:gd name="connsiteX7-12523" fmla="*/ 2303176 w 2883039"/>
              <a:gd name="connsiteY7-12524" fmla="*/ 663741 h 2128749"/>
              <a:gd name="connsiteX8-12525" fmla="*/ 2648864 w 2883039"/>
              <a:gd name="connsiteY8-12526" fmla="*/ 485321 h 2128749"/>
              <a:gd name="connsiteX9-12527" fmla="*/ 2883039 w 2883039"/>
              <a:gd name="connsiteY9-12528" fmla="*/ 496473 h 2128749"/>
              <a:gd name="connsiteX10-12529" fmla="*/ 2883039 w 2883039"/>
              <a:gd name="connsiteY10-12530" fmla="*/ 329204 h 2128749"/>
              <a:gd name="connsiteX11-12531" fmla="*/ 2838435 w 2883039"/>
              <a:gd name="connsiteY11-12532" fmla="*/ 251146 h 2128749"/>
              <a:gd name="connsiteX12-12533" fmla="*/ 2827283 w 2883039"/>
              <a:gd name="connsiteY12-12534" fmla="*/ 217692 h 2128749"/>
              <a:gd name="connsiteX13-12535" fmla="*/ 2771527 w 2883039"/>
              <a:gd name="connsiteY13-12536" fmla="*/ 195390 h 2128749"/>
              <a:gd name="connsiteX14-12537" fmla="*/ 2760376 w 2883039"/>
              <a:gd name="connsiteY14-12538" fmla="*/ 239995 h 2128749"/>
              <a:gd name="connsiteX15-12539" fmla="*/ 2637713 w 2883039"/>
              <a:gd name="connsiteY15-12540" fmla="*/ 206541 h 2128749"/>
              <a:gd name="connsiteX16-12541" fmla="*/ 2603668 w 2883039"/>
              <a:gd name="connsiteY16-12542" fmla="*/ 214352 h 2128749"/>
              <a:gd name="connsiteX17-12543" fmla="*/ 2519283 w 2883039"/>
              <a:gd name="connsiteY17-12544" fmla="*/ 224256 h 2128749"/>
              <a:gd name="connsiteX18-12545" fmla="*/ 2510133 w 2883039"/>
              <a:gd name="connsiteY18-12546" fmla="*/ 130308 h 2128749"/>
              <a:gd name="connsiteX19-12547" fmla="*/ 2444639 w 2883039"/>
              <a:gd name="connsiteY19-12548" fmla="*/ 52944 h 2128749"/>
              <a:gd name="connsiteX20-12549" fmla="*/ 2394894 w 2883039"/>
              <a:gd name="connsiteY20-12550" fmla="*/ 25309 h 2128749"/>
              <a:gd name="connsiteX21-12551" fmla="*/ 2338898 w 2883039"/>
              <a:gd name="connsiteY21-12552" fmla="*/ 52128 h 2128749"/>
              <a:gd name="connsiteX22-12553" fmla="*/ 2134420 w 2883039"/>
              <a:gd name="connsiteY22-12554" fmla="*/ 30301 h 2128749"/>
              <a:gd name="connsiteX23-12555" fmla="*/ 2100455 w 2883039"/>
              <a:gd name="connsiteY23-12556" fmla="*/ 12834 h 2128749"/>
              <a:gd name="connsiteX24-12557" fmla="*/ 2113154 w 2883039"/>
              <a:gd name="connsiteY24-12558" fmla="*/ 12834 h 2128749"/>
              <a:gd name="connsiteX25-12559" fmla="*/ 1789327 w 2883039"/>
              <a:gd name="connsiteY25-12560" fmla="*/ 89836 h 2128749"/>
              <a:gd name="connsiteX26-12561" fmla="*/ 1733632 w 2883039"/>
              <a:gd name="connsiteY26-12562" fmla="*/ 156992 h 2128749"/>
              <a:gd name="connsiteX27-12563" fmla="*/ 1727632 w 2883039"/>
              <a:gd name="connsiteY27-12564" fmla="*/ 427062 h 2128749"/>
              <a:gd name="connsiteX28-12565" fmla="*/ 1544893 w 2883039"/>
              <a:gd name="connsiteY28-12566" fmla="*/ 630287 h 2128749"/>
              <a:gd name="connsiteX29-12567" fmla="*/ 1310718 w 2883039"/>
              <a:gd name="connsiteY29-12568" fmla="*/ 764102 h 2128749"/>
              <a:gd name="connsiteX30-12569" fmla="*/ 1188054 w 2883039"/>
              <a:gd name="connsiteY30-12570" fmla="*/ 875614 h 2128749"/>
              <a:gd name="connsiteX31-12571" fmla="*/ 719703 w 2883039"/>
              <a:gd name="connsiteY31-12572" fmla="*/ 998277 h 2128749"/>
              <a:gd name="connsiteX32-12573" fmla="*/ 652796 w 2883039"/>
              <a:gd name="connsiteY32-12574" fmla="*/ 1054034 h 2128749"/>
              <a:gd name="connsiteX33-12575" fmla="*/ 518981 w 2883039"/>
              <a:gd name="connsiteY33-12576" fmla="*/ 1377419 h 2128749"/>
              <a:gd name="connsiteX34-12577" fmla="*/ 206747 w 2883039"/>
              <a:gd name="connsiteY34-12578" fmla="*/ 1544687 h 2128749"/>
              <a:gd name="connsiteX35-12579" fmla="*/ 184444 w 2883039"/>
              <a:gd name="connsiteY35-12580" fmla="*/ 1689653 h 2128749"/>
              <a:gd name="connsiteX36-12581" fmla="*/ 106386 w 2883039"/>
              <a:gd name="connsiteY36-12582" fmla="*/ 1801165 h 2128749"/>
              <a:gd name="connsiteX37-12583" fmla="*/ 15629 w 2883039"/>
              <a:gd name="connsiteY37-12584" fmla="*/ 1880004 h 2128749"/>
              <a:gd name="connsiteX38-12585" fmla="*/ 12612 w 2883039"/>
              <a:gd name="connsiteY38-12586" fmla="*/ 2035005 h 2128749"/>
              <a:gd name="connsiteX0-12587" fmla="*/ 99748 w 2883039"/>
              <a:gd name="connsiteY0-12588" fmla="*/ 2043364 h 2128749"/>
              <a:gd name="connsiteX1-12589" fmla="*/ 340690 w 2883039"/>
              <a:gd name="connsiteY1-12590" fmla="*/ 2118632 h 2128749"/>
              <a:gd name="connsiteX2-12591" fmla="*/ 667211 w 2883039"/>
              <a:gd name="connsiteY2-12592" fmla="*/ 2118366 h 2128749"/>
              <a:gd name="connsiteX3-12593" fmla="*/ 1020464 w 2883039"/>
              <a:gd name="connsiteY3-12594" fmla="*/ 2056335 h 2128749"/>
              <a:gd name="connsiteX4-12595" fmla="*/ 1043088 w 2883039"/>
              <a:gd name="connsiteY4-12596" fmla="*/ 1622746 h 2128749"/>
              <a:gd name="connsiteX5-12597" fmla="*/ 2158210 w 2883039"/>
              <a:gd name="connsiteY5-12598" fmla="*/ 1611595 h 2128749"/>
              <a:gd name="connsiteX6-12599" fmla="*/ 2147059 w 2883039"/>
              <a:gd name="connsiteY6-12600" fmla="*/ 764102 h 2128749"/>
              <a:gd name="connsiteX7-12601" fmla="*/ 2303176 w 2883039"/>
              <a:gd name="connsiteY7-12602" fmla="*/ 663741 h 2128749"/>
              <a:gd name="connsiteX8-12603" fmla="*/ 2648864 w 2883039"/>
              <a:gd name="connsiteY8-12604" fmla="*/ 485321 h 2128749"/>
              <a:gd name="connsiteX9-12605" fmla="*/ 2883039 w 2883039"/>
              <a:gd name="connsiteY9-12606" fmla="*/ 496473 h 2128749"/>
              <a:gd name="connsiteX10-12607" fmla="*/ 2883039 w 2883039"/>
              <a:gd name="connsiteY10-12608" fmla="*/ 329204 h 2128749"/>
              <a:gd name="connsiteX11-12609" fmla="*/ 2838435 w 2883039"/>
              <a:gd name="connsiteY11-12610" fmla="*/ 251146 h 2128749"/>
              <a:gd name="connsiteX12-12611" fmla="*/ 2827283 w 2883039"/>
              <a:gd name="connsiteY12-12612" fmla="*/ 217692 h 2128749"/>
              <a:gd name="connsiteX13-12613" fmla="*/ 2771527 w 2883039"/>
              <a:gd name="connsiteY13-12614" fmla="*/ 195390 h 2128749"/>
              <a:gd name="connsiteX14-12615" fmla="*/ 2760376 w 2883039"/>
              <a:gd name="connsiteY14-12616" fmla="*/ 239995 h 2128749"/>
              <a:gd name="connsiteX15-12617" fmla="*/ 2637713 w 2883039"/>
              <a:gd name="connsiteY15-12618" fmla="*/ 206541 h 2128749"/>
              <a:gd name="connsiteX16-12619" fmla="*/ 2549412 w 2883039"/>
              <a:gd name="connsiteY16-12620" fmla="*/ 194762 h 2128749"/>
              <a:gd name="connsiteX17-12621" fmla="*/ 2519283 w 2883039"/>
              <a:gd name="connsiteY17-12622" fmla="*/ 224256 h 2128749"/>
              <a:gd name="connsiteX18-12623" fmla="*/ 2510133 w 2883039"/>
              <a:gd name="connsiteY18-12624" fmla="*/ 130308 h 2128749"/>
              <a:gd name="connsiteX19-12625" fmla="*/ 2444639 w 2883039"/>
              <a:gd name="connsiteY19-12626" fmla="*/ 52944 h 2128749"/>
              <a:gd name="connsiteX20-12627" fmla="*/ 2394894 w 2883039"/>
              <a:gd name="connsiteY20-12628" fmla="*/ 25309 h 2128749"/>
              <a:gd name="connsiteX21-12629" fmla="*/ 2338898 w 2883039"/>
              <a:gd name="connsiteY21-12630" fmla="*/ 52128 h 2128749"/>
              <a:gd name="connsiteX22-12631" fmla="*/ 2134420 w 2883039"/>
              <a:gd name="connsiteY22-12632" fmla="*/ 30301 h 2128749"/>
              <a:gd name="connsiteX23-12633" fmla="*/ 2100455 w 2883039"/>
              <a:gd name="connsiteY23-12634" fmla="*/ 12834 h 2128749"/>
              <a:gd name="connsiteX24-12635" fmla="*/ 2113154 w 2883039"/>
              <a:gd name="connsiteY24-12636" fmla="*/ 12834 h 2128749"/>
              <a:gd name="connsiteX25-12637" fmla="*/ 1789327 w 2883039"/>
              <a:gd name="connsiteY25-12638" fmla="*/ 89836 h 2128749"/>
              <a:gd name="connsiteX26-12639" fmla="*/ 1733632 w 2883039"/>
              <a:gd name="connsiteY26-12640" fmla="*/ 156992 h 2128749"/>
              <a:gd name="connsiteX27-12641" fmla="*/ 1727632 w 2883039"/>
              <a:gd name="connsiteY27-12642" fmla="*/ 427062 h 2128749"/>
              <a:gd name="connsiteX28-12643" fmla="*/ 1544893 w 2883039"/>
              <a:gd name="connsiteY28-12644" fmla="*/ 630287 h 2128749"/>
              <a:gd name="connsiteX29-12645" fmla="*/ 1310718 w 2883039"/>
              <a:gd name="connsiteY29-12646" fmla="*/ 764102 h 2128749"/>
              <a:gd name="connsiteX30-12647" fmla="*/ 1188054 w 2883039"/>
              <a:gd name="connsiteY30-12648" fmla="*/ 875614 h 2128749"/>
              <a:gd name="connsiteX31-12649" fmla="*/ 719703 w 2883039"/>
              <a:gd name="connsiteY31-12650" fmla="*/ 998277 h 2128749"/>
              <a:gd name="connsiteX32-12651" fmla="*/ 652796 w 2883039"/>
              <a:gd name="connsiteY32-12652" fmla="*/ 1054034 h 2128749"/>
              <a:gd name="connsiteX33-12653" fmla="*/ 518981 w 2883039"/>
              <a:gd name="connsiteY33-12654" fmla="*/ 1377419 h 2128749"/>
              <a:gd name="connsiteX34-12655" fmla="*/ 206747 w 2883039"/>
              <a:gd name="connsiteY34-12656" fmla="*/ 1544687 h 2128749"/>
              <a:gd name="connsiteX35-12657" fmla="*/ 184444 w 2883039"/>
              <a:gd name="connsiteY35-12658" fmla="*/ 1689653 h 2128749"/>
              <a:gd name="connsiteX36-12659" fmla="*/ 106386 w 2883039"/>
              <a:gd name="connsiteY36-12660" fmla="*/ 1801165 h 2128749"/>
              <a:gd name="connsiteX37-12661" fmla="*/ 15629 w 2883039"/>
              <a:gd name="connsiteY37-12662" fmla="*/ 1880004 h 2128749"/>
              <a:gd name="connsiteX38-12663" fmla="*/ 12612 w 2883039"/>
              <a:gd name="connsiteY38-12664" fmla="*/ 2035005 h 2128749"/>
              <a:gd name="connsiteX0-12665" fmla="*/ 99748 w 2883039"/>
              <a:gd name="connsiteY0-12666" fmla="*/ 2043364 h 2128749"/>
              <a:gd name="connsiteX1-12667" fmla="*/ 340690 w 2883039"/>
              <a:gd name="connsiteY1-12668" fmla="*/ 2118632 h 2128749"/>
              <a:gd name="connsiteX2-12669" fmla="*/ 667211 w 2883039"/>
              <a:gd name="connsiteY2-12670" fmla="*/ 2118366 h 2128749"/>
              <a:gd name="connsiteX3-12671" fmla="*/ 1020464 w 2883039"/>
              <a:gd name="connsiteY3-12672" fmla="*/ 2056335 h 2128749"/>
              <a:gd name="connsiteX4-12673" fmla="*/ 1043088 w 2883039"/>
              <a:gd name="connsiteY4-12674" fmla="*/ 1622746 h 2128749"/>
              <a:gd name="connsiteX5-12675" fmla="*/ 2158210 w 2883039"/>
              <a:gd name="connsiteY5-12676" fmla="*/ 1611595 h 2128749"/>
              <a:gd name="connsiteX6-12677" fmla="*/ 2147059 w 2883039"/>
              <a:gd name="connsiteY6-12678" fmla="*/ 764102 h 2128749"/>
              <a:gd name="connsiteX7-12679" fmla="*/ 2303176 w 2883039"/>
              <a:gd name="connsiteY7-12680" fmla="*/ 663741 h 2128749"/>
              <a:gd name="connsiteX8-12681" fmla="*/ 2648864 w 2883039"/>
              <a:gd name="connsiteY8-12682" fmla="*/ 485321 h 2128749"/>
              <a:gd name="connsiteX9-12683" fmla="*/ 2883039 w 2883039"/>
              <a:gd name="connsiteY9-12684" fmla="*/ 496473 h 2128749"/>
              <a:gd name="connsiteX10-12685" fmla="*/ 2883039 w 2883039"/>
              <a:gd name="connsiteY10-12686" fmla="*/ 329204 h 2128749"/>
              <a:gd name="connsiteX11-12687" fmla="*/ 2838435 w 2883039"/>
              <a:gd name="connsiteY11-12688" fmla="*/ 251146 h 2128749"/>
              <a:gd name="connsiteX12-12689" fmla="*/ 2827283 w 2883039"/>
              <a:gd name="connsiteY12-12690" fmla="*/ 217692 h 2128749"/>
              <a:gd name="connsiteX13-12691" fmla="*/ 2771527 w 2883039"/>
              <a:gd name="connsiteY13-12692" fmla="*/ 195390 h 2128749"/>
              <a:gd name="connsiteX14-12693" fmla="*/ 2760376 w 2883039"/>
              <a:gd name="connsiteY14-12694" fmla="*/ 239995 h 2128749"/>
              <a:gd name="connsiteX15-12695" fmla="*/ 2637713 w 2883039"/>
              <a:gd name="connsiteY15-12696" fmla="*/ 206541 h 2128749"/>
              <a:gd name="connsiteX16-12697" fmla="*/ 2549412 w 2883039"/>
              <a:gd name="connsiteY16-12698" fmla="*/ 194762 h 2128749"/>
              <a:gd name="connsiteX17-12699" fmla="*/ 2525312 w 2883039"/>
              <a:gd name="connsiteY17-12700" fmla="*/ 296090 h 2128749"/>
              <a:gd name="connsiteX18-12701" fmla="*/ 2510133 w 2883039"/>
              <a:gd name="connsiteY18-12702" fmla="*/ 130308 h 2128749"/>
              <a:gd name="connsiteX19-12703" fmla="*/ 2444639 w 2883039"/>
              <a:gd name="connsiteY19-12704" fmla="*/ 52944 h 2128749"/>
              <a:gd name="connsiteX20-12705" fmla="*/ 2394894 w 2883039"/>
              <a:gd name="connsiteY20-12706" fmla="*/ 25309 h 2128749"/>
              <a:gd name="connsiteX21-12707" fmla="*/ 2338898 w 2883039"/>
              <a:gd name="connsiteY21-12708" fmla="*/ 52128 h 2128749"/>
              <a:gd name="connsiteX22-12709" fmla="*/ 2134420 w 2883039"/>
              <a:gd name="connsiteY22-12710" fmla="*/ 30301 h 2128749"/>
              <a:gd name="connsiteX23-12711" fmla="*/ 2100455 w 2883039"/>
              <a:gd name="connsiteY23-12712" fmla="*/ 12834 h 2128749"/>
              <a:gd name="connsiteX24-12713" fmla="*/ 2113154 w 2883039"/>
              <a:gd name="connsiteY24-12714" fmla="*/ 12834 h 2128749"/>
              <a:gd name="connsiteX25-12715" fmla="*/ 1789327 w 2883039"/>
              <a:gd name="connsiteY25-12716" fmla="*/ 89836 h 2128749"/>
              <a:gd name="connsiteX26-12717" fmla="*/ 1733632 w 2883039"/>
              <a:gd name="connsiteY26-12718" fmla="*/ 156992 h 2128749"/>
              <a:gd name="connsiteX27-12719" fmla="*/ 1727632 w 2883039"/>
              <a:gd name="connsiteY27-12720" fmla="*/ 427062 h 2128749"/>
              <a:gd name="connsiteX28-12721" fmla="*/ 1544893 w 2883039"/>
              <a:gd name="connsiteY28-12722" fmla="*/ 630287 h 2128749"/>
              <a:gd name="connsiteX29-12723" fmla="*/ 1310718 w 2883039"/>
              <a:gd name="connsiteY29-12724" fmla="*/ 764102 h 2128749"/>
              <a:gd name="connsiteX30-12725" fmla="*/ 1188054 w 2883039"/>
              <a:gd name="connsiteY30-12726" fmla="*/ 875614 h 2128749"/>
              <a:gd name="connsiteX31-12727" fmla="*/ 719703 w 2883039"/>
              <a:gd name="connsiteY31-12728" fmla="*/ 998277 h 2128749"/>
              <a:gd name="connsiteX32-12729" fmla="*/ 652796 w 2883039"/>
              <a:gd name="connsiteY32-12730" fmla="*/ 1054034 h 2128749"/>
              <a:gd name="connsiteX33-12731" fmla="*/ 518981 w 2883039"/>
              <a:gd name="connsiteY33-12732" fmla="*/ 1377419 h 2128749"/>
              <a:gd name="connsiteX34-12733" fmla="*/ 206747 w 2883039"/>
              <a:gd name="connsiteY34-12734" fmla="*/ 1544687 h 2128749"/>
              <a:gd name="connsiteX35-12735" fmla="*/ 184444 w 2883039"/>
              <a:gd name="connsiteY35-12736" fmla="*/ 1689653 h 2128749"/>
              <a:gd name="connsiteX36-12737" fmla="*/ 106386 w 2883039"/>
              <a:gd name="connsiteY36-12738" fmla="*/ 1801165 h 2128749"/>
              <a:gd name="connsiteX37-12739" fmla="*/ 15629 w 2883039"/>
              <a:gd name="connsiteY37-12740" fmla="*/ 1880004 h 2128749"/>
              <a:gd name="connsiteX38-12741" fmla="*/ 12612 w 2883039"/>
              <a:gd name="connsiteY38-12742" fmla="*/ 2035005 h 2128749"/>
              <a:gd name="connsiteX0-12743" fmla="*/ 99748 w 2883039"/>
              <a:gd name="connsiteY0-12744" fmla="*/ 2043364 h 2128749"/>
              <a:gd name="connsiteX1-12745" fmla="*/ 340690 w 2883039"/>
              <a:gd name="connsiteY1-12746" fmla="*/ 2118632 h 2128749"/>
              <a:gd name="connsiteX2-12747" fmla="*/ 667211 w 2883039"/>
              <a:gd name="connsiteY2-12748" fmla="*/ 2118366 h 2128749"/>
              <a:gd name="connsiteX3-12749" fmla="*/ 1020464 w 2883039"/>
              <a:gd name="connsiteY3-12750" fmla="*/ 2056335 h 2128749"/>
              <a:gd name="connsiteX4-12751" fmla="*/ 1043088 w 2883039"/>
              <a:gd name="connsiteY4-12752" fmla="*/ 1622746 h 2128749"/>
              <a:gd name="connsiteX5-12753" fmla="*/ 2158210 w 2883039"/>
              <a:gd name="connsiteY5-12754" fmla="*/ 1611595 h 2128749"/>
              <a:gd name="connsiteX6-12755" fmla="*/ 2147059 w 2883039"/>
              <a:gd name="connsiteY6-12756" fmla="*/ 764102 h 2128749"/>
              <a:gd name="connsiteX7-12757" fmla="*/ 2303176 w 2883039"/>
              <a:gd name="connsiteY7-12758" fmla="*/ 663741 h 2128749"/>
              <a:gd name="connsiteX8-12759" fmla="*/ 2648864 w 2883039"/>
              <a:gd name="connsiteY8-12760" fmla="*/ 485321 h 2128749"/>
              <a:gd name="connsiteX9-12761" fmla="*/ 2883039 w 2883039"/>
              <a:gd name="connsiteY9-12762" fmla="*/ 496473 h 2128749"/>
              <a:gd name="connsiteX10-12763" fmla="*/ 2883039 w 2883039"/>
              <a:gd name="connsiteY10-12764" fmla="*/ 329204 h 2128749"/>
              <a:gd name="connsiteX11-12765" fmla="*/ 2838435 w 2883039"/>
              <a:gd name="connsiteY11-12766" fmla="*/ 251146 h 2128749"/>
              <a:gd name="connsiteX12-12767" fmla="*/ 2827283 w 2883039"/>
              <a:gd name="connsiteY12-12768" fmla="*/ 217692 h 2128749"/>
              <a:gd name="connsiteX13-12769" fmla="*/ 2771527 w 2883039"/>
              <a:gd name="connsiteY13-12770" fmla="*/ 195390 h 2128749"/>
              <a:gd name="connsiteX14-12771" fmla="*/ 2760376 w 2883039"/>
              <a:gd name="connsiteY14-12772" fmla="*/ 239995 h 2128749"/>
              <a:gd name="connsiteX15-12773" fmla="*/ 2637713 w 2883039"/>
              <a:gd name="connsiteY15-12774" fmla="*/ 206541 h 2128749"/>
              <a:gd name="connsiteX16-12775" fmla="*/ 2549412 w 2883039"/>
              <a:gd name="connsiteY16-12776" fmla="*/ 194762 h 2128749"/>
              <a:gd name="connsiteX17-12777" fmla="*/ 2525312 w 2883039"/>
              <a:gd name="connsiteY17-12778" fmla="*/ 296090 h 2128749"/>
              <a:gd name="connsiteX18-12779" fmla="*/ 2469160 w 2883039"/>
              <a:gd name="connsiteY18-12780" fmla="*/ 269492 h 2128749"/>
              <a:gd name="connsiteX19-12781" fmla="*/ 2510133 w 2883039"/>
              <a:gd name="connsiteY19-12782" fmla="*/ 130308 h 2128749"/>
              <a:gd name="connsiteX20-12783" fmla="*/ 2444639 w 2883039"/>
              <a:gd name="connsiteY20-12784" fmla="*/ 52944 h 2128749"/>
              <a:gd name="connsiteX21-12785" fmla="*/ 2394894 w 2883039"/>
              <a:gd name="connsiteY21-12786" fmla="*/ 25309 h 2128749"/>
              <a:gd name="connsiteX22-12787" fmla="*/ 2338898 w 2883039"/>
              <a:gd name="connsiteY22-12788" fmla="*/ 52128 h 2128749"/>
              <a:gd name="connsiteX23-12789" fmla="*/ 2134420 w 2883039"/>
              <a:gd name="connsiteY23-12790" fmla="*/ 30301 h 2128749"/>
              <a:gd name="connsiteX24-12791" fmla="*/ 2100455 w 2883039"/>
              <a:gd name="connsiteY24-12792" fmla="*/ 12834 h 2128749"/>
              <a:gd name="connsiteX25-12793" fmla="*/ 2113154 w 2883039"/>
              <a:gd name="connsiteY25-12794" fmla="*/ 12834 h 2128749"/>
              <a:gd name="connsiteX26-12795" fmla="*/ 1789327 w 2883039"/>
              <a:gd name="connsiteY26-12796" fmla="*/ 89836 h 2128749"/>
              <a:gd name="connsiteX27-12797" fmla="*/ 1733632 w 2883039"/>
              <a:gd name="connsiteY27-12798" fmla="*/ 156992 h 2128749"/>
              <a:gd name="connsiteX28-12799" fmla="*/ 1727632 w 2883039"/>
              <a:gd name="connsiteY28-12800" fmla="*/ 427062 h 2128749"/>
              <a:gd name="connsiteX29-12801" fmla="*/ 1544893 w 2883039"/>
              <a:gd name="connsiteY29-12802" fmla="*/ 630287 h 2128749"/>
              <a:gd name="connsiteX30-12803" fmla="*/ 1310718 w 2883039"/>
              <a:gd name="connsiteY30-12804" fmla="*/ 764102 h 2128749"/>
              <a:gd name="connsiteX31-12805" fmla="*/ 1188054 w 2883039"/>
              <a:gd name="connsiteY31-12806" fmla="*/ 875614 h 2128749"/>
              <a:gd name="connsiteX32-12807" fmla="*/ 719703 w 2883039"/>
              <a:gd name="connsiteY32-12808" fmla="*/ 998277 h 2128749"/>
              <a:gd name="connsiteX33-12809" fmla="*/ 652796 w 2883039"/>
              <a:gd name="connsiteY33-12810" fmla="*/ 1054034 h 2128749"/>
              <a:gd name="connsiteX34-12811" fmla="*/ 518981 w 2883039"/>
              <a:gd name="connsiteY34-12812" fmla="*/ 1377419 h 2128749"/>
              <a:gd name="connsiteX35-12813" fmla="*/ 206747 w 2883039"/>
              <a:gd name="connsiteY35-12814" fmla="*/ 1544687 h 2128749"/>
              <a:gd name="connsiteX36-12815" fmla="*/ 184444 w 2883039"/>
              <a:gd name="connsiteY36-12816" fmla="*/ 1689653 h 2128749"/>
              <a:gd name="connsiteX37-12817" fmla="*/ 106386 w 2883039"/>
              <a:gd name="connsiteY37-12818" fmla="*/ 1801165 h 2128749"/>
              <a:gd name="connsiteX38-12819" fmla="*/ 15629 w 2883039"/>
              <a:gd name="connsiteY38-12820" fmla="*/ 1880004 h 2128749"/>
              <a:gd name="connsiteX39-12821" fmla="*/ 12612 w 2883039"/>
              <a:gd name="connsiteY39-12822" fmla="*/ 2035005 h 2128749"/>
              <a:gd name="connsiteX0-12823" fmla="*/ 99748 w 2883039"/>
              <a:gd name="connsiteY0-12824" fmla="*/ 2043364 h 2128749"/>
              <a:gd name="connsiteX1-12825" fmla="*/ 340690 w 2883039"/>
              <a:gd name="connsiteY1-12826" fmla="*/ 2118632 h 2128749"/>
              <a:gd name="connsiteX2-12827" fmla="*/ 667211 w 2883039"/>
              <a:gd name="connsiteY2-12828" fmla="*/ 2118366 h 2128749"/>
              <a:gd name="connsiteX3-12829" fmla="*/ 1020464 w 2883039"/>
              <a:gd name="connsiteY3-12830" fmla="*/ 2056335 h 2128749"/>
              <a:gd name="connsiteX4-12831" fmla="*/ 1043088 w 2883039"/>
              <a:gd name="connsiteY4-12832" fmla="*/ 1622746 h 2128749"/>
              <a:gd name="connsiteX5-12833" fmla="*/ 2158210 w 2883039"/>
              <a:gd name="connsiteY5-12834" fmla="*/ 1611595 h 2128749"/>
              <a:gd name="connsiteX6-12835" fmla="*/ 2147059 w 2883039"/>
              <a:gd name="connsiteY6-12836" fmla="*/ 764102 h 2128749"/>
              <a:gd name="connsiteX7-12837" fmla="*/ 2303176 w 2883039"/>
              <a:gd name="connsiteY7-12838" fmla="*/ 663741 h 2128749"/>
              <a:gd name="connsiteX8-12839" fmla="*/ 2648864 w 2883039"/>
              <a:gd name="connsiteY8-12840" fmla="*/ 485321 h 2128749"/>
              <a:gd name="connsiteX9-12841" fmla="*/ 2883039 w 2883039"/>
              <a:gd name="connsiteY9-12842" fmla="*/ 496473 h 2128749"/>
              <a:gd name="connsiteX10-12843" fmla="*/ 2883039 w 2883039"/>
              <a:gd name="connsiteY10-12844" fmla="*/ 329204 h 2128749"/>
              <a:gd name="connsiteX11-12845" fmla="*/ 2838435 w 2883039"/>
              <a:gd name="connsiteY11-12846" fmla="*/ 251146 h 2128749"/>
              <a:gd name="connsiteX12-12847" fmla="*/ 2827283 w 2883039"/>
              <a:gd name="connsiteY12-12848" fmla="*/ 217692 h 2128749"/>
              <a:gd name="connsiteX13-12849" fmla="*/ 2771527 w 2883039"/>
              <a:gd name="connsiteY13-12850" fmla="*/ 195390 h 2128749"/>
              <a:gd name="connsiteX14-12851" fmla="*/ 2760376 w 2883039"/>
              <a:gd name="connsiteY14-12852" fmla="*/ 239995 h 2128749"/>
              <a:gd name="connsiteX15-12853" fmla="*/ 2637713 w 2883039"/>
              <a:gd name="connsiteY15-12854" fmla="*/ 206541 h 2128749"/>
              <a:gd name="connsiteX16-12855" fmla="*/ 2549412 w 2883039"/>
              <a:gd name="connsiteY16-12856" fmla="*/ 194762 h 2128749"/>
              <a:gd name="connsiteX17-12857" fmla="*/ 2525312 w 2883039"/>
              <a:gd name="connsiteY17-12858" fmla="*/ 296090 h 2128749"/>
              <a:gd name="connsiteX18-12859" fmla="*/ 2469160 w 2883039"/>
              <a:gd name="connsiteY18-12860" fmla="*/ 269492 h 2128749"/>
              <a:gd name="connsiteX19-12861" fmla="*/ 2483005 w 2883039"/>
              <a:gd name="connsiteY19-12862" fmla="*/ 162960 h 2128749"/>
              <a:gd name="connsiteX20-12863" fmla="*/ 2444639 w 2883039"/>
              <a:gd name="connsiteY20-12864" fmla="*/ 52944 h 2128749"/>
              <a:gd name="connsiteX21-12865" fmla="*/ 2394894 w 2883039"/>
              <a:gd name="connsiteY21-12866" fmla="*/ 25309 h 2128749"/>
              <a:gd name="connsiteX22-12867" fmla="*/ 2338898 w 2883039"/>
              <a:gd name="connsiteY22-12868" fmla="*/ 52128 h 2128749"/>
              <a:gd name="connsiteX23-12869" fmla="*/ 2134420 w 2883039"/>
              <a:gd name="connsiteY23-12870" fmla="*/ 30301 h 2128749"/>
              <a:gd name="connsiteX24-12871" fmla="*/ 2100455 w 2883039"/>
              <a:gd name="connsiteY24-12872" fmla="*/ 12834 h 2128749"/>
              <a:gd name="connsiteX25-12873" fmla="*/ 2113154 w 2883039"/>
              <a:gd name="connsiteY25-12874" fmla="*/ 12834 h 2128749"/>
              <a:gd name="connsiteX26-12875" fmla="*/ 1789327 w 2883039"/>
              <a:gd name="connsiteY26-12876" fmla="*/ 89836 h 2128749"/>
              <a:gd name="connsiteX27-12877" fmla="*/ 1733632 w 2883039"/>
              <a:gd name="connsiteY27-12878" fmla="*/ 156992 h 2128749"/>
              <a:gd name="connsiteX28-12879" fmla="*/ 1727632 w 2883039"/>
              <a:gd name="connsiteY28-12880" fmla="*/ 427062 h 2128749"/>
              <a:gd name="connsiteX29-12881" fmla="*/ 1544893 w 2883039"/>
              <a:gd name="connsiteY29-12882" fmla="*/ 630287 h 2128749"/>
              <a:gd name="connsiteX30-12883" fmla="*/ 1310718 w 2883039"/>
              <a:gd name="connsiteY30-12884" fmla="*/ 764102 h 2128749"/>
              <a:gd name="connsiteX31-12885" fmla="*/ 1188054 w 2883039"/>
              <a:gd name="connsiteY31-12886" fmla="*/ 875614 h 2128749"/>
              <a:gd name="connsiteX32-12887" fmla="*/ 719703 w 2883039"/>
              <a:gd name="connsiteY32-12888" fmla="*/ 998277 h 2128749"/>
              <a:gd name="connsiteX33-12889" fmla="*/ 652796 w 2883039"/>
              <a:gd name="connsiteY33-12890" fmla="*/ 1054034 h 2128749"/>
              <a:gd name="connsiteX34-12891" fmla="*/ 518981 w 2883039"/>
              <a:gd name="connsiteY34-12892" fmla="*/ 1377419 h 2128749"/>
              <a:gd name="connsiteX35-12893" fmla="*/ 206747 w 2883039"/>
              <a:gd name="connsiteY35-12894" fmla="*/ 1544687 h 2128749"/>
              <a:gd name="connsiteX36-12895" fmla="*/ 184444 w 2883039"/>
              <a:gd name="connsiteY36-12896" fmla="*/ 1689653 h 2128749"/>
              <a:gd name="connsiteX37-12897" fmla="*/ 106386 w 2883039"/>
              <a:gd name="connsiteY37-12898" fmla="*/ 1801165 h 2128749"/>
              <a:gd name="connsiteX38-12899" fmla="*/ 15629 w 2883039"/>
              <a:gd name="connsiteY38-12900" fmla="*/ 1880004 h 2128749"/>
              <a:gd name="connsiteX39-12901" fmla="*/ 12612 w 2883039"/>
              <a:gd name="connsiteY39-12902" fmla="*/ 2035005 h 2128749"/>
              <a:gd name="connsiteX0-12903" fmla="*/ 99748 w 2883039"/>
              <a:gd name="connsiteY0-12904" fmla="*/ 2043364 h 2128749"/>
              <a:gd name="connsiteX1-12905" fmla="*/ 340690 w 2883039"/>
              <a:gd name="connsiteY1-12906" fmla="*/ 2118632 h 2128749"/>
              <a:gd name="connsiteX2-12907" fmla="*/ 667211 w 2883039"/>
              <a:gd name="connsiteY2-12908" fmla="*/ 2118366 h 2128749"/>
              <a:gd name="connsiteX3-12909" fmla="*/ 1020464 w 2883039"/>
              <a:gd name="connsiteY3-12910" fmla="*/ 2056335 h 2128749"/>
              <a:gd name="connsiteX4-12911" fmla="*/ 1043088 w 2883039"/>
              <a:gd name="connsiteY4-12912" fmla="*/ 1622746 h 2128749"/>
              <a:gd name="connsiteX5-12913" fmla="*/ 2158210 w 2883039"/>
              <a:gd name="connsiteY5-12914" fmla="*/ 1611595 h 2128749"/>
              <a:gd name="connsiteX6-12915" fmla="*/ 2147059 w 2883039"/>
              <a:gd name="connsiteY6-12916" fmla="*/ 764102 h 2128749"/>
              <a:gd name="connsiteX7-12917" fmla="*/ 2303176 w 2883039"/>
              <a:gd name="connsiteY7-12918" fmla="*/ 663741 h 2128749"/>
              <a:gd name="connsiteX8-12919" fmla="*/ 2648864 w 2883039"/>
              <a:gd name="connsiteY8-12920" fmla="*/ 485321 h 2128749"/>
              <a:gd name="connsiteX9-12921" fmla="*/ 2883039 w 2883039"/>
              <a:gd name="connsiteY9-12922" fmla="*/ 496473 h 2128749"/>
              <a:gd name="connsiteX10-12923" fmla="*/ 2883039 w 2883039"/>
              <a:gd name="connsiteY10-12924" fmla="*/ 329204 h 2128749"/>
              <a:gd name="connsiteX11-12925" fmla="*/ 2838435 w 2883039"/>
              <a:gd name="connsiteY11-12926" fmla="*/ 251146 h 2128749"/>
              <a:gd name="connsiteX12-12927" fmla="*/ 2827283 w 2883039"/>
              <a:gd name="connsiteY12-12928" fmla="*/ 217692 h 2128749"/>
              <a:gd name="connsiteX13-12929" fmla="*/ 2771527 w 2883039"/>
              <a:gd name="connsiteY13-12930" fmla="*/ 195390 h 2128749"/>
              <a:gd name="connsiteX14-12931" fmla="*/ 2760376 w 2883039"/>
              <a:gd name="connsiteY14-12932" fmla="*/ 239995 h 2128749"/>
              <a:gd name="connsiteX15-12933" fmla="*/ 2637713 w 2883039"/>
              <a:gd name="connsiteY15-12934" fmla="*/ 206541 h 2128749"/>
              <a:gd name="connsiteX16-12935" fmla="*/ 2549412 w 2883039"/>
              <a:gd name="connsiteY16-12936" fmla="*/ 194762 h 2128749"/>
              <a:gd name="connsiteX17-12937" fmla="*/ 2525312 w 2883039"/>
              <a:gd name="connsiteY17-12938" fmla="*/ 296090 h 2128749"/>
              <a:gd name="connsiteX18-12939" fmla="*/ 2469160 w 2883039"/>
              <a:gd name="connsiteY18-12940" fmla="*/ 269492 h 2128749"/>
              <a:gd name="connsiteX19-12941" fmla="*/ 2483005 w 2883039"/>
              <a:gd name="connsiteY19-12942" fmla="*/ 162960 h 2128749"/>
              <a:gd name="connsiteX20-12943" fmla="*/ 2423540 w 2883039"/>
              <a:gd name="connsiteY20-12944" fmla="*/ 72535 h 2128749"/>
              <a:gd name="connsiteX21-12945" fmla="*/ 2394894 w 2883039"/>
              <a:gd name="connsiteY21-12946" fmla="*/ 25309 h 2128749"/>
              <a:gd name="connsiteX22-12947" fmla="*/ 2338898 w 2883039"/>
              <a:gd name="connsiteY22-12948" fmla="*/ 52128 h 2128749"/>
              <a:gd name="connsiteX23-12949" fmla="*/ 2134420 w 2883039"/>
              <a:gd name="connsiteY23-12950" fmla="*/ 30301 h 2128749"/>
              <a:gd name="connsiteX24-12951" fmla="*/ 2100455 w 2883039"/>
              <a:gd name="connsiteY24-12952" fmla="*/ 12834 h 2128749"/>
              <a:gd name="connsiteX25-12953" fmla="*/ 2113154 w 2883039"/>
              <a:gd name="connsiteY25-12954" fmla="*/ 12834 h 2128749"/>
              <a:gd name="connsiteX26-12955" fmla="*/ 1789327 w 2883039"/>
              <a:gd name="connsiteY26-12956" fmla="*/ 89836 h 2128749"/>
              <a:gd name="connsiteX27-12957" fmla="*/ 1733632 w 2883039"/>
              <a:gd name="connsiteY27-12958" fmla="*/ 156992 h 2128749"/>
              <a:gd name="connsiteX28-12959" fmla="*/ 1727632 w 2883039"/>
              <a:gd name="connsiteY28-12960" fmla="*/ 427062 h 2128749"/>
              <a:gd name="connsiteX29-12961" fmla="*/ 1544893 w 2883039"/>
              <a:gd name="connsiteY29-12962" fmla="*/ 630287 h 2128749"/>
              <a:gd name="connsiteX30-12963" fmla="*/ 1310718 w 2883039"/>
              <a:gd name="connsiteY30-12964" fmla="*/ 764102 h 2128749"/>
              <a:gd name="connsiteX31-12965" fmla="*/ 1188054 w 2883039"/>
              <a:gd name="connsiteY31-12966" fmla="*/ 875614 h 2128749"/>
              <a:gd name="connsiteX32-12967" fmla="*/ 719703 w 2883039"/>
              <a:gd name="connsiteY32-12968" fmla="*/ 998277 h 2128749"/>
              <a:gd name="connsiteX33-12969" fmla="*/ 652796 w 2883039"/>
              <a:gd name="connsiteY33-12970" fmla="*/ 1054034 h 2128749"/>
              <a:gd name="connsiteX34-12971" fmla="*/ 518981 w 2883039"/>
              <a:gd name="connsiteY34-12972" fmla="*/ 1377419 h 2128749"/>
              <a:gd name="connsiteX35-12973" fmla="*/ 206747 w 2883039"/>
              <a:gd name="connsiteY35-12974" fmla="*/ 1544687 h 2128749"/>
              <a:gd name="connsiteX36-12975" fmla="*/ 184444 w 2883039"/>
              <a:gd name="connsiteY36-12976" fmla="*/ 1689653 h 2128749"/>
              <a:gd name="connsiteX37-12977" fmla="*/ 106386 w 2883039"/>
              <a:gd name="connsiteY37-12978" fmla="*/ 1801165 h 2128749"/>
              <a:gd name="connsiteX38-12979" fmla="*/ 15629 w 2883039"/>
              <a:gd name="connsiteY38-12980" fmla="*/ 1880004 h 2128749"/>
              <a:gd name="connsiteX39-12981" fmla="*/ 12612 w 2883039"/>
              <a:gd name="connsiteY39-12982" fmla="*/ 2035005 h 2128749"/>
              <a:gd name="connsiteX0-12983" fmla="*/ 99748 w 2883039"/>
              <a:gd name="connsiteY0-12984" fmla="*/ 2060502 h 2145887"/>
              <a:gd name="connsiteX1-12985" fmla="*/ 340690 w 2883039"/>
              <a:gd name="connsiteY1-12986" fmla="*/ 2135770 h 2145887"/>
              <a:gd name="connsiteX2-12987" fmla="*/ 667211 w 2883039"/>
              <a:gd name="connsiteY2-12988" fmla="*/ 2135504 h 2145887"/>
              <a:gd name="connsiteX3-12989" fmla="*/ 1020464 w 2883039"/>
              <a:gd name="connsiteY3-12990" fmla="*/ 2073473 h 2145887"/>
              <a:gd name="connsiteX4-12991" fmla="*/ 1043088 w 2883039"/>
              <a:gd name="connsiteY4-12992" fmla="*/ 1639884 h 2145887"/>
              <a:gd name="connsiteX5-12993" fmla="*/ 2158210 w 2883039"/>
              <a:gd name="connsiteY5-12994" fmla="*/ 1628733 h 2145887"/>
              <a:gd name="connsiteX6-12995" fmla="*/ 2147059 w 2883039"/>
              <a:gd name="connsiteY6-12996" fmla="*/ 781240 h 2145887"/>
              <a:gd name="connsiteX7-12997" fmla="*/ 2303176 w 2883039"/>
              <a:gd name="connsiteY7-12998" fmla="*/ 680879 h 2145887"/>
              <a:gd name="connsiteX8-12999" fmla="*/ 2648864 w 2883039"/>
              <a:gd name="connsiteY8-13000" fmla="*/ 502459 h 2145887"/>
              <a:gd name="connsiteX9-13001" fmla="*/ 2883039 w 2883039"/>
              <a:gd name="connsiteY9-13002" fmla="*/ 513611 h 2145887"/>
              <a:gd name="connsiteX10-13003" fmla="*/ 2883039 w 2883039"/>
              <a:gd name="connsiteY10-13004" fmla="*/ 346342 h 2145887"/>
              <a:gd name="connsiteX11-13005" fmla="*/ 2838435 w 2883039"/>
              <a:gd name="connsiteY11-13006" fmla="*/ 268284 h 2145887"/>
              <a:gd name="connsiteX12-13007" fmla="*/ 2827283 w 2883039"/>
              <a:gd name="connsiteY12-13008" fmla="*/ 234830 h 2145887"/>
              <a:gd name="connsiteX13-13009" fmla="*/ 2771527 w 2883039"/>
              <a:gd name="connsiteY13-13010" fmla="*/ 212528 h 2145887"/>
              <a:gd name="connsiteX14-13011" fmla="*/ 2760376 w 2883039"/>
              <a:gd name="connsiteY14-13012" fmla="*/ 257133 h 2145887"/>
              <a:gd name="connsiteX15-13013" fmla="*/ 2637713 w 2883039"/>
              <a:gd name="connsiteY15-13014" fmla="*/ 223679 h 2145887"/>
              <a:gd name="connsiteX16-13015" fmla="*/ 2549412 w 2883039"/>
              <a:gd name="connsiteY16-13016" fmla="*/ 211900 h 2145887"/>
              <a:gd name="connsiteX17-13017" fmla="*/ 2525312 w 2883039"/>
              <a:gd name="connsiteY17-13018" fmla="*/ 313228 h 2145887"/>
              <a:gd name="connsiteX18-13019" fmla="*/ 2469160 w 2883039"/>
              <a:gd name="connsiteY18-13020" fmla="*/ 286630 h 2145887"/>
              <a:gd name="connsiteX19-13021" fmla="*/ 2483005 w 2883039"/>
              <a:gd name="connsiteY19-13022" fmla="*/ 180098 h 2145887"/>
              <a:gd name="connsiteX20-13023" fmla="*/ 2423540 w 2883039"/>
              <a:gd name="connsiteY20-13024" fmla="*/ 89673 h 2145887"/>
              <a:gd name="connsiteX21-13025" fmla="*/ 2373795 w 2883039"/>
              <a:gd name="connsiteY21-13026" fmla="*/ 0 h 2145887"/>
              <a:gd name="connsiteX22-13027" fmla="*/ 2338898 w 2883039"/>
              <a:gd name="connsiteY22-13028" fmla="*/ 69266 h 2145887"/>
              <a:gd name="connsiteX23-13029" fmla="*/ 2134420 w 2883039"/>
              <a:gd name="connsiteY23-13030" fmla="*/ 47439 h 2145887"/>
              <a:gd name="connsiteX24-13031" fmla="*/ 2100455 w 2883039"/>
              <a:gd name="connsiteY24-13032" fmla="*/ 29972 h 2145887"/>
              <a:gd name="connsiteX25-13033" fmla="*/ 2113154 w 2883039"/>
              <a:gd name="connsiteY25-13034" fmla="*/ 29972 h 2145887"/>
              <a:gd name="connsiteX26-13035" fmla="*/ 1789327 w 2883039"/>
              <a:gd name="connsiteY26-13036" fmla="*/ 106974 h 2145887"/>
              <a:gd name="connsiteX27-13037" fmla="*/ 1733632 w 2883039"/>
              <a:gd name="connsiteY27-13038" fmla="*/ 174130 h 2145887"/>
              <a:gd name="connsiteX28-13039" fmla="*/ 1727632 w 2883039"/>
              <a:gd name="connsiteY28-13040" fmla="*/ 444200 h 2145887"/>
              <a:gd name="connsiteX29-13041" fmla="*/ 1544893 w 2883039"/>
              <a:gd name="connsiteY29-13042" fmla="*/ 647425 h 2145887"/>
              <a:gd name="connsiteX30-13043" fmla="*/ 1310718 w 2883039"/>
              <a:gd name="connsiteY30-13044" fmla="*/ 781240 h 2145887"/>
              <a:gd name="connsiteX31-13045" fmla="*/ 1188054 w 2883039"/>
              <a:gd name="connsiteY31-13046" fmla="*/ 892752 h 2145887"/>
              <a:gd name="connsiteX32-13047" fmla="*/ 719703 w 2883039"/>
              <a:gd name="connsiteY32-13048" fmla="*/ 1015415 h 2145887"/>
              <a:gd name="connsiteX33-13049" fmla="*/ 652796 w 2883039"/>
              <a:gd name="connsiteY33-13050" fmla="*/ 1071172 h 2145887"/>
              <a:gd name="connsiteX34-13051" fmla="*/ 518981 w 2883039"/>
              <a:gd name="connsiteY34-13052" fmla="*/ 1394557 h 2145887"/>
              <a:gd name="connsiteX35-13053" fmla="*/ 206747 w 2883039"/>
              <a:gd name="connsiteY35-13054" fmla="*/ 1561825 h 2145887"/>
              <a:gd name="connsiteX36-13055" fmla="*/ 184444 w 2883039"/>
              <a:gd name="connsiteY36-13056" fmla="*/ 1706791 h 2145887"/>
              <a:gd name="connsiteX37-13057" fmla="*/ 106386 w 2883039"/>
              <a:gd name="connsiteY37-13058" fmla="*/ 1818303 h 2145887"/>
              <a:gd name="connsiteX38-13059" fmla="*/ 15629 w 2883039"/>
              <a:gd name="connsiteY38-13060" fmla="*/ 1897142 h 2145887"/>
              <a:gd name="connsiteX39-13061" fmla="*/ 12612 w 2883039"/>
              <a:gd name="connsiteY39-13062" fmla="*/ 2052143 h 2145887"/>
              <a:gd name="connsiteX0-13063" fmla="*/ 99748 w 2883039"/>
              <a:gd name="connsiteY0-13064" fmla="*/ 2068025 h 2153410"/>
              <a:gd name="connsiteX1-13065" fmla="*/ 340690 w 2883039"/>
              <a:gd name="connsiteY1-13066" fmla="*/ 2143293 h 2153410"/>
              <a:gd name="connsiteX2-13067" fmla="*/ 667211 w 2883039"/>
              <a:gd name="connsiteY2-13068" fmla="*/ 2143027 h 2153410"/>
              <a:gd name="connsiteX3-13069" fmla="*/ 1020464 w 2883039"/>
              <a:gd name="connsiteY3-13070" fmla="*/ 2080996 h 2153410"/>
              <a:gd name="connsiteX4-13071" fmla="*/ 1043088 w 2883039"/>
              <a:gd name="connsiteY4-13072" fmla="*/ 1647407 h 2153410"/>
              <a:gd name="connsiteX5-13073" fmla="*/ 2158210 w 2883039"/>
              <a:gd name="connsiteY5-13074" fmla="*/ 1636256 h 2153410"/>
              <a:gd name="connsiteX6-13075" fmla="*/ 2147059 w 2883039"/>
              <a:gd name="connsiteY6-13076" fmla="*/ 788763 h 2153410"/>
              <a:gd name="connsiteX7-13077" fmla="*/ 2303176 w 2883039"/>
              <a:gd name="connsiteY7-13078" fmla="*/ 688402 h 2153410"/>
              <a:gd name="connsiteX8-13079" fmla="*/ 2648864 w 2883039"/>
              <a:gd name="connsiteY8-13080" fmla="*/ 509982 h 2153410"/>
              <a:gd name="connsiteX9-13081" fmla="*/ 2883039 w 2883039"/>
              <a:gd name="connsiteY9-13082" fmla="*/ 521134 h 2153410"/>
              <a:gd name="connsiteX10-13083" fmla="*/ 2883039 w 2883039"/>
              <a:gd name="connsiteY10-13084" fmla="*/ 353865 h 2153410"/>
              <a:gd name="connsiteX11-13085" fmla="*/ 2838435 w 2883039"/>
              <a:gd name="connsiteY11-13086" fmla="*/ 275807 h 2153410"/>
              <a:gd name="connsiteX12-13087" fmla="*/ 2827283 w 2883039"/>
              <a:gd name="connsiteY12-13088" fmla="*/ 242353 h 2153410"/>
              <a:gd name="connsiteX13-13089" fmla="*/ 2771527 w 2883039"/>
              <a:gd name="connsiteY13-13090" fmla="*/ 220051 h 2153410"/>
              <a:gd name="connsiteX14-13091" fmla="*/ 2760376 w 2883039"/>
              <a:gd name="connsiteY14-13092" fmla="*/ 264656 h 2153410"/>
              <a:gd name="connsiteX15-13093" fmla="*/ 2637713 w 2883039"/>
              <a:gd name="connsiteY15-13094" fmla="*/ 231202 h 2153410"/>
              <a:gd name="connsiteX16-13095" fmla="*/ 2549412 w 2883039"/>
              <a:gd name="connsiteY16-13096" fmla="*/ 219423 h 2153410"/>
              <a:gd name="connsiteX17-13097" fmla="*/ 2525312 w 2883039"/>
              <a:gd name="connsiteY17-13098" fmla="*/ 320751 h 2153410"/>
              <a:gd name="connsiteX18-13099" fmla="*/ 2469160 w 2883039"/>
              <a:gd name="connsiteY18-13100" fmla="*/ 294153 h 2153410"/>
              <a:gd name="connsiteX19-13101" fmla="*/ 2483005 w 2883039"/>
              <a:gd name="connsiteY19-13102" fmla="*/ 187621 h 2153410"/>
              <a:gd name="connsiteX20-13103" fmla="*/ 2423540 w 2883039"/>
              <a:gd name="connsiteY20-13104" fmla="*/ 97196 h 2153410"/>
              <a:gd name="connsiteX21-13105" fmla="*/ 2373795 w 2883039"/>
              <a:gd name="connsiteY21-13106" fmla="*/ 7523 h 2153410"/>
              <a:gd name="connsiteX22-13107" fmla="*/ 2275600 w 2883039"/>
              <a:gd name="connsiteY22-13108" fmla="*/ 34343 h 2153410"/>
              <a:gd name="connsiteX23-13109" fmla="*/ 2134420 w 2883039"/>
              <a:gd name="connsiteY23-13110" fmla="*/ 54962 h 2153410"/>
              <a:gd name="connsiteX24-13111" fmla="*/ 2100455 w 2883039"/>
              <a:gd name="connsiteY24-13112" fmla="*/ 37495 h 2153410"/>
              <a:gd name="connsiteX25-13113" fmla="*/ 2113154 w 2883039"/>
              <a:gd name="connsiteY25-13114" fmla="*/ 37495 h 2153410"/>
              <a:gd name="connsiteX26-13115" fmla="*/ 1789327 w 2883039"/>
              <a:gd name="connsiteY26-13116" fmla="*/ 114497 h 2153410"/>
              <a:gd name="connsiteX27-13117" fmla="*/ 1733632 w 2883039"/>
              <a:gd name="connsiteY27-13118" fmla="*/ 181653 h 2153410"/>
              <a:gd name="connsiteX28-13119" fmla="*/ 1727632 w 2883039"/>
              <a:gd name="connsiteY28-13120" fmla="*/ 451723 h 2153410"/>
              <a:gd name="connsiteX29-13121" fmla="*/ 1544893 w 2883039"/>
              <a:gd name="connsiteY29-13122" fmla="*/ 654948 h 2153410"/>
              <a:gd name="connsiteX30-13123" fmla="*/ 1310718 w 2883039"/>
              <a:gd name="connsiteY30-13124" fmla="*/ 788763 h 2153410"/>
              <a:gd name="connsiteX31-13125" fmla="*/ 1188054 w 2883039"/>
              <a:gd name="connsiteY31-13126" fmla="*/ 900275 h 2153410"/>
              <a:gd name="connsiteX32-13127" fmla="*/ 719703 w 2883039"/>
              <a:gd name="connsiteY32-13128" fmla="*/ 1022938 h 2153410"/>
              <a:gd name="connsiteX33-13129" fmla="*/ 652796 w 2883039"/>
              <a:gd name="connsiteY33-13130" fmla="*/ 1078695 h 2153410"/>
              <a:gd name="connsiteX34-13131" fmla="*/ 518981 w 2883039"/>
              <a:gd name="connsiteY34-13132" fmla="*/ 1402080 h 2153410"/>
              <a:gd name="connsiteX35-13133" fmla="*/ 206747 w 2883039"/>
              <a:gd name="connsiteY35-13134" fmla="*/ 1569348 h 2153410"/>
              <a:gd name="connsiteX36-13135" fmla="*/ 184444 w 2883039"/>
              <a:gd name="connsiteY36-13136" fmla="*/ 1714314 h 2153410"/>
              <a:gd name="connsiteX37-13137" fmla="*/ 106386 w 2883039"/>
              <a:gd name="connsiteY37-13138" fmla="*/ 1825826 h 2153410"/>
              <a:gd name="connsiteX38-13139" fmla="*/ 15629 w 2883039"/>
              <a:gd name="connsiteY38-13140" fmla="*/ 1904665 h 2153410"/>
              <a:gd name="connsiteX39-13141" fmla="*/ 12612 w 2883039"/>
              <a:gd name="connsiteY39-13142" fmla="*/ 2059666 h 2153410"/>
              <a:gd name="connsiteX0-13143" fmla="*/ 99748 w 2883039"/>
              <a:gd name="connsiteY0-13144" fmla="*/ 2060502 h 2145887"/>
              <a:gd name="connsiteX1-13145" fmla="*/ 340690 w 2883039"/>
              <a:gd name="connsiteY1-13146" fmla="*/ 2135770 h 2145887"/>
              <a:gd name="connsiteX2-13147" fmla="*/ 667211 w 2883039"/>
              <a:gd name="connsiteY2-13148" fmla="*/ 2135504 h 2145887"/>
              <a:gd name="connsiteX3-13149" fmla="*/ 1020464 w 2883039"/>
              <a:gd name="connsiteY3-13150" fmla="*/ 2073473 h 2145887"/>
              <a:gd name="connsiteX4-13151" fmla="*/ 1043088 w 2883039"/>
              <a:gd name="connsiteY4-13152" fmla="*/ 1639884 h 2145887"/>
              <a:gd name="connsiteX5-13153" fmla="*/ 2158210 w 2883039"/>
              <a:gd name="connsiteY5-13154" fmla="*/ 1628733 h 2145887"/>
              <a:gd name="connsiteX6-13155" fmla="*/ 2147059 w 2883039"/>
              <a:gd name="connsiteY6-13156" fmla="*/ 781240 h 2145887"/>
              <a:gd name="connsiteX7-13157" fmla="*/ 2303176 w 2883039"/>
              <a:gd name="connsiteY7-13158" fmla="*/ 680879 h 2145887"/>
              <a:gd name="connsiteX8-13159" fmla="*/ 2648864 w 2883039"/>
              <a:gd name="connsiteY8-13160" fmla="*/ 502459 h 2145887"/>
              <a:gd name="connsiteX9-13161" fmla="*/ 2883039 w 2883039"/>
              <a:gd name="connsiteY9-13162" fmla="*/ 513611 h 2145887"/>
              <a:gd name="connsiteX10-13163" fmla="*/ 2883039 w 2883039"/>
              <a:gd name="connsiteY10-13164" fmla="*/ 346342 h 2145887"/>
              <a:gd name="connsiteX11-13165" fmla="*/ 2838435 w 2883039"/>
              <a:gd name="connsiteY11-13166" fmla="*/ 268284 h 2145887"/>
              <a:gd name="connsiteX12-13167" fmla="*/ 2827283 w 2883039"/>
              <a:gd name="connsiteY12-13168" fmla="*/ 234830 h 2145887"/>
              <a:gd name="connsiteX13-13169" fmla="*/ 2771527 w 2883039"/>
              <a:gd name="connsiteY13-13170" fmla="*/ 212528 h 2145887"/>
              <a:gd name="connsiteX14-13171" fmla="*/ 2760376 w 2883039"/>
              <a:gd name="connsiteY14-13172" fmla="*/ 257133 h 2145887"/>
              <a:gd name="connsiteX15-13173" fmla="*/ 2637713 w 2883039"/>
              <a:gd name="connsiteY15-13174" fmla="*/ 223679 h 2145887"/>
              <a:gd name="connsiteX16-13175" fmla="*/ 2549412 w 2883039"/>
              <a:gd name="connsiteY16-13176" fmla="*/ 211900 h 2145887"/>
              <a:gd name="connsiteX17-13177" fmla="*/ 2525312 w 2883039"/>
              <a:gd name="connsiteY17-13178" fmla="*/ 313228 h 2145887"/>
              <a:gd name="connsiteX18-13179" fmla="*/ 2469160 w 2883039"/>
              <a:gd name="connsiteY18-13180" fmla="*/ 286630 h 2145887"/>
              <a:gd name="connsiteX19-13181" fmla="*/ 2483005 w 2883039"/>
              <a:gd name="connsiteY19-13182" fmla="*/ 180098 h 2145887"/>
              <a:gd name="connsiteX20-13183" fmla="*/ 2423540 w 2883039"/>
              <a:gd name="connsiteY20-13184" fmla="*/ 89673 h 2145887"/>
              <a:gd name="connsiteX21-13185" fmla="*/ 2373795 w 2883039"/>
              <a:gd name="connsiteY21-13186" fmla="*/ 0 h 2145887"/>
              <a:gd name="connsiteX22-13187" fmla="*/ 2275600 w 2883039"/>
              <a:gd name="connsiteY22-13188" fmla="*/ 26820 h 2145887"/>
              <a:gd name="connsiteX23-13189" fmla="*/ 2134420 w 2883039"/>
              <a:gd name="connsiteY23-13190" fmla="*/ 47439 h 2145887"/>
              <a:gd name="connsiteX24-13191" fmla="*/ 2100455 w 2883039"/>
              <a:gd name="connsiteY24-13192" fmla="*/ 29972 h 2145887"/>
              <a:gd name="connsiteX25-13193" fmla="*/ 2113154 w 2883039"/>
              <a:gd name="connsiteY25-13194" fmla="*/ 29972 h 2145887"/>
              <a:gd name="connsiteX26-13195" fmla="*/ 1789327 w 2883039"/>
              <a:gd name="connsiteY26-13196" fmla="*/ 106974 h 2145887"/>
              <a:gd name="connsiteX27-13197" fmla="*/ 1733632 w 2883039"/>
              <a:gd name="connsiteY27-13198" fmla="*/ 174130 h 2145887"/>
              <a:gd name="connsiteX28-13199" fmla="*/ 1727632 w 2883039"/>
              <a:gd name="connsiteY28-13200" fmla="*/ 444200 h 2145887"/>
              <a:gd name="connsiteX29-13201" fmla="*/ 1544893 w 2883039"/>
              <a:gd name="connsiteY29-13202" fmla="*/ 647425 h 2145887"/>
              <a:gd name="connsiteX30-13203" fmla="*/ 1310718 w 2883039"/>
              <a:gd name="connsiteY30-13204" fmla="*/ 781240 h 2145887"/>
              <a:gd name="connsiteX31-13205" fmla="*/ 1188054 w 2883039"/>
              <a:gd name="connsiteY31-13206" fmla="*/ 892752 h 2145887"/>
              <a:gd name="connsiteX32-13207" fmla="*/ 719703 w 2883039"/>
              <a:gd name="connsiteY32-13208" fmla="*/ 1015415 h 2145887"/>
              <a:gd name="connsiteX33-13209" fmla="*/ 652796 w 2883039"/>
              <a:gd name="connsiteY33-13210" fmla="*/ 1071172 h 2145887"/>
              <a:gd name="connsiteX34-13211" fmla="*/ 518981 w 2883039"/>
              <a:gd name="connsiteY34-13212" fmla="*/ 1394557 h 2145887"/>
              <a:gd name="connsiteX35-13213" fmla="*/ 206747 w 2883039"/>
              <a:gd name="connsiteY35-13214" fmla="*/ 1561825 h 2145887"/>
              <a:gd name="connsiteX36-13215" fmla="*/ 184444 w 2883039"/>
              <a:gd name="connsiteY36-13216" fmla="*/ 1706791 h 2145887"/>
              <a:gd name="connsiteX37-13217" fmla="*/ 106386 w 2883039"/>
              <a:gd name="connsiteY37-13218" fmla="*/ 1818303 h 2145887"/>
              <a:gd name="connsiteX38-13219" fmla="*/ 15629 w 2883039"/>
              <a:gd name="connsiteY38-13220" fmla="*/ 1897142 h 2145887"/>
              <a:gd name="connsiteX39-13221" fmla="*/ 12612 w 2883039"/>
              <a:gd name="connsiteY39-13222" fmla="*/ 2052143 h 2145887"/>
              <a:gd name="connsiteX0-13223" fmla="*/ 99748 w 2883039"/>
              <a:gd name="connsiteY0-13224" fmla="*/ 2060502 h 2145887"/>
              <a:gd name="connsiteX1-13225" fmla="*/ 340690 w 2883039"/>
              <a:gd name="connsiteY1-13226" fmla="*/ 2135770 h 2145887"/>
              <a:gd name="connsiteX2-13227" fmla="*/ 667211 w 2883039"/>
              <a:gd name="connsiteY2-13228" fmla="*/ 2135504 h 2145887"/>
              <a:gd name="connsiteX3-13229" fmla="*/ 1020464 w 2883039"/>
              <a:gd name="connsiteY3-13230" fmla="*/ 2073473 h 2145887"/>
              <a:gd name="connsiteX4-13231" fmla="*/ 1043088 w 2883039"/>
              <a:gd name="connsiteY4-13232" fmla="*/ 1639884 h 2145887"/>
              <a:gd name="connsiteX5-13233" fmla="*/ 2158210 w 2883039"/>
              <a:gd name="connsiteY5-13234" fmla="*/ 1628733 h 2145887"/>
              <a:gd name="connsiteX6-13235" fmla="*/ 2147059 w 2883039"/>
              <a:gd name="connsiteY6-13236" fmla="*/ 781240 h 2145887"/>
              <a:gd name="connsiteX7-13237" fmla="*/ 2303176 w 2883039"/>
              <a:gd name="connsiteY7-13238" fmla="*/ 680879 h 2145887"/>
              <a:gd name="connsiteX8-13239" fmla="*/ 2648864 w 2883039"/>
              <a:gd name="connsiteY8-13240" fmla="*/ 502459 h 2145887"/>
              <a:gd name="connsiteX9-13241" fmla="*/ 2883039 w 2883039"/>
              <a:gd name="connsiteY9-13242" fmla="*/ 513611 h 2145887"/>
              <a:gd name="connsiteX10-13243" fmla="*/ 2883039 w 2883039"/>
              <a:gd name="connsiteY10-13244" fmla="*/ 346342 h 2145887"/>
              <a:gd name="connsiteX11-13245" fmla="*/ 2838435 w 2883039"/>
              <a:gd name="connsiteY11-13246" fmla="*/ 268284 h 2145887"/>
              <a:gd name="connsiteX12-13247" fmla="*/ 2827283 w 2883039"/>
              <a:gd name="connsiteY12-13248" fmla="*/ 234830 h 2145887"/>
              <a:gd name="connsiteX13-13249" fmla="*/ 2771527 w 2883039"/>
              <a:gd name="connsiteY13-13250" fmla="*/ 212528 h 2145887"/>
              <a:gd name="connsiteX14-13251" fmla="*/ 2760376 w 2883039"/>
              <a:gd name="connsiteY14-13252" fmla="*/ 257133 h 2145887"/>
              <a:gd name="connsiteX15-13253" fmla="*/ 2637713 w 2883039"/>
              <a:gd name="connsiteY15-13254" fmla="*/ 223679 h 2145887"/>
              <a:gd name="connsiteX16-13255" fmla="*/ 2549412 w 2883039"/>
              <a:gd name="connsiteY16-13256" fmla="*/ 211900 h 2145887"/>
              <a:gd name="connsiteX17-13257" fmla="*/ 2525312 w 2883039"/>
              <a:gd name="connsiteY17-13258" fmla="*/ 313228 h 2145887"/>
              <a:gd name="connsiteX18-13259" fmla="*/ 2469160 w 2883039"/>
              <a:gd name="connsiteY18-13260" fmla="*/ 286630 h 2145887"/>
              <a:gd name="connsiteX19-13261" fmla="*/ 2483005 w 2883039"/>
              <a:gd name="connsiteY19-13262" fmla="*/ 180098 h 2145887"/>
              <a:gd name="connsiteX20-13263" fmla="*/ 2423540 w 2883039"/>
              <a:gd name="connsiteY20-13264" fmla="*/ 89673 h 2145887"/>
              <a:gd name="connsiteX21-13265" fmla="*/ 2373795 w 2883039"/>
              <a:gd name="connsiteY21-13266" fmla="*/ 0 h 2145887"/>
              <a:gd name="connsiteX22-13267" fmla="*/ 2320813 w 2883039"/>
              <a:gd name="connsiteY22-13268" fmla="*/ 33350 h 2145887"/>
              <a:gd name="connsiteX23-13269" fmla="*/ 2134420 w 2883039"/>
              <a:gd name="connsiteY23-13270" fmla="*/ 47439 h 2145887"/>
              <a:gd name="connsiteX24-13271" fmla="*/ 2100455 w 2883039"/>
              <a:gd name="connsiteY24-13272" fmla="*/ 29972 h 2145887"/>
              <a:gd name="connsiteX25-13273" fmla="*/ 2113154 w 2883039"/>
              <a:gd name="connsiteY25-13274" fmla="*/ 29972 h 2145887"/>
              <a:gd name="connsiteX26-13275" fmla="*/ 1789327 w 2883039"/>
              <a:gd name="connsiteY26-13276" fmla="*/ 106974 h 2145887"/>
              <a:gd name="connsiteX27-13277" fmla="*/ 1733632 w 2883039"/>
              <a:gd name="connsiteY27-13278" fmla="*/ 174130 h 2145887"/>
              <a:gd name="connsiteX28-13279" fmla="*/ 1727632 w 2883039"/>
              <a:gd name="connsiteY28-13280" fmla="*/ 444200 h 2145887"/>
              <a:gd name="connsiteX29-13281" fmla="*/ 1544893 w 2883039"/>
              <a:gd name="connsiteY29-13282" fmla="*/ 647425 h 2145887"/>
              <a:gd name="connsiteX30-13283" fmla="*/ 1310718 w 2883039"/>
              <a:gd name="connsiteY30-13284" fmla="*/ 781240 h 2145887"/>
              <a:gd name="connsiteX31-13285" fmla="*/ 1188054 w 2883039"/>
              <a:gd name="connsiteY31-13286" fmla="*/ 892752 h 2145887"/>
              <a:gd name="connsiteX32-13287" fmla="*/ 719703 w 2883039"/>
              <a:gd name="connsiteY32-13288" fmla="*/ 1015415 h 2145887"/>
              <a:gd name="connsiteX33-13289" fmla="*/ 652796 w 2883039"/>
              <a:gd name="connsiteY33-13290" fmla="*/ 1071172 h 2145887"/>
              <a:gd name="connsiteX34-13291" fmla="*/ 518981 w 2883039"/>
              <a:gd name="connsiteY34-13292" fmla="*/ 1394557 h 2145887"/>
              <a:gd name="connsiteX35-13293" fmla="*/ 206747 w 2883039"/>
              <a:gd name="connsiteY35-13294" fmla="*/ 1561825 h 2145887"/>
              <a:gd name="connsiteX36-13295" fmla="*/ 184444 w 2883039"/>
              <a:gd name="connsiteY36-13296" fmla="*/ 1706791 h 2145887"/>
              <a:gd name="connsiteX37-13297" fmla="*/ 106386 w 2883039"/>
              <a:gd name="connsiteY37-13298" fmla="*/ 1818303 h 2145887"/>
              <a:gd name="connsiteX38-13299" fmla="*/ 15629 w 2883039"/>
              <a:gd name="connsiteY38-13300" fmla="*/ 1897142 h 2145887"/>
              <a:gd name="connsiteX39-13301" fmla="*/ 12612 w 2883039"/>
              <a:gd name="connsiteY39-13302" fmla="*/ 2052143 h 2145887"/>
              <a:gd name="connsiteX0-13303" fmla="*/ 99748 w 2883039"/>
              <a:gd name="connsiteY0-13304" fmla="*/ 2060502 h 2145887"/>
              <a:gd name="connsiteX1-13305" fmla="*/ 340690 w 2883039"/>
              <a:gd name="connsiteY1-13306" fmla="*/ 2135770 h 2145887"/>
              <a:gd name="connsiteX2-13307" fmla="*/ 667211 w 2883039"/>
              <a:gd name="connsiteY2-13308" fmla="*/ 2135504 h 2145887"/>
              <a:gd name="connsiteX3-13309" fmla="*/ 1020464 w 2883039"/>
              <a:gd name="connsiteY3-13310" fmla="*/ 2073473 h 2145887"/>
              <a:gd name="connsiteX4-13311" fmla="*/ 1043088 w 2883039"/>
              <a:gd name="connsiteY4-13312" fmla="*/ 1639884 h 2145887"/>
              <a:gd name="connsiteX5-13313" fmla="*/ 2158210 w 2883039"/>
              <a:gd name="connsiteY5-13314" fmla="*/ 1628733 h 2145887"/>
              <a:gd name="connsiteX6-13315" fmla="*/ 2147059 w 2883039"/>
              <a:gd name="connsiteY6-13316" fmla="*/ 781240 h 2145887"/>
              <a:gd name="connsiteX7-13317" fmla="*/ 2303176 w 2883039"/>
              <a:gd name="connsiteY7-13318" fmla="*/ 680879 h 2145887"/>
              <a:gd name="connsiteX8-13319" fmla="*/ 2648864 w 2883039"/>
              <a:gd name="connsiteY8-13320" fmla="*/ 502459 h 2145887"/>
              <a:gd name="connsiteX9-13321" fmla="*/ 2883039 w 2883039"/>
              <a:gd name="connsiteY9-13322" fmla="*/ 513611 h 2145887"/>
              <a:gd name="connsiteX10-13323" fmla="*/ 2883039 w 2883039"/>
              <a:gd name="connsiteY10-13324" fmla="*/ 346342 h 2145887"/>
              <a:gd name="connsiteX11-13325" fmla="*/ 2838435 w 2883039"/>
              <a:gd name="connsiteY11-13326" fmla="*/ 268284 h 2145887"/>
              <a:gd name="connsiteX12-13327" fmla="*/ 2827283 w 2883039"/>
              <a:gd name="connsiteY12-13328" fmla="*/ 234830 h 2145887"/>
              <a:gd name="connsiteX13-13329" fmla="*/ 2771527 w 2883039"/>
              <a:gd name="connsiteY13-13330" fmla="*/ 212528 h 2145887"/>
              <a:gd name="connsiteX14-13331" fmla="*/ 2760376 w 2883039"/>
              <a:gd name="connsiteY14-13332" fmla="*/ 257133 h 2145887"/>
              <a:gd name="connsiteX15-13333" fmla="*/ 2637713 w 2883039"/>
              <a:gd name="connsiteY15-13334" fmla="*/ 223679 h 2145887"/>
              <a:gd name="connsiteX16-13335" fmla="*/ 2549412 w 2883039"/>
              <a:gd name="connsiteY16-13336" fmla="*/ 211900 h 2145887"/>
              <a:gd name="connsiteX17-13337" fmla="*/ 2525312 w 2883039"/>
              <a:gd name="connsiteY17-13338" fmla="*/ 313228 h 2145887"/>
              <a:gd name="connsiteX18-13339" fmla="*/ 2469160 w 2883039"/>
              <a:gd name="connsiteY18-13340" fmla="*/ 286630 h 2145887"/>
              <a:gd name="connsiteX19-13341" fmla="*/ 2483005 w 2883039"/>
              <a:gd name="connsiteY19-13342" fmla="*/ 180098 h 2145887"/>
              <a:gd name="connsiteX20-13343" fmla="*/ 2423540 w 2883039"/>
              <a:gd name="connsiteY20-13344" fmla="*/ 89673 h 2145887"/>
              <a:gd name="connsiteX21-13345" fmla="*/ 2373795 w 2883039"/>
              <a:gd name="connsiteY21-13346" fmla="*/ 0 h 2145887"/>
              <a:gd name="connsiteX22-13347" fmla="*/ 2320813 w 2883039"/>
              <a:gd name="connsiteY22-13348" fmla="*/ 33350 h 2145887"/>
              <a:gd name="connsiteX23-13349" fmla="*/ 2134420 w 2883039"/>
              <a:gd name="connsiteY23-13350" fmla="*/ 47439 h 2145887"/>
              <a:gd name="connsiteX24-13351" fmla="*/ 2100455 w 2883039"/>
              <a:gd name="connsiteY24-13352" fmla="*/ 29972 h 2145887"/>
              <a:gd name="connsiteX25-13353" fmla="*/ 1789327 w 2883039"/>
              <a:gd name="connsiteY25-13354" fmla="*/ 106974 h 2145887"/>
              <a:gd name="connsiteX26-13355" fmla="*/ 1733632 w 2883039"/>
              <a:gd name="connsiteY26-13356" fmla="*/ 174130 h 2145887"/>
              <a:gd name="connsiteX27-13357" fmla="*/ 1727632 w 2883039"/>
              <a:gd name="connsiteY27-13358" fmla="*/ 444200 h 2145887"/>
              <a:gd name="connsiteX28-13359" fmla="*/ 1544893 w 2883039"/>
              <a:gd name="connsiteY28-13360" fmla="*/ 647425 h 2145887"/>
              <a:gd name="connsiteX29-13361" fmla="*/ 1310718 w 2883039"/>
              <a:gd name="connsiteY29-13362" fmla="*/ 781240 h 2145887"/>
              <a:gd name="connsiteX30-13363" fmla="*/ 1188054 w 2883039"/>
              <a:gd name="connsiteY30-13364" fmla="*/ 892752 h 2145887"/>
              <a:gd name="connsiteX31-13365" fmla="*/ 719703 w 2883039"/>
              <a:gd name="connsiteY31-13366" fmla="*/ 1015415 h 2145887"/>
              <a:gd name="connsiteX32-13367" fmla="*/ 652796 w 2883039"/>
              <a:gd name="connsiteY32-13368" fmla="*/ 1071172 h 2145887"/>
              <a:gd name="connsiteX33-13369" fmla="*/ 518981 w 2883039"/>
              <a:gd name="connsiteY33-13370" fmla="*/ 1394557 h 2145887"/>
              <a:gd name="connsiteX34-13371" fmla="*/ 206747 w 2883039"/>
              <a:gd name="connsiteY34-13372" fmla="*/ 1561825 h 2145887"/>
              <a:gd name="connsiteX35-13373" fmla="*/ 184444 w 2883039"/>
              <a:gd name="connsiteY35-13374" fmla="*/ 1706791 h 2145887"/>
              <a:gd name="connsiteX36-13375" fmla="*/ 106386 w 2883039"/>
              <a:gd name="connsiteY36-13376" fmla="*/ 1818303 h 2145887"/>
              <a:gd name="connsiteX37-13377" fmla="*/ 15629 w 2883039"/>
              <a:gd name="connsiteY37-13378" fmla="*/ 1897142 h 2145887"/>
              <a:gd name="connsiteX38-13379" fmla="*/ 12612 w 2883039"/>
              <a:gd name="connsiteY38-13380" fmla="*/ 2052143 h 2145887"/>
              <a:gd name="connsiteX0-13381" fmla="*/ 99748 w 2883039"/>
              <a:gd name="connsiteY0-13382" fmla="*/ 2060502 h 2145887"/>
              <a:gd name="connsiteX1-13383" fmla="*/ 340690 w 2883039"/>
              <a:gd name="connsiteY1-13384" fmla="*/ 2135770 h 2145887"/>
              <a:gd name="connsiteX2-13385" fmla="*/ 667211 w 2883039"/>
              <a:gd name="connsiteY2-13386" fmla="*/ 2135504 h 2145887"/>
              <a:gd name="connsiteX3-13387" fmla="*/ 1020464 w 2883039"/>
              <a:gd name="connsiteY3-13388" fmla="*/ 2073473 h 2145887"/>
              <a:gd name="connsiteX4-13389" fmla="*/ 1043088 w 2883039"/>
              <a:gd name="connsiteY4-13390" fmla="*/ 1639884 h 2145887"/>
              <a:gd name="connsiteX5-13391" fmla="*/ 2158210 w 2883039"/>
              <a:gd name="connsiteY5-13392" fmla="*/ 1628733 h 2145887"/>
              <a:gd name="connsiteX6-13393" fmla="*/ 2147059 w 2883039"/>
              <a:gd name="connsiteY6-13394" fmla="*/ 781240 h 2145887"/>
              <a:gd name="connsiteX7-13395" fmla="*/ 2303176 w 2883039"/>
              <a:gd name="connsiteY7-13396" fmla="*/ 680879 h 2145887"/>
              <a:gd name="connsiteX8-13397" fmla="*/ 2648864 w 2883039"/>
              <a:gd name="connsiteY8-13398" fmla="*/ 502459 h 2145887"/>
              <a:gd name="connsiteX9-13399" fmla="*/ 2883039 w 2883039"/>
              <a:gd name="connsiteY9-13400" fmla="*/ 513611 h 2145887"/>
              <a:gd name="connsiteX10-13401" fmla="*/ 2883039 w 2883039"/>
              <a:gd name="connsiteY10-13402" fmla="*/ 346342 h 2145887"/>
              <a:gd name="connsiteX11-13403" fmla="*/ 2838435 w 2883039"/>
              <a:gd name="connsiteY11-13404" fmla="*/ 268284 h 2145887"/>
              <a:gd name="connsiteX12-13405" fmla="*/ 2827283 w 2883039"/>
              <a:gd name="connsiteY12-13406" fmla="*/ 234830 h 2145887"/>
              <a:gd name="connsiteX13-13407" fmla="*/ 2771527 w 2883039"/>
              <a:gd name="connsiteY13-13408" fmla="*/ 212528 h 2145887"/>
              <a:gd name="connsiteX14-13409" fmla="*/ 2760376 w 2883039"/>
              <a:gd name="connsiteY14-13410" fmla="*/ 257133 h 2145887"/>
              <a:gd name="connsiteX15-13411" fmla="*/ 2637713 w 2883039"/>
              <a:gd name="connsiteY15-13412" fmla="*/ 223679 h 2145887"/>
              <a:gd name="connsiteX16-13413" fmla="*/ 2549412 w 2883039"/>
              <a:gd name="connsiteY16-13414" fmla="*/ 211900 h 2145887"/>
              <a:gd name="connsiteX17-13415" fmla="*/ 2525312 w 2883039"/>
              <a:gd name="connsiteY17-13416" fmla="*/ 313228 h 2145887"/>
              <a:gd name="connsiteX18-13417" fmla="*/ 2469160 w 2883039"/>
              <a:gd name="connsiteY18-13418" fmla="*/ 286630 h 2145887"/>
              <a:gd name="connsiteX19-13419" fmla="*/ 2483005 w 2883039"/>
              <a:gd name="connsiteY19-13420" fmla="*/ 180098 h 2145887"/>
              <a:gd name="connsiteX20-13421" fmla="*/ 2423540 w 2883039"/>
              <a:gd name="connsiteY20-13422" fmla="*/ 89673 h 2145887"/>
              <a:gd name="connsiteX21-13423" fmla="*/ 2373795 w 2883039"/>
              <a:gd name="connsiteY21-13424" fmla="*/ 0 h 2145887"/>
              <a:gd name="connsiteX22-13425" fmla="*/ 2320813 w 2883039"/>
              <a:gd name="connsiteY22-13426" fmla="*/ 33350 h 2145887"/>
              <a:gd name="connsiteX23-13427" fmla="*/ 2176618 w 2883039"/>
              <a:gd name="connsiteY23-13428" fmla="*/ 44174 h 2145887"/>
              <a:gd name="connsiteX24-13429" fmla="*/ 2100455 w 2883039"/>
              <a:gd name="connsiteY24-13430" fmla="*/ 29972 h 2145887"/>
              <a:gd name="connsiteX25-13431" fmla="*/ 1789327 w 2883039"/>
              <a:gd name="connsiteY25-13432" fmla="*/ 106974 h 2145887"/>
              <a:gd name="connsiteX26-13433" fmla="*/ 1733632 w 2883039"/>
              <a:gd name="connsiteY26-13434" fmla="*/ 174130 h 2145887"/>
              <a:gd name="connsiteX27-13435" fmla="*/ 1727632 w 2883039"/>
              <a:gd name="connsiteY27-13436" fmla="*/ 444200 h 2145887"/>
              <a:gd name="connsiteX28-13437" fmla="*/ 1544893 w 2883039"/>
              <a:gd name="connsiteY28-13438" fmla="*/ 647425 h 2145887"/>
              <a:gd name="connsiteX29-13439" fmla="*/ 1310718 w 2883039"/>
              <a:gd name="connsiteY29-13440" fmla="*/ 781240 h 2145887"/>
              <a:gd name="connsiteX30-13441" fmla="*/ 1188054 w 2883039"/>
              <a:gd name="connsiteY30-13442" fmla="*/ 892752 h 2145887"/>
              <a:gd name="connsiteX31-13443" fmla="*/ 719703 w 2883039"/>
              <a:gd name="connsiteY31-13444" fmla="*/ 1015415 h 2145887"/>
              <a:gd name="connsiteX32-13445" fmla="*/ 652796 w 2883039"/>
              <a:gd name="connsiteY32-13446" fmla="*/ 1071172 h 2145887"/>
              <a:gd name="connsiteX33-13447" fmla="*/ 518981 w 2883039"/>
              <a:gd name="connsiteY33-13448" fmla="*/ 1394557 h 2145887"/>
              <a:gd name="connsiteX34-13449" fmla="*/ 206747 w 2883039"/>
              <a:gd name="connsiteY34-13450" fmla="*/ 1561825 h 2145887"/>
              <a:gd name="connsiteX35-13451" fmla="*/ 184444 w 2883039"/>
              <a:gd name="connsiteY35-13452" fmla="*/ 1706791 h 2145887"/>
              <a:gd name="connsiteX36-13453" fmla="*/ 106386 w 2883039"/>
              <a:gd name="connsiteY36-13454" fmla="*/ 1818303 h 2145887"/>
              <a:gd name="connsiteX37-13455" fmla="*/ 15629 w 2883039"/>
              <a:gd name="connsiteY37-13456" fmla="*/ 1897142 h 2145887"/>
              <a:gd name="connsiteX38-13457" fmla="*/ 12612 w 2883039"/>
              <a:gd name="connsiteY38-13458" fmla="*/ 2052143 h 2145887"/>
              <a:gd name="connsiteX0-13459" fmla="*/ 99748 w 2883039"/>
              <a:gd name="connsiteY0-13460" fmla="*/ 2076914 h 2162299"/>
              <a:gd name="connsiteX1-13461" fmla="*/ 340690 w 2883039"/>
              <a:gd name="connsiteY1-13462" fmla="*/ 2152182 h 2162299"/>
              <a:gd name="connsiteX2-13463" fmla="*/ 667211 w 2883039"/>
              <a:gd name="connsiteY2-13464" fmla="*/ 2151916 h 2162299"/>
              <a:gd name="connsiteX3-13465" fmla="*/ 1020464 w 2883039"/>
              <a:gd name="connsiteY3-13466" fmla="*/ 2089885 h 2162299"/>
              <a:gd name="connsiteX4-13467" fmla="*/ 1043088 w 2883039"/>
              <a:gd name="connsiteY4-13468" fmla="*/ 1656296 h 2162299"/>
              <a:gd name="connsiteX5-13469" fmla="*/ 2158210 w 2883039"/>
              <a:gd name="connsiteY5-13470" fmla="*/ 1645145 h 2162299"/>
              <a:gd name="connsiteX6-13471" fmla="*/ 2147059 w 2883039"/>
              <a:gd name="connsiteY6-13472" fmla="*/ 797652 h 2162299"/>
              <a:gd name="connsiteX7-13473" fmla="*/ 2303176 w 2883039"/>
              <a:gd name="connsiteY7-13474" fmla="*/ 697291 h 2162299"/>
              <a:gd name="connsiteX8-13475" fmla="*/ 2648864 w 2883039"/>
              <a:gd name="connsiteY8-13476" fmla="*/ 518871 h 2162299"/>
              <a:gd name="connsiteX9-13477" fmla="*/ 2883039 w 2883039"/>
              <a:gd name="connsiteY9-13478" fmla="*/ 530023 h 2162299"/>
              <a:gd name="connsiteX10-13479" fmla="*/ 2883039 w 2883039"/>
              <a:gd name="connsiteY10-13480" fmla="*/ 362754 h 2162299"/>
              <a:gd name="connsiteX11-13481" fmla="*/ 2838435 w 2883039"/>
              <a:gd name="connsiteY11-13482" fmla="*/ 284696 h 2162299"/>
              <a:gd name="connsiteX12-13483" fmla="*/ 2827283 w 2883039"/>
              <a:gd name="connsiteY12-13484" fmla="*/ 251242 h 2162299"/>
              <a:gd name="connsiteX13-13485" fmla="*/ 2771527 w 2883039"/>
              <a:gd name="connsiteY13-13486" fmla="*/ 228940 h 2162299"/>
              <a:gd name="connsiteX14-13487" fmla="*/ 2760376 w 2883039"/>
              <a:gd name="connsiteY14-13488" fmla="*/ 273545 h 2162299"/>
              <a:gd name="connsiteX15-13489" fmla="*/ 2637713 w 2883039"/>
              <a:gd name="connsiteY15-13490" fmla="*/ 240091 h 2162299"/>
              <a:gd name="connsiteX16-13491" fmla="*/ 2549412 w 2883039"/>
              <a:gd name="connsiteY16-13492" fmla="*/ 228312 h 2162299"/>
              <a:gd name="connsiteX17-13493" fmla="*/ 2525312 w 2883039"/>
              <a:gd name="connsiteY17-13494" fmla="*/ 329640 h 2162299"/>
              <a:gd name="connsiteX18-13495" fmla="*/ 2469160 w 2883039"/>
              <a:gd name="connsiteY18-13496" fmla="*/ 303042 h 2162299"/>
              <a:gd name="connsiteX19-13497" fmla="*/ 2483005 w 2883039"/>
              <a:gd name="connsiteY19-13498" fmla="*/ 196510 h 2162299"/>
              <a:gd name="connsiteX20-13499" fmla="*/ 2423540 w 2883039"/>
              <a:gd name="connsiteY20-13500" fmla="*/ 106085 h 2162299"/>
              <a:gd name="connsiteX21-13501" fmla="*/ 2373795 w 2883039"/>
              <a:gd name="connsiteY21-13502" fmla="*/ 16412 h 2162299"/>
              <a:gd name="connsiteX22-13503" fmla="*/ 2320813 w 2883039"/>
              <a:gd name="connsiteY22-13504" fmla="*/ 49762 h 2162299"/>
              <a:gd name="connsiteX23-13505" fmla="*/ 2176618 w 2883039"/>
              <a:gd name="connsiteY23-13506" fmla="*/ 60586 h 2162299"/>
              <a:gd name="connsiteX24-13507" fmla="*/ 2025101 w 2883039"/>
              <a:gd name="connsiteY24-13508" fmla="*/ 10467 h 2162299"/>
              <a:gd name="connsiteX25-13509" fmla="*/ 1789327 w 2883039"/>
              <a:gd name="connsiteY25-13510" fmla="*/ 123386 h 2162299"/>
              <a:gd name="connsiteX26-13511" fmla="*/ 1733632 w 2883039"/>
              <a:gd name="connsiteY26-13512" fmla="*/ 190542 h 2162299"/>
              <a:gd name="connsiteX27-13513" fmla="*/ 1727632 w 2883039"/>
              <a:gd name="connsiteY27-13514" fmla="*/ 460612 h 2162299"/>
              <a:gd name="connsiteX28-13515" fmla="*/ 1544893 w 2883039"/>
              <a:gd name="connsiteY28-13516" fmla="*/ 663837 h 2162299"/>
              <a:gd name="connsiteX29-13517" fmla="*/ 1310718 w 2883039"/>
              <a:gd name="connsiteY29-13518" fmla="*/ 797652 h 2162299"/>
              <a:gd name="connsiteX30-13519" fmla="*/ 1188054 w 2883039"/>
              <a:gd name="connsiteY30-13520" fmla="*/ 909164 h 2162299"/>
              <a:gd name="connsiteX31-13521" fmla="*/ 719703 w 2883039"/>
              <a:gd name="connsiteY31-13522" fmla="*/ 1031827 h 2162299"/>
              <a:gd name="connsiteX32-13523" fmla="*/ 652796 w 2883039"/>
              <a:gd name="connsiteY32-13524" fmla="*/ 1087584 h 2162299"/>
              <a:gd name="connsiteX33-13525" fmla="*/ 518981 w 2883039"/>
              <a:gd name="connsiteY33-13526" fmla="*/ 1410969 h 2162299"/>
              <a:gd name="connsiteX34-13527" fmla="*/ 206747 w 2883039"/>
              <a:gd name="connsiteY34-13528" fmla="*/ 1578237 h 2162299"/>
              <a:gd name="connsiteX35-13529" fmla="*/ 184444 w 2883039"/>
              <a:gd name="connsiteY35-13530" fmla="*/ 1723203 h 2162299"/>
              <a:gd name="connsiteX36-13531" fmla="*/ 106386 w 2883039"/>
              <a:gd name="connsiteY36-13532" fmla="*/ 1834715 h 2162299"/>
              <a:gd name="connsiteX37-13533" fmla="*/ 15629 w 2883039"/>
              <a:gd name="connsiteY37-13534" fmla="*/ 1913554 h 2162299"/>
              <a:gd name="connsiteX38-13535" fmla="*/ 12612 w 2883039"/>
              <a:gd name="connsiteY38-13536" fmla="*/ 2068555 h 2162299"/>
              <a:gd name="connsiteX0-13537" fmla="*/ 99748 w 2883039"/>
              <a:gd name="connsiteY0-13538" fmla="*/ 2066447 h 2151832"/>
              <a:gd name="connsiteX1-13539" fmla="*/ 340690 w 2883039"/>
              <a:gd name="connsiteY1-13540" fmla="*/ 2141715 h 2151832"/>
              <a:gd name="connsiteX2-13541" fmla="*/ 667211 w 2883039"/>
              <a:gd name="connsiteY2-13542" fmla="*/ 2141449 h 2151832"/>
              <a:gd name="connsiteX3-13543" fmla="*/ 1020464 w 2883039"/>
              <a:gd name="connsiteY3-13544" fmla="*/ 2079418 h 2151832"/>
              <a:gd name="connsiteX4-13545" fmla="*/ 1043088 w 2883039"/>
              <a:gd name="connsiteY4-13546" fmla="*/ 1645829 h 2151832"/>
              <a:gd name="connsiteX5-13547" fmla="*/ 2158210 w 2883039"/>
              <a:gd name="connsiteY5-13548" fmla="*/ 1634678 h 2151832"/>
              <a:gd name="connsiteX6-13549" fmla="*/ 2147059 w 2883039"/>
              <a:gd name="connsiteY6-13550" fmla="*/ 787185 h 2151832"/>
              <a:gd name="connsiteX7-13551" fmla="*/ 2303176 w 2883039"/>
              <a:gd name="connsiteY7-13552" fmla="*/ 686824 h 2151832"/>
              <a:gd name="connsiteX8-13553" fmla="*/ 2648864 w 2883039"/>
              <a:gd name="connsiteY8-13554" fmla="*/ 508404 h 2151832"/>
              <a:gd name="connsiteX9-13555" fmla="*/ 2883039 w 2883039"/>
              <a:gd name="connsiteY9-13556" fmla="*/ 519556 h 2151832"/>
              <a:gd name="connsiteX10-13557" fmla="*/ 2883039 w 2883039"/>
              <a:gd name="connsiteY10-13558" fmla="*/ 352287 h 2151832"/>
              <a:gd name="connsiteX11-13559" fmla="*/ 2838435 w 2883039"/>
              <a:gd name="connsiteY11-13560" fmla="*/ 274229 h 2151832"/>
              <a:gd name="connsiteX12-13561" fmla="*/ 2827283 w 2883039"/>
              <a:gd name="connsiteY12-13562" fmla="*/ 240775 h 2151832"/>
              <a:gd name="connsiteX13-13563" fmla="*/ 2771527 w 2883039"/>
              <a:gd name="connsiteY13-13564" fmla="*/ 218473 h 2151832"/>
              <a:gd name="connsiteX14-13565" fmla="*/ 2760376 w 2883039"/>
              <a:gd name="connsiteY14-13566" fmla="*/ 263078 h 2151832"/>
              <a:gd name="connsiteX15-13567" fmla="*/ 2637713 w 2883039"/>
              <a:gd name="connsiteY15-13568" fmla="*/ 229624 h 2151832"/>
              <a:gd name="connsiteX16-13569" fmla="*/ 2549412 w 2883039"/>
              <a:gd name="connsiteY16-13570" fmla="*/ 217845 h 2151832"/>
              <a:gd name="connsiteX17-13571" fmla="*/ 2525312 w 2883039"/>
              <a:gd name="connsiteY17-13572" fmla="*/ 319173 h 2151832"/>
              <a:gd name="connsiteX18-13573" fmla="*/ 2469160 w 2883039"/>
              <a:gd name="connsiteY18-13574" fmla="*/ 292575 h 2151832"/>
              <a:gd name="connsiteX19-13575" fmla="*/ 2483005 w 2883039"/>
              <a:gd name="connsiteY19-13576" fmla="*/ 186043 h 2151832"/>
              <a:gd name="connsiteX20-13577" fmla="*/ 2423540 w 2883039"/>
              <a:gd name="connsiteY20-13578" fmla="*/ 95618 h 2151832"/>
              <a:gd name="connsiteX21-13579" fmla="*/ 2373795 w 2883039"/>
              <a:gd name="connsiteY21-13580" fmla="*/ 5945 h 2151832"/>
              <a:gd name="connsiteX22-13581" fmla="*/ 2320813 w 2883039"/>
              <a:gd name="connsiteY22-13582" fmla="*/ 39295 h 2151832"/>
              <a:gd name="connsiteX23-13583" fmla="*/ 2176618 w 2883039"/>
              <a:gd name="connsiteY23-13584" fmla="*/ 50119 h 2151832"/>
              <a:gd name="connsiteX24-13585" fmla="*/ 2025101 w 2883039"/>
              <a:gd name="connsiteY24-13586" fmla="*/ 0 h 2151832"/>
              <a:gd name="connsiteX25-13587" fmla="*/ 1789327 w 2883039"/>
              <a:gd name="connsiteY25-13588" fmla="*/ 112919 h 2151832"/>
              <a:gd name="connsiteX26-13589" fmla="*/ 1733632 w 2883039"/>
              <a:gd name="connsiteY26-13590" fmla="*/ 180075 h 2151832"/>
              <a:gd name="connsiteX27-13591" fmla="*/ 1727632 w 2883039"/>
              <a:gd name="connsiteY27-13592" fmla="*/ 450145 h 2151832"/>
              <a:gd name="connsiteX28-13593" fmla="*/ 1544893 w 2883039"/>
              <a:gd name="connsiteY28-13594" fmla="*/ 653370 h 2151832"/>
              <a:gd name="connsiteX29-13595" fmla="*/ 1310718 w 2883039"/>
              <a:gd name="connsiteY29-13596" fmla="*/ 787185 h 2151832"/>
              <a:gd name="connsiteX30-13597" fmla="*/ 1188054 w 2883039"/>
              <a:gd name="connsiteY30-13598" fmla="*/ 898697 h 2151832"/>
              <a:gd name="connsiteX31-13599" fmla="*/ 719703 w 2883039"/>
              <a:gd name="connsiteY31-13600" fmla="*/ 1021360 h 2151832"/>
              <a:gd name="connsiteX32-13601" fmla="*/ 652796 w 2883039"/>
              <a:gd name="connsiteY32-13602" fmla="*/ 1077117 h 2151832"/>
              <a:gd name="connsiteX33-13603" fmla="*/ 518981 w 2883039"/>
              <a:gd name="connsiteY33-13604" fmla="*/ 1400502 h 2151832"/>
              <a:gd name="connsiteX34-13605" fmla="*/ 206747 w 2883039"/>
              <a:gd name="connsiteY34-13606" fmla="*/ 1567770 h 2151832"/>
              <a:gd name="connsiteX35-13607" fmla="*/ 184444 w 2883039"/>
              <a:gd name="connsiteY35-13608" fmla="*/ 1712736 h 2151832"/>
              <a:gd name="connsiteX36-13609" fmla="*/ 106386 w 2883039"/>
              <a:gd name="connsiteY36-13610" fmla="*/ 1824248 h 2151832"/>
              <a:gd name="connsiteX37-13611" fmla="*/ 15629 w 2883039"/>
              <a:gd name="connsiteY37-13612" fmla="*/ 1903087 h 2151832"/>
              <a:gd name="connsiteX38-13613" fmla="*/ 12612 w 2883039"/>
              <a:gd name="connsiteY38-13614" fmla="*/ 2058088 h 2151832"/>
              <a:gd name="connsiteX0-13615" fmla="*/ 99748 w 2883039"/>
              <a:gd name="connsiteY0-13616" fmla="*/ 2068485 h 2153870"/>
              <a:gd name="connsiteX1-13617" fmla="*/ 340690 w 2883039"/>
              <a:gd name="connsiteY1-13618" fmla="*/ 2143753 h 2153870"/>
              <a:gd name="connsiteX2-13619" fmla="*/ 667211 w 2883039"/>
              <a:gd name="connsiteY2-13620" fmla="*/ 2143487 h 2153870"/>
              <a:gd name="connsiteX3-13621" fmla="*/ 1020464 w 2883039"/>
              <a:gd name="connsiteY3-13622" fmla="*/ 2081456 h 2153870"/>
              <a:gd name="connsiteX4-13623" fmla="*/ 1043088 w 2883039"/>
              <a:gd name="connsiteY4-13624" fmla="*/ 1647867 h 2153870"/>
              <a:gd name="connsiteX5-13625" fmla="*/ 2158210 w 2883039"/>
              <a:gd name="connsiteY5-13626" fmla="*/ 1636716 h 2153870"/>
              <a:gd name="connsiteX6-13627" fmla="*/ 2147059 w 2883039"/>
              <a:gd name="connsiteY6-13628" fmla="*/ 789223 h 2153870"/>
              <a:gd name="connsiteX7-13629" fmla="*/ 2303176 w 2883039"/>
              <a:gd name="connsiteY7-13630" fmla="*/ 688862 h 2153870"/>
              <a:gd name="connsiteX8-13631" fmla="*/ 2648864 w 2883039"/>
              <a:gd name="connsiteY8-13632" fmla="*/ 510442 h 2153870"/>
              <a:gd name="connsiteX9-13633" fmla="*/ 2883039 w 2883039"/>
              <a:gd name="connsiteY9-13634" fmla="*/ 521594 h 2153870"/>
              <a:gd name="connsiteX10-13635" fmla="*/ 2883039 w 2883039"/>
              <a:gd name="connsiteY10-13636" fmla="*/ 354325 h 2153870"/>
              <a:gd name="connsiteX11-13637" fmla="*/ 2838435 w 2883039"/>
              <a:gd name="connsiteY11-13638" fmla="*/ 276267 h 2153870"/>
              <a:gd name="connsiteX12-13639" fmla="*/ 2827283 w 2883039"/>
              <a:gd name="connsiteY12-13640" fmla="*/ 242813 h 2153870"/>
              <a:gd name="connsiteX13-13641" fmla="*/ 2771527 w 2883039"/>
              <a:gd name="connsiteY13-13642" fmla="*/ 220511 h 2153870"/>
              <a:gd name="connsiteX14-13643" fmla="*/ 2760376 w 2883039"/>
              <a:gd name="connsiteY14-13644" fmla="*/ 265116 h 2153870"/>
              <a:gd name="connsiteX15-13645" fmla="*/ 2637713 w 2883039"/>
              <a:gd name="connsiteY15-13646" fmla="*/ 231662 h 2153870"/>
              <a:gd name="connsiteX16-13647" fmla="*/ 2549412 w 2883039"/>
              <a:gd name="connsiteY16-13648" fmla="*/ 219883 h 2153870"/>
              <a:gd name="connsiteX17-13649" fmla="*/ 2525312 w 2883039"/>
              <a:gd name="connsiteY17-13650" fmla="*/ 321211 h 2153870"/>
              <a:gd name="connsiteX18-13651" fmla="*/ 2469160 w 2883039"/>
              <a:gd name="connsiteY18-13652" fmla="*/ 294613 h 2153870"/>
              <a:gd name="connsiteX19-13653" fmla="*/ 2483005 w 2883039"/>
              <a:gd name="connsiteY19-13654" fmla="*/ 188081 h 2153870"/>
              <a:gd name="connsiteX20-13655" fmla="*/ 2423540 w 2883039"/>
              <a:gd name="connsiteY20-13656" fmla="*/ 97656 h 2153870"/>
              <a:gd name="connsiteX21-13657" fmla="*/ 2373795 w 2883039"/>
              <a:gd name="connsiteY21-13658" fmla="*/ 7983 h 2153870"/>
              <a:gd name="connsiteX22-13659" fmla="*/ 2320813 w 2883039"/>
              <a:gd name="connsiteY22-13660" fmla="*/ 41333 h 2153870"/>
              <a:gd name="connsiteX23-13661" fmla="*/ 2176618 w 2883039"/>
              <a:gd name="connsiteY23-13662" fmla="*/ 52157 h 2153870"/>
              <a:gd name="connsiteX24-13663" fmla="*/ 2025101 w 2883039"/>
              <a:gd name="connsiteY24-13664" fmla="*/ 2038 h 2153870"/>
              <a:gd name="connsiteX25-13665" fmla="*/ 1998947 w 2883039"/>
              <a:gd name="connsiteY25-13666" fmla="*/ 69316 h 2153870"/>
              <a:gd name="connsiteX26-13667" fmla="*/ 1789327 w 2883039"/>
              <a:gd name="connsiteY26-13668" fmla="*/ 114957 h 2153870"/>
              <a:gd name="connsiteX27-13669" fmla="*/ 1733632 w 2883039"/>
              <a:gd name="connsiteY27-13670" fmla="*/ 182113 h 2153870"/>
              <a:gd name="connsiteX28-13671" fmla="*/ 1727632 w 2883039"/>
              <a:gd name="connsiteY28-13672" fmla="*/ 452183 h 2153870"/>
              <a:gd name="connsiteX29-13673" fmla="*/ 1544893 w 2883039"/>
              <a:gd name="connsiteY29-13674" fmla="*/ 655408 h 2153870"/>
              <a:gd name="connsiteX30-13675" fmla="*/ 1310718 w 2883039"/>
              <a:gd name="connsiteY30-13676" fmla="*/ 789223 h 2153870"/>
              <a:gd name="connsiteX31-13677" fmla="*/ 1188054 w 2883039"/>
              <a:gd name="connsiteY31-13678" fmla="*/ 900735 h 2153870"/>
              <a:gd name="connsiteX32-13679" fmla="*/ 719703 w 2883039"/>
              <a:gd name="connsiteY32-13680" fmla="*/ 1023398 h 2153870"/>
              <a:gd name="connsiteX33-13681" fmla="*/ 652796 w 2883039"/>
              <a:gd name="connsiteY33-13682" fmla="*/ 1079155 h 2153870"/>
              <a:gd name="connsiteX34-13683" fmla="*/ 518981 w 2883039"/>
              <a:gd name="connsiteY34-13684" fmla="*/ 1402540 h 2153870"/>
              <a:gd name="connsiteX35-13685" fmla="*/ 206747 w 2883039"/>
              <a:gd name="connsiteY35-13686" fmla="*/ 1569808 h 2153870"/>
              <a:gd name="connsiteX36-13687" fmla="*/ 184444 w 2883039"/>
              <a:gd name="connsiteY36-13688" fmla="*/ 1714774 h 2153870"/>
              <a:gd name="connsiteX37-13689" fmla="*/ 106386 w 2883039"/>
              <a:gd name="connsiteY37-13690" fmla="*/ 1826286 h 2153870"/>
              <a:gd name="connsiteX38-13691" fmla="*/ 15629 w 2883039"/>
              <a:gd name="connsiteY38-13692" fmla="*/ 1905125 h 2153870"/>
              <a:gd name="connsiteX39-13693" fmla="*/ 12612 w 2883039"/>
              <a:gd name="connsiteY39-13694" fmla="*/ 2060126 h 2153870"/>
              <a:gd name="connsiteX0-13695" fmla="*/ 99748 w 2883039"/>
              <a:gd name="connsiteY0-13696" fmla="*/ 2066447 h 2151832"/>
              <a:gd name="connsiteX1-13697" fmla="*/ 340690 w 2883039"/>
              <a:gd name="connsiteY1-13698" fmla="*/ 2141715 h 2151832"/>
              <a:gd name="connsiteX2-13699" fmla="*/ 667211 w 2883039"/>
              <a:gd name="connsiteY2-13700" fmla="*/ 2141449 h 2151832"/>
              <a:gd name="connsiteX3-13701" fmla="*/ 1020464 w 2883039"/>
              <a:gd name="connsiteY3-13702" fmla="*/ 2079418 h 2151832"/>
              <a:gd name="connsiteX4-13703" fmla="*/ 1043088 w 2883039"/>
              <a:gd name="connsiteY4-13704" fmla="*/ 1645829 h 2151832"/>
              <a:gd name="connsiteX5-13705" fmla="*/ 2158210 w 2883039"/>
              <a:gd name="connsiteY5-13706" fmla="*/ 1634678 h 2151832"/>
              <a:gd name="connsiteX6-13707" fmla="*/ 2147059 w 2883039"/>
              <a:gd name="connsiteY6-13708" fmla="*/ 787185 h 2151832"/>
              <a:gd name="connsiteX7-13709" fmla="*/ 2303176 w 2883039"/>
              <a:gd name="connsiteY7-13710" fmla="*/ 686824 h 2151832"/>
              <a:gd name="connsiteX8-13711" fmla="*/ 2648864 w 2883039"/>
              <a:gd name="connsiteY8-13712" fmla="*/ 508404 h 2151832"/>
              <a:gd name="connsiteX9-13713" fmla="*/ 2883039 w 2883039"/>
              <a:gd name="connsiteY9-13714" fmla="*/ 519556 h 2151832"/>
              <a:gd name="connsiteX10-13715" fmla="*/ 2883039 w 2883039"/>
              <a:gd name="connsiteY10-13716" fmla="*/ 352287 h 2151832"/>
              <a:gd name="connsiteX11-13717" fmla="*/ 2838435 w 2883039"/>
              <a:gd name="connsiteY11-13718" fmla="*/ 274229 h 2151832"/>
              <a:gd name="connsiteX12-13719" fmla="*/ 2827283 w 2883039"/>
              <a:gd name="connsiteY12-13720" fmla="*/ 240775 h 2151832"/>
              <a:gd name="connsiteX13-13721" fmla="*/ 2771527 w 2883039"/>
              <a:gd name="connsiteY13-13722" fmla="*/ 218473 h 2151832"/>
              <a:gd name="connsiteX14-13723" fmla="*/ 2760376 w 2883039"/>
              <a:gd name="connsiteY14-13724" fmla="*/ 263078 h 2151832"/>
              <a:gd name="connsiteX15-13725" fmla="*/ 2637713 w 2883039"/>
              <a:gd name="connsiteY15-13726" fmla="*/ 229624 h 2151832"/>
              <a:gd name="connsiteX16-13727" fmla="*/ 2549412 w 2883039"/>
              <a:gd name="connsiteY16-13728" fmla="*/ 217845 h 2151832"/>
              <a:gd name="connsiteX17-13729" fmla="*/ 2525312 w 2883039"/>
              <a:gd name="connsiteY17-13730" fmla="*/ 319173 h 2151832"/>
              <a:gd name="connsiteX18-13731" fmla="*/ 2469160 w 2883039"/>
              <a:gd name="connsiteY18-13732" fmla="*/ 292575 h 2151832"/>
              <a:gd name="connsiteX19-13733" fmla="*/ 2483005 w 2883039"/>
              <a:gd name="connsiteY19-13734" fmla="*/ 186043 h 2151832"/>
              <a:gd name="connsiteX20-13735" fmla="*/ 2423540 w 2883039"/>
              <a:gd name="connsiteY20-13736" fmla="*/ 95618 h 2151832"/>
              <a:gd name="connsiteX21-13737" fmla="*/ 2373795 w 2883039"/>
              <a:gd name="connsiteY21-13738" fmla="*/ 5945 h 2151832"/>
              <a:gd name="connsiteX22-13739" fmla="*/ 2320813 w 2883039"/>
              <a:gd name="connsiteY22-13740" fmla="*/ 39295 h 2151832"/>
              <a:gd name="connsiteX23-13741" fmla="*/ 2176618 w 2883039"/>
              <a:gd name="connsiteY23-13742" fmla="*/ 50119 h 2151832"/>
              <a:gd name="connsiteX24-13743" fmla="*/ 2025101 w 2883039"/>
              <a:gd name="connsiteY24-13744" fmla="*/ 0 h 2151832"/>
              <a:gd name="connsiteX25-13745" fmla="*/ 1998947 w 2883039"/>
              <a:gd name="connsiteY25-13746" fmla="*/ 67278 h 2151832"/>
              <a:gd name="connsiteX26-13747" fmla="*/ 1789327 w 2883039"/>
              <a:gd name="connsiteY26-13748" fmla="*/ 112919 h 2151832"/>
              <a:gd name="connsiteX27-13749" fmla="*/ 1733632 w 2883039"/>
              <a:gd name="connsiteY27-13750" fmla="*/ 180075 h 2151832"/>
              <a:gd name="connsiteX28-13751" fmla="*/ 1727632 w 2883039"/>
              <a:gd name="connsiteY28-13752" fmla="*/ 450145 h 2151832"/>
              <a:gd name="connsiteX29-13753" fmla="*/ 1544893 w 2883039"/>
              <a:gd name="connsiteY29-13754" fmla="*/ 653370 h 2151832"/>
              <a:gd name="connsiteX30-13755" fmla="*/ 1310718 w 2883039"/>
              <a:gd name="connsiteY30-13756" fmla="*/ 787185 h 2151832"/>
              <a:gd name="connsiteX31-13757" fmla="*/ 1188054 w 2883039"/>
              <a:gd name="connsiteY31-13758" fmla="*/ 898697 h 2151832"/>
              <a:gd name="connsiteX32-13759" fmla="*/ 719703 w 2883039"/>
              <a:gd name="connsiteY32-13760" fmla="*/ 1021360 h 2151832"/>
              <a:gd name="connsiteX33-13761" fmla="*/ 652796 w 2883039"/>
              <a:gd name="connsiteY33-13762" fmla="*/ 1077117 h 2151832"/>
              <a:gd name="connsiteX34-13763" fmla="*/ 518981 w 2883039"/>
              <a:gd name="connsiteY34-13764" fmla="*/ 1400502 h 2151832"/>
              <a:gd name="connsiteX35-13765" fmla="*/ 206747 w 2883039"/>
              <a:gd name="connsiteY35-13766" fmla="*/ 1567770 h 2151832"/>
              <a:gd name="connsiteX36-13767" fmla="*/ 184444 w 2883039"/>
              <a:gd name="connsiteY36-13768" fmla="*/ 1712736 h 2151832"/>
              <a:gd name="connsiteX37-13769" fmla="*/ 106386 w 2883039"/>
              <a:gd name="connsiteY37-13770" fmla="*/ 1824248 h 2151832"/>
              <a:gd name="connsiteX38-13771" fmla="*/ 15629 w 2883039"/>
              <a:gd name="connsiteY38-13772" fmla="*/ 1903087 h 2151832"/>
              <a:gd name="connsiteX39-13773" fmla="*/ 12612 w 2883039"/>
              <a:gd name="connsiteY39-13774" fmla="*/ 2058088 h 2151832"/>
              <a:gd name="connsiteX0-13775" fmla="*/ 99748 w 2883039"/>
              <a:gd name="connsiteY0-13776" fmla="*/ 2066447 h 2151832"/>
              <a:gd name="connsiteX1-13777" fmla="*/ 340690 w 2883039"/>
              <a:gd name="connsiteY1-13778" fmla="*/ 2141715 h 2151832"/>
              <a:gd name="connsiteX2-13779" fmla="*/ 667211 w 2883039"/>
              <a:gd name="connsiteY2-13780" fmla="*/ 2141449 h 2151832"/>
              <a:gd name="connsiteX3-13781" fmla="*/ 1020464 w 2883039"/>
              <a:gd name="connsiteY3-13782" fmla="*/ 2079418 h 2151832"/>
              <a:gd name="connsiteX4-13783" fmla="*/ 1043088 w 2883039"/>
              <a:gd name="connsiteY4-13784" fmla="*/ 1645829 h 2151832"/>
              <a:gd name="connsiteX5-13785" fmla="*/ 2158210 w 2883039"/>
              <a:gd name="connsiteY5-13786" fmla="*/ 1634678 h 2151832"/>
              <a:gd name="connsiteX6-13787" fmla="*/ 2147059 w 2883039"/>
              <a:gd name="connsiteY6-13788" fmla="*/ 787185 h 2151832"/>
              <a:gd name="connsiteX7-13789" fmla="*/ 2303176 w 2883039"/>
              <a:gd name="connsiteY7-13790" fmla="*/ 686824 h 2151832"/>
              <a:gd name="connsiteX8-13791" fmla="*/ 2648864 w 2883039"/>
              <a:gd name="connsiteY8-13792" fmla="*/ 508404 h 2151832"/>
              <a:gd name="connsiteX9-13793" fmla="*/ 2883039 w 2883039"/>
              <a:gd name="connsiteY9-13794" fmla="*/ 519556 h 2151832"/>
              <a:gd name="connsiteX10-13795" fmla="*/ 2883039 w 2883039"/>
              <a:gd name="connsiteY10-13796" fmla="*/ 352287 h 2151832"/>
              <a:gd name="connsiteX11-13797" fmla="*/ 2838435 w 2883039"/>
              <a:gd name="connsiteY11-13798" fmla="*/ 274229 h 2151832"/>
              <a:gd name="connsiteX12-13799" fmla="*/ 2827283 w 2883039"/>
              <a:gd name="connsiteY12-13800" fmla="*/ 240775 h 2151832"/>
              <a:gd name="connsiteX13-13801" fmla="*/ 2771527 w 2883039"/>
              <a:gd name="connsiteY13-13802" fmla="*/ 218473 h 2151832"/>
              <a:gd name="connsiteX14-13803" fmla="*/ 2760376 w 2883039"/>
              <a:gd name="connsiteY14-13804" fmla="*/ 263078 h 2151832"/>
              <a:gd name="connsiteX15-13805" fmla="*/ 2637713 w 2883039"/>
              <a:gd name="connsiteY15-13806" fmla="*/ 229624 h 2151832"/>
              <a:gd name="connsiteX16-13807" fmla="*/ 2549412 w 2883039"/>
              <a:gd name="connsiteY16-13808" fmla="*/ 217845 h 2151832"/>
              <a:gd name="connsiteX17-13809" fmla="*/ 2525312 w 2883039"/>
              <a:gd name="connsiteY17-13810" fmla="*/ 319173 h 2151832"/>
              <a:gd name="connsiteX18-13811" fmla="*/ 2469160 w 2883039"/>
              <a:gd name="connsiteY18-13812" fmla="*/ 292575 h 2151832"/>
              <a:gd name="connsiteX19-13813" fmla="*/ 2483005 w 2883039"/>
              <a:gd name="connsiteY19-13814" fmla="*/ 186043 h 2151832"/>
              <a:gd name="connsiteX20-13815" fmla="*/ 2423540 w 2883039"/>
              <a:gd name="connsiteY20-13816" fmla="*/ 95618 h 2151832"/>
              <a:gd name="connsiteX21-13817" fmla="*/ 2373795 w 2883039"/>
              <a:gd name="connsiteY21-13818" fmla="*/ 5945 h 2151832"/>
              <a:gd name="connsiteX22-13819" fmla="*/ 2320813 w 2883039"/>
              <a:gd name="connsiteY22-13820" fmla="*/ 39295 h 2151832"/>
              <a:gd name="connsiteX23-13821" fmla="*/ 2176618 w 2883039"/>
              <a:gd name="connsiteY23-13822" fmla="*/ 50119 h 2151832"/>
              <a:gd name="connsiteX24-13823" fmla="*/ 2025101 w 2883039"/>
              <a:gd name="connsiteY24-13824" fmla="*/ 0 h 2151832"/>
              <a:gd name="connsiteX25-13825" fmla="*/ 1998947 w 2883039"/>
              <a:gd name="connsiteY25-13826" fmla="*/ 67278 h 2151832"/>
              <a:gd name="connsiteX26-13827" fmla="*/ 1860295 w 2883039"/>
              <a:gd name="connsiteY26-13828" fmla="*/ 54217 h 2151832"/>
              <a:gd name="connsiteX27-13829" fmla="*/ 1789327 w 2883039"/>
              <a:gd name="connsiteY27-13830" fmla="*/ 112919 h 2151832"/>
              <a:gd name="connsiteX28-13831" fmla="*/ 1733632 w 2883039"/>
              <a:gd name="connsiteY28-13832" fmla="*/ 180075 h 2151832"/>
              <a:gd name="connsiteX29-13833" fmla="*/ 1727632 w 2883039"/>
              <a:gd name="connsiteY29-13834" fmla="*/ 450145 h 2151832"/>
              <a:gd name="connsiteX30-13835" fmla="*/ 1544893 w 2883039"/>
              <a:gd name="connsiteY30-13836" fmla="*/ 653370 h 2151832"/>
              <a:gd name="connsiteX31-13837" fmla="*/ 1310718 w 2883039"/>
              <a:gd name="connsiteY31-13838" fmla="*/ 787185 h 2151832"/>
              <a:gd name="connsiteX32-13839" fmla="*/ 1188054 w 2883039"/>
              <a:gd name="connsiteY32-13840" fmla="*/ 898697 h 2151832"/>
              <a:gd name="connsiteX33-13841" fmla="*/ 719703 w 2883039"/>
              <a:gd name="connsiteY33-13842" fmla="*/ 1021360 h 2151832"/>
              <a:gd name="connsiteX34-13843" fmla="*/ 652796 w 2883039"/>
              <a:gd name="connsiteY34-13844" fmla="*/ 1077117 h 2151832"/>
              <a:gd name="connsiteX35-13845" fmla="*/ 518981 w 2883039"/>
              <a:gd name="connsiteY35-13846" fmla="*/ 1400502 h 2151832"/>
              <a:gd name="connsiteX36-13847" fmla="*/ 206747 w 2883039"/>
              <a:gd name="connsiteY36-13848" fmla="*/ 1567770 h 2151832"/>
              <a:gd name="connsiteX37-13849" fmla="*/ 184444 w 2883039"/>
              <a:gd name="connsiteY37-13850" fmla="*/ 1712736 h 2151832"/>
              <a:gd name="connsiteX38-13851" fmla="*/ 106386 w 2883039"/>
              <a:gd name="connsiteY38-13852" fmla="*/ 1824248 h 2151832"/>
              <a:gd name="connsiteX39-13853" fmla="*/ 15629 w 2883039"/>
              <a:gd name="connsiteY39-13854" fmla="*/ 1903087 h 2151832"/>
              <a:gd name="connsiteX40-13855" fmla="*/ 12612 w 2883039"/>
              <a:gd name="connsiteY40-13856" fmla="*/ 2058088 h 2151832"/>
              <a:gd name="connsiteX0-13857" fmla="*/ 99748 w 2883039"/>
              <a:gd name="connsiteY0-13858" fmla="*/ 2066447 h 2151832"/>
              <a:gd name="connsiteX1-13859" fmla="*/ 340690 w 2883039"/>
              <a:gd name="connsiteY1-13860" fmla="*/ 2141715 h 2151832"/>
              <a:gd name="connsiteX2-13861" fmla="*/ 667211 w 2883039"/>
              <a:gd name="connsiteY2-13862" fmla="*/ 2141449 h 2151832"/>
              <a:gd name="connsiteX3-13863" fmla="*/ 1020464 w 2883039"/>
              <a:gd name="connsiteY3-13864" fmla="*/ 2079418 h 2151832"/>
              <a:gd name="connsiteX4-13865" fmla="*/ 1043088 w 2883039"/>
              <a:gd name="connsiteY4-13866" fmla="*/ 1645829 h 2151832"/>
              <a:gd name="connsiteX5-13867" fmla="*/ 2158210 w 2883039"/>
              <a:gd name="connsiteY5-13868" fmla="*/ 1634678 h 2151832"/>
              <a:gd name="connsiteX6-13869" fmla="*/ 2147059 w 2883039"/>
              <a:gd name="connsiteY6-13870" fmla="*/ 787185 h 2151832"/>
              <a:gd name="connsiteX7-13871" fmla="*/ 2303176 w 2883039"/>
              <a:gd name="connsiteY7-13872" fmla="*/ 686824 h 2151832"/>
              <a:gd name="connsiteX8-13873" fmla="*/ 2648864 w 2883039"/>
              <a:gd name="connsiteY8-13874" fmla="*/ 508404 h 2151832"/>
              <a:gd name="connsiteX9-13875" fmla="*/ 2883039 w 2883039"/>
              <a:gd name="connsiteY9-13876" fmla="*/ 519556 h 2151832"/>
              <a:gd name="connsiteX10-13877" fmla="*/ 2883039 w 2883039"/>
              <a:gd name="connsiteY10-13878" fmla="*/ 352287 h 2151832"/>
              <a:gd name="connsiteX11-13879" fmla="*/ 2838435 w 2883039"/>
              <a:gd name="connsiteY11-13880" fmla="*/ 274229 h 2151832"/>
              <a:gd name="connsiteX12-13881" fmla="*/ 2827283 w 2883039"/>
              <a:gd name="connsiteY12-13882" fmla="*/ 240775 h 2151832"/>
              <a:gd name="connsiteX13-13883" fmla="*/ 2771527 w 2883039"/>
              <a:gd name="connsiteY13-13884" fmla="*/ 218473 h 2151832"/>
              <a:gd name="connsiteX14-13885" fmla="*/ 2760376 w 2883039"/>
              <a:gd name="connsiteY14-13886" fmla="*/ 263078 h 2151832"/>
              <a:gd name="connsiteX15-13887" fmla="*/ 2637713 w 2883039"/>
              <a:gd name="connsiteY15-13888" fmla="*/ 229624 h 2151832"/>
              <a:gd name="connsiteX16-13889" fmla="*/ 2549412 w 2883039"/>
              <a:gd name="connsiteY16-13890" fmla="*/ 217845 h 2151832"/>
              <a:gd name="connsiteX17-13891" fmla="*/ 2525312 w 2883039"/>
              <a:gd name="connsiteY17-13892" fmla="*/ 319173 h 2151832"/>
              <a:gd name="connsiteX18-13893" fmla="*/ 2469160 w 2883039"/>
              <a:gd name="connsiteY18-13894" fmla="*/ 292575 h 2151832"/>
              <a:gd name="connsiteX19-13895" fmla="*/ 2483005 w 2883039"/>
              <a:gd name="connsiteY19-13896" fmla="*/ 186043 h 2151832"/>
              <a:gd name="connsiteX20-13897" fmla="*/ 2423540 w 2883039"/>
              <a:gd name="connsiteY20-13898" fmla="*/ 95618 h 2151832"/>
              <a:gd name="connsiteX21-13899" fmla="*/ 2373795 w 2883039"/>
              <a:gd name="connsiteY21-13900" fmla="*/ 5945 h 2151832"/>
              <a:gd name="connsiteX22-13901" fmla="*/ 2320813 w 2883039"/>
              <a:gd name="connsiteY22-13902" fmla="*/ 39295 h 2151832"/>
              <a:gd name="connsiteX23-13903" fmla="*/ 2176618 w 2883039"/>
              <a:gd name="connsiteY23-13904" fmla="*/ 50119 h 2151832"/>
              <a:gd name="connsiteX24-13905" fmla="*/ 2025101 w 2883039"/>
              <a:gd name="connsiteY24-13906" fmla="*/ 0 h 2151832"/>
              <a:gd name="connsiteX25-13907" fmla="*/ 1998947 w 2883039"/>
              <a:gd name="connsiteY25-13908" fmla="*/ 67278 h 2151832"/>
              <a:gd name="connsiteX26-13909" fmla="*/ 1860295 w 2883039"/>
              <a:gd name="connsiteY26-13910" fmla="*/ 54217 h 2151832"/>
              <a:gd name="connsiteX27-13911" fmla="*/ 1804398 w 2883039"/>
              <a:gd name="connsiteY27-13912" fmla="*/ 67207 h 2151832"/>
              <a:gd name="connsiteX28-13913" fmla="*/ 1733632 w 2883039"/>
              <a:gd name="connsiteY28-13914" fmla="*/ 180075 h 2151832"/>
              <a:gd name="connsiteX29-13915" fmla="*/ 1727632 w 2883039"/>
              <a:gd name="connsiteY29-13916" fmla="*/ 450145 h 2151832"/>
              <a:gd name="connsiteX30-13917" fmla="*/ 1544893 w 2883039"/>
              <a:gd name="connsiteY30-13918" fmla="*/ 653370 h 2151832"/>
              <a:gd name="connsiteX31-13919" fmla="*/ 1310718 w 2883039"/>
              <a:gd name="connsiteY31-13920" fmla="*/ 787185 h 2151832"/>
              <a:gd name="connsiteX32-13921" fmla="*/ 1188054 w 2883039"/>
              <a:gd name="connsiteY32-13922" fmla="*/ 898697 h 2151832"/>
              <a:gd name="connsiteX33-13923" fmla="*/ 719703 w 2883039"/>
              <a:gd name="connsiteY33-13924" fmla="*/ 1021360 h 2151832"/>
              <a:gd name="connsiteX34-13925" fmla="*/ 652796 w 2883039"/>
              <a:gd name="connsiteY34-13926" fmla="*/ 1077117 h 2151832"/>
              <a:gd name="connsiteX35-13927" fmla="*/ 518981 w 2883039"/>
              <a:gd name="connsiteY35-13928" fmla="*/ 1400502 h 2151832"/>
              <a:gd name="connsiteX36-13929" fmla="*/ 206747 w 2883039"/>
              <a:gd name="connsiteY36-13930" fmla="*/ 1567770 h 2151832"/>
              <a:gd name="connsiteX37-13931" fmla="*/ 184444 w 2883039"/>
              <a:gd name="connsiteY37-13932" fmla="*/ 1712736 h 2151832"/>
              <a:gd name="connsiteX38-13933" fmla="*/ 106386 w 2883039"/>
              <a:gd name="connsiteY38-13934" fmla="*/ 1824248 h 2151832"/>
              <a:gd name="connsiteX39-13935" fmla="*/ 15629 w 2883039"/>
              <a:gd name="connsiteY39-13936" fmla="*/ 1903087 h 2151832"/>
              <a:gd name="connsiteX40-13937" fmla="*/ 12612 w 2883039"/>
              <a:gd name="connsiteY40-13938" fmla="*/ 2058088 h 2151832"/>
              <a:gd name="connsiteX0-13939" fmla="*/ 99748 w 2883039"/>
              <a:gd name="connsiteY0-13940" fmla="*/ 2066447 h 2151832"/>
              <a:gd name="connsiteX1-13941" fmla="*/ 340690 w 2883039"/>
              <a:gd name="connsiteY1-13942" fmla="*/ 2141715 h 2151832"/>
              <a:gd name="connsiteX2-13943" fmla="*/ 667211 w 2883039"/>
              <a:gd name="connsiteY2-13944" fmla="*/ 2141449 h 2151832"/>
              <a:gd name="connsiteX3-13945" fmla="*/ 1020464 w 2883039"/>
              <a:gd name="connsiteY3-13946" fmla="*/ 2079418 h 2151832"/>
              <a:gd name="connsiteX4-13947" fmla="*/ 1043088 w 2883039"/>
              <a:gd name="connsiteY4-13948" fmla="*/ 1645829 h 2151832"/>
              <a:gd name="connsiteX5-13949" fmla="*/ 2158210 w 2883039"/>
              <a:gd name="connsiteY5-13950" fmla="*/ 1634678 h 2151832"/>
              <a:gd name="connsiteX6-13951" fmla="*/ 2147059 w 2883039"/>
              <a:gd name="connsiteY6-13952" fmla="*/ 787185 h 2151832"/>
              <a:gd name="connsiteX7-13953" fmla="*/ 2303176 w 2883039"/>
              <a:gd name="connsiteY7-13954" fmla="*/ 686824 h 2151832"/>
              <a:gd name="connsiteX8-13955" fmla="*/ 2648864 w 2883039"/>
              <a:gd name="connsiteY8-13956" fmla="*/ 508404 h 2151832"/>
              <a:gd name="connsiteX9-13957" fmla="*/ 2883039 w 2883039"/>
              <a:gd name="connsiteY9-13958" fmla="*/ 519556 h 2151832"/>
              <a:gd name="connsiteX10-13959" fmla="*/ 2883039 w 2883039"/>
              <a:gd name="connsiteY10-13960" fmla="*/ 352287 h 2151832"/>
              <a:gd name="connsiteX11-13961" fmla="*/ 2838435 w 2883039"/>
              <a:gd name="connsiteY11-13962" fmla="*/ 274229 h 2151832"/>
              <a:gd name="connsiteX12-13963" fmla="*/ 2827283 w 2883039"/>
              <a:gd name="connsiteY12-13964" fmla="*/ 240775 h 2151832"/>
              <a:gd name="connsiteX13-13965" fmla="*/ 2771527 w 2883039"/>
              <a:gd name="connsiteY13-13966" fmla="*/ 218473 h 2151832"/>
              <a:gd name="connsiteX14-13967" fmla="*/ 2760376 w 2883039"/>
              <a:gd name="connsiteY14-13968" fmla="*/ 263078 h 2151832"/>
              <a:gd name="connsiteX15-13969" fmla="*/ 2637713 w 2883039"/>
              <a:gd name="connsiteY15-13970" fmla="*/ 229624 h 2151832"/>
              <a:gd name="connsiteX16-13971" fmla="*/ 2549412 w 2883039"/>
              <a:gd name="connsiteY16-13972" fmla="*/ 217845 h 2151832"/>
              <a:gd name="connsiteX17-13973" fmla="*/ 2525312 w 2883039"/>
              <a:gd name="connsiteY17-13974" fmla="*/ 319173 h 2151832"/>
              <a:gd name="connsiteX18-13975" fmla="*/ 2469160 w 2883039"/>
              <a:gd name="connsiteY18-13976" fmla="*/ 292575 h 2151832"/>
              <a:gd name="connsiteX19-13977" fmla="*/ 2483005 w 2883039"/>
              <a:gd name="connsiteY19-13978" fmla="*/ 186043 h 2151832"/>
              <a:gd name="connsiteX20-13979" fmla="*/ 2423540 w 2883039"/>
              <a:gd name="connsiteY20-13980" fmla="*/ 95618 h 2151832"/>
              <a:gd name="connsiteX21-13981" fmla="*/ 2373795 w 2883039"/>
              <a:gd name="connsiteY21-13982" fmla="*/ 5945 h 2151832"/>
              <a:gd name="connsiteX22-13983" fmla="*/ 2320813 w 2883039"/>
              <a:gd name="connsiteY22-13984" fmla="*/ 39295 h 2151832"/>
              <a:gd name="connsiteX23-13985" fmla="*/ 2176618 w 2883039"/>
              <a:gd name="connsiteY23-13986" fmla="*/ 50119 h 2151832"/>
              <a:gd name="connsiteX24-13987" fmla="*/ 2025101 w 2883039"/>
              <a:gd name="connsiteY24-13988" fmla="*/ 0 h 2151832"/>
              <a:gd name="connsiteX25-13989" fmla="*/ 1998947 w 2883039"/>
              <a:gd name="connsiteY25-13990" fmla="*/ 67278 h 2151832"/>
              <a:gd name="connsiteX26-13991" fmla="*/ 1860295 w 2883039"/>
              <a:gd name="connsiteY26-13992" fmla="*/ 54217 h 2151832"/>
              <a:gd name="connsiteX27-13993" fmla="*/ 1804398 w 2883039"/>
              <a:gd name="connsiteY27-13994" fmla="*/ 67207 h 2151832"/>
              <a:gd name="connsiteX28-13995" fmla="*/ 1733632 w 2883039"/>
              <a:gd name="connsiteY28-13996" fmla="*/ 180075 h 2151832"/>
              <a:gd name="connsiteX29-13997" fmla="*/ 1727632 w 2883039"/>
              <a:gd name="connsiteY29-13998" fmla="*/ 450145 h 2151832"/>
              <a:gd name="connsiteX30-13999" fmla="*/ 1544893 w 2883039"/>
              <a:gd name="connsiteY30-14000" fmla="*/ 653370 h 2151832"/>
              <a:gd name="connsiteX31-14001" fmla="*/ 1310718 w 2883039"/>
              <a:gd name="connsiteY31-14002" fmla="*/ 787185 h 2151832"/>
              <a:gd name="connsiteX32-14003" fmla="*/ 1188054 w 2883039"/>
              <a:gd name="connsiteY32-14004" fmla="*/ 898697 h 2151832"/>
              <a:gd name="connsiteX33-14005" fmla="*/ 719703 w 2883039"/>
              <a:gd name="connsiteY33-14006" fmla="*/ 1021360 h 2151832"/>
              <a:gd name="connsiteX34-14007" fmla="*/ 652796 w 2883039"/>
              <a:gd name="connsiteY34-14008" fmla="*/ 1077117 h 2151832"/>
              <a:gd name="connsiteX35-14009" fmla="*/ 518981 w 2883039"/>
              <a:gd name="connsiteY35-14010" fmla="*/ 1400502 h 2151832"/>
              <a:gd name="connsiteX36-14011" fmla="*/ 206747 w 2883039"/>
              <a:gd name="connsiteY36-14012" fmla="*/ 1567770 h 2151832"/>
              <a:gd name="connsiteX37-14013" fmla="*/ 184444 w 2883039"/>
              <a:gd name="connsiteY37-14014" fmla="*/ 1712736 h 2151832"/>
              <a:gd name="connsiteX38-14015" fmla="*/ 106386 w 2883039"/>
              <a:gd name="connsiteY38-14016" fmla="*/ 1824248 h 2151832"/>
              <a:gd name="connsiteX39-14017" fmla="*/ 15629 w 2883039"/>
              <a:gd name="connsiteY39-14018" fmla="*/ 1903087 h 2151832"/>
              <a:gd name="connsiteX40-14019" fmla="*/ 12612 w 2883039"/>
              <a:gd name="connsiteY40-14020" fmla="*/ 2058088 h 215183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Lst>
            <a:rect l="l" t="t" r="r" b="b"/>
            <a:pathLst>
              <a:path w="2883039" h="2151832">
                <a:moveTo>
                  <a:pt x="99748" y="2066447"/>
                </a:moveTo>
                <a:cubicBezTo>
                  <a:pt x="149944" y="2082128"/>
                  <a:pt x="246113" y="2129215"/>
                  <a:pt x="340690" y="2141715"/>
                </a:cubicBezTo>
                <a:cubicBezTo>
                  <a:pt x="381092" y="2138496"/>
                  <a:pt x="553915" y="2151832"/>
                  <a:pt x="667211" y="2141449"/>
                </a:cubicBezTo>
                <a:cubicBezTo>
                  <a:pt x="734159" y="2135465"/>
                  <a:pt x="981655" y="2150223"/>
                  <a:pt x="1020464" y="2079418"/>
                </a:cubicBezTo>
                <a:lnTo>
                  <a:pt x="1043088" y="1645829"/>
                </a:lnTo>
                <a:lnTo>
                  <a:pt x="2158210" y="1634678"/>
                </a:lnTo>
                <a:lnTo>
                  <a:pt x="2147059" y="787185"/>
                </a:lnTo>
                <a:lnTo>
                  <a:pt x="2303176" y="686824"/>
                </a:lnTo>
                <a:lnTo>
                  <a:pt x="2648864" y="508404"/>
                </a:lnTo>
                <a:lnTo>
                  <a:pt x="2883039" y="519556"/>
                </a:lnTo>
                <a:lnTo>
                  <a:pt x="2883039" y="352287"/>
                </a:lnTo>
                <a:lnTo>
                  <a:pt x="2838435" y="274229"/>
                </a:lnTo>
                <a:lnTo>
                  <a:pt x="2827283" y="240775"/>
                </a:lnTo>
                <a:lnTo>
                  <a:pt x="2771527" y="218473"/>
                </a:lnTo>
                <a:lnTo>
                  <a:pt x="2760376" y="263078"/>
                </a:lnTo>
                <a:lnTo>
                  <a:pt x="2637713" y="229624"/>
                </a:lnTo>
                <a:lnTo>
                  <a:pt x="2549412" y="217845"/>
                </a:lnTo>
                <a:lnTo>
                  <a:pt x="2525312" y="319173"/>
                </a:lnTo>
                <a:lnTo>
                  <a:pt x="2469160" y="292575"/>
                </a:lnTo>
                <a:cubicBezTo>
                  <a:pt x="2468752" y="270125"/>
                  <a:pt x="2483413" y="208493"/>
                  <a:pt x="2483005" y="186043"/>
                </a:cubicBezTo>
                <a:lnTo>
                  <a:pt x="2423540" y="95618"/>
                </a:lnTo>
                <a:lnTo>
                  <a:pt x="2373795" y="5945"/>
                </a:lnTo>
                <a:lnTo>
                  <a:pt x="2320813" y="39295"/>
                </a:lnTo>
                <a:cubicBezTo>
                  <a:pt x="2277401" y="40127"/>
                  <a:pt x="2253283" y="42839"/>
                  <a:pt x="2176618" y="50119"/>
                </a:cubicBezTo>
                <a:lnTo>
                  <a:pt x="2025101" y="0"/>
                </a:lnTo>
                <a:lnTo>
                  <a:pt x="1998947" y="67278"/>
                </a:lnTo>
                <a:cubicBezTo>
                  <a:pt x="1978010" y="82845"/>
                  <a:pt x="1892720" y="54229"/>
                  <a:pt x="1860295" y="54217"/>
                </a:cubicBezTo>
                <a:cubicBezTo>
                  <a:pt x="1827870" y="54205"/>
                  <a:pt x="1832039" y="52761"/>
                  <a:pt x="1804398" y="67207"/>
                </a:cubicBezTo>
                <a:cubicBezTo>
                  <a:pt x="1701960" y="133680"/>
                  <a:pt x="1755950" y="123880"/>
                  <a:pt x="1733632" y="180075"/>
                </a:cubicBezTo>
                <a:cubicBezTo>
                  <a:pt x="1934200" y="243798"/>
                  <a:pt x="1777459" y="360136"/>
                  <a:pt x="1727632" y="450145"/>
                </a:cubicBezTo>
                <a:lnTo>
                  <a:pt x="1544893" y="653370"/>
                </a:lnTo>
                <a:lnTo>
                  <a:pt x="1310718" y="787185"/>
                </a:lnTo>
                <a:lnTo>
                  <a:pt x="1188054" y="898697"/>
                </a:lnTo>
                <a:lnTo>
                  <a:pt x="719703" y="1021360"/>
                </a:lnTo>
                <a:lnTo>
                  <a:pt x="652796" y="1077117"/>
                </a:lnTo>
                <a:lnTo>
                  <a:pt x="518981" y="1400502"/>
                </a:lnTo>
                <a:lnTo>
                  <a:pt x="206747" y="1567770"/>
                </a:lnTo>
                <a:lnTo>
                  <a:pt x="184444" y="1712736"/>
                </a:lnTo>
                <a:lnTo>
                  <a:pt x="106386" y="1824248"/>
                </a:lnTo>
                <a:cubicBezTo>
                  <a:pt x="78250" y="1855973"/>
                  <a:pt x="19346" y="1864058"/>
                  <a:pt x="15629" y="1903087"/>
                </a:cubicBezTo>
                <a:cubicBezTo>
                  <a:pt x="0" y="1942060"/>
                  <a:pt x="13241" y="2025796"/>
                  <a:pt x="12612" y="2058088"/>
                </a:cubicBezTo>
              </a:path>
            </a:pathLst>
          </a:custGeom>
        </p:spPr>
        <p:style>
          <a:lnRef idx="1">
            <a:schemeClr val="accent1"/>
          </a:lnRef>
          <a:fillRef idx="2">
            <a:schemeClr val="accent1"/>
          </a:fillRef>
          <a:effectRef idx="1">
            <a:schemeClr val="accent1"/>
          </a:effectRef>
          <a:fontRef idx="minor">
            <a:schemeClr val="dk1"/>
          </a:fontRef>
        </p:style>
        <p:txBody>
          <a:bodyPr lIns="45710" tIns="45710" rIns="45710" bIns="45710" anchor="ctr"/>
          <a:lstStyle/>
          <a:p>
            <a:pPr algn="ctr">
              <a:spcBef>
                <a:spcPts val="400"/>
              </a:spcBef>
              <a:defRPr/>
            </a:pPr>
            <a:endParaRPr lang="en-US" sz="1200" kern="0">
              <a:solidFill>
                <a:srgbClr val="003366"/>
              </a:solidFill>
              <a:latin typeface="+mj-lt"/>
              <a:cs typeface="Arial" panose="020B0604020202020204" pitchFamily="34" charset="0"/>
            </a:endParaRPr>
          </a:p>
        </p:txBody>
      </p:sp>
      <p:sp>
        <p:nvSpPr>
          <p:cNvPr id="16" name="Freeform 33"/>
          <p:cNvSpPr/>
          <p:nvPr>
            <p:custDataLst>
              <p:tags r:id="rId10"/>
            </p:custDataLst>
          </p:nvPr>
        </p:nvSpPr>
        <p:spPr bwMode="gray">
          <a:xfrm>
            <a:off x="2770362" y="4941168"/>
            <a:ext cx="1628256" cy="1191350"/>
          </a:xfrm>
          <a:custGeom>
            <a:avLst/>
            <a:gdLst>
              <a:gd name="connsiteX0" fmla="*/ 0 w 3546087"/>
              <a:gd name="connsiteY0" fmla="*/ 3055434 h 3055434"/>
              <a:gd name="connsiteX1" fmla="*/ 55756 w 3546087"/>
              <a:gd name="connsiteY1" fmla="*/ 2877014 h 3055434"/>
              <a:gd name="connsiteX2" fmla="*/ 1349297 w 3546087"/>
              <a:gd name="connsiteY2" fmla="*/ 2877014 h 3055434"/>
              <a:gd name="connsiteX3" fmla="*/ 1304692 w 3546087"/>
              <a:gd name="connsiteY3" fmla="*/ 2408663 h 3055434"/>
              <a:gd name="connsiteX4" fmla="*/ 1471961 w 3546087"/>
              <a:gd name="connsiteY4" fmla="*/ 2274848 h 3055434"/>
              <a:gd name="connsiteX5" fmla="*/ 1683834 w 3546087"/>
              <a:gd name="connsiteY5" fmla="*/ 2219092 h 3055434"/>
              <a:gd name="connsiteX6" fmla="*/ 1706136 w 3546087"/>
              <a:gd name="connsiteY6" fmla="*/ 1427356 h 3055434"/>
              <a:gd name="connsiteX7" fmla="*/ 2821258 w 3546087"/>
              <a:gd name="connsiteY7" fmla="*/ 1416205 h 3055434"/>
              <a:gd name="connsiteX8" fmla="*/ 2810107 w 3546087"/>
              <a:gd name="connsiteY8" fmla="*/ 568712 h 3055434"/>
              <a:gd name="connsiteX9" fmla="*/ 2966224 w 3546087"/>
              <a:gd name="connsiteY9" fmla="*/ 468351 h 3055434"/>
              <a:gd name="connsiteX10" fmla="*/ 3311912 w 3546087"/>
              <a:gd name="connsiteY10" fmla="*/ 289931 h 3055434"/>
              <a:gd name="connsiteX11" fmla="*/ 3546087 w 3546087"/>
              <a:gd name="connsiteY11" fmla="*/ 301083 h 3055434"/>
              <a:gd name="connsiteX12" fmla="*/ 3546087 w 3546087"/>
              <a:gd name="connsiteY12" fmla="*/ 133814 h 3055434"/>
              <a:gd name="connsiteX13" fmla="*/ 3501483 w 3546087"/>
              <a:gd name="connsiteY13" fmla="*/ 55756 h 3055434"/>
              <a:gd name="connsiteX14" fmla="*/ 3490331 w 3546087"/>
              <a:gd name="connsiteY14" fmla="*/ 22302 h 3055434"/>
              <a:gd name="connsiteX15" fmla="*/ 3434575 w 3546087"/>
              <a:gd name="connsiteY15" fmla="*/ 0 h 3055434"/>
              <a:gd name="connsiteX16" fmla="*/ 3423424 w 3546087"/>
              <a:gd name="connsiteY16" fmla="*/ 44605 h 3055434"/>
              <a:gd name="connsiteX17" fmla="*/ 3300761 w 3546087"/>
              <a:gd name="connsiteY17" fmla="*/ 11151 h 3055434"/>
              <a:gd name="connsiteX18" fmla="*/ 3267307 w 3546087"/>
              <a:gd name="connsiteY18" fmla="*/ 100361 h 3055434"/>
              <a:gd name="connsiteX19" fmla="*/ 3155795 w 3546087"/>
              <a:gd name="connsiteY19" fmla="*/ 66907 h 3055434"/>
              <a:gd name="connsiteX20" fmla="*/ 3111190 w 3546087"/>
              <a:gd name="connsiteY20" fmla="*/ 100361 h 3055434"/>
              <a:gd name="connsiteX21" fmla="*/ 3033131 w 3546087"/>
              <a:gd name="connsiteY21" fmla="*/ 100361 h 3055434"/>
              <a:gd name="connsiteX22" fmla="*/ 3033131 w 3546087"/>
              <a:gd name="connsiteY22" fmla="*/ 100361 h 3055434"/>
              <a:gd name="connsiteX23" fmla="*/ 2955073 w 3546087"/>
              <a:gd name="connsiteY23" fmla="*/ 144966 h 3055434"/>
              <a:gd name="connsiteX24" fmla="*/ 2877014 w 3546087"/>
              <a:gd name="connsiteY24" fmla="*/ 178419 h 3055434"/>
              <a:gd name="connsiteX25" fmla="*/ 2821258 w 3546087"/>
              <a:gd name="connsiteY25" fmla="*/ 178419 h 3055434"/>
              <a:gd name="connsiteX26" fmla="*/ 2821258 w 3546087"/>
              <a:gd name="connsiteY26" fmla="*/ 178419 h 3055434"/>
              <a:gd name="connsiteX27" fmla="*/ 2821258 w 3546087"/>
              <a:gd name="connsiteY27" fmla="*/ 334536 h 3055434"/>
              <a:gd name="connsiteX28" fmla="*/ 2687444 w 3546087"/>
              <a:gd name="connsiteY28" fmla="*/ 312234 h 3055434"/>
              <a:gd name="connsiteX29" fmla="*/ 2598234 w 3546087"/>
              <a:gd name="connsiteY29" fmla="*/ 367990 h 3055434"/>
              <a:gd name="connsiteX30" fmla="*/ 2486722 w 3546087"/>
              <a:gd name="connsiteY30" fmla="*/ 401444 h 3055434"/>
              <a:gd name="connsiteX31" fmla="*/ 2430966 w 3546087"/>
              <a:gd name="connsiteY31" fmla="*/ 356839 h 3055434"/>
              <a:gd name="connsiteX32" fmla="*/ 2397512 w 3546087"/>
              <a:gd name="connsiteY32" fmla="*/ 390292 h 3055434"/>
              <a:gd name="connsiteX33" fmla="*/ 2319453 w 3546087"/>
              <a:gd name="connsiteY33" fmla="*/ 446048 h 3055434"/>
              <a:gd name="connsiteX34" fmla="*/ 2207941 w 3546087"/>
              <a:gd name="connsiteY34" fmla="*/ 434897 h 3055434"/>
              <a:gd name="connsiteX35" fmla="*/ 1973766 w 3546087"/>
              <a:gd name="connsiteY35" fmla="*/ 568712 h 3055434"/>
              <a:gd name="connsiteX36" fmla="*/ 1851102 w 3546087"/>
              <a:gd name="connsiteY36" fmla="*/ 680224 h 3055434"/>
              <a:gd name="connsiteX37" fmla="*/ 1382751 w 3546087"/>
              <a:gd name="connsiteY37" fmla="*/ 802887 h 3055434"/>
              <a:gd name="connsiteX38" fmla="*/ 1315844 w 3546087"/>
              <a:gd name="connsiteY38" fmla="*/ 858644 h 3055434"/>
              <a:gd name="connsiteX39" fmla="*/ 1182029 w 3546087"/>
              <a:gd name="connsiteY39" fmla="*/ 1182029 h 3055434"/>
              <a:gd name="connsiteX40" fmla="*/ 869795 w 3546087"/>
              <a:gd name="connsiteY40" fmla="*/ 1349297 h 3055434"/>
              <a:gd name="connsiteX41" fmla="*/ 847492 w 3546087"/>
              <a:gd name="connsiteY41" fmla="*/ 1494263 h 3055434"/>
              <a:gd name="connsiteX42" fmla="*/ 769434 w 3546087"/>
              <a:gd name="connsiteY42" fmla="*/ 1605775 h 3055434"/>
              <a:gd name="connsiteX43" fmla="*/ 747131 w 3546087"/>
              <a:gd name="connsiteY43" fmla="*/ 1839951 h 3055434"/>
              <a:gd name="connsiteX44" fmla="*/ 345687 w 3546087"/>
              <a:gd name="connsiteY44" fmla="*/ 2152185 h 3055434"/>
              <a:gd name="connsiteX45" fmla="*/ 457200 w 3546087"/>
              <a:gd name="connsiteY45" fmla="*/ 2085278 h 3055434"/>
              <a:gd name="connsiteX46" fmla="*/ 379141 w 3546087"/>
              <a:gd name="connsiteY46" fmla="*/ 2230244 h 3055434"/>
              <a:gd name="connsiteX47" fmla="*/ 301083 w 3546087"/>
              <a:gd name="connsiteY47" fmla="*/ 2352907 h 3055434"/>
              <a:gd name="connsiteX48" fmla="*/ 301083 w 3546087"/>
              <a:gd name="connsiteY48" fmla="*/ 2352907 h 3055434"/>
              <a:gd name="connsiteX49" fmla="*/ 245327 w 3546087"/>
              <a:gd name="connsiteY49" fmla="*/ 2419814 h 3055434"/>
              <a:gd name="connsiteX50" fmla="*/ 234175 w 3546087"/>
              <a:gd name="connsiteY50" fmla="*/ 2509024 h 3055434"/>
              <a:gd name="connsiteX51" fmla="*/ 234175 w 3546087"/>
              <a:gd name="connsiteY51" fmla="*/ 2509024 h 3055434"/>
              <a:gd name="connsiteX52" fmla="*/ 144966 w 3546087"/>
              <a:gd name="connsiteY52" fmla="*/ 2598234 h 3055434"/>
              <a:gd name="connsiteX53" fmla="*/ 66907 w 3546087"/>
              <a:gd name="connsiteY53" fmla="*/ 2642839 h 3055434"/>
              <a:gd name="connsiteX54" fmla="*/ 55756 w 3546087"/>
              <a:gd name="connsiteY54" fmla="*/ 2732048 h 3055434"/>
              <a:gd name="connsiteX55" fmla="*/ 44605 w 3546087"/>
              <a:gd name="connsiteY55" fmla="*/ 2932770 h 3055434"/>
              <a:gd name="connsiteX0-1" fmla="*/ 0 w 3546087"/>
              <a:gd name="connsiteY0-2" fmla="*/ 3055434 h 3055434"/>
              <a:gd name="connsiteX1-3" fmla="*/ 55756 w 3546087"/>
              <a:gd name="connsiteY1-4" fmla="*/ 2877014 h 3055434"/>
              <a:gd name="connsiteX2-5" fmla="*/ 1349297 w 3546087"/>
              <a:gd name="connsiteY2-6" fmla="*/ 2877014 h 3055434"/>
              <a:gd name="connsiteX3-7" fmla="*/ 1304692 w 3546087"/>
              <a:gd name="connsiteY3-8" fmla="*/ 2408663 h 3055434"/>
              <a:gd name="connsiteX4-9" fmla="*/ 1471961 w 3546087"/>
              <a:gd name="connsiteY4-10" fmla="*/ 2274848 h 3055434"/>
              <a:gd name="connsiteX5-11" fmla="*/ 1683834 w 3546087"/>
              <a:gd name="connsiteY5-12" fmla="*/ 2219092 h 3055434"/>
              <a:gd name="connsiteX6-13" fmla="*/ 2821258 w 3546087"/>
              <a:gd name="connsiteY6-14" fmla="*/ 1416205 h 3055434"/>
              <a:gd name="connsiteX7-15" fmla="*/ 2810107 w 3546087"/>
              <a:gd name="connsiteY7-16" fmla="*/ 568712 h 3055434"/>
              <a:gd name="connsiteX8-17" fmla="*/ 2966224 w 3546087"/>
              <a:gd name="connsiteY8-18" fmla="*/ 468351 h 3055434"/>
              <a:gd name="connsiteX9-19" fmla="*/ 3311912 w 3546087"/>
              <a:gd name="connsiteY9-20" fmla="*/ 289931 h 3055434"/>
              <a:gd name="connsiteX10-21" fmla="*/ 3546087 w 3546087"/>
              <a:gd name="connsiteY10-22" fmla="*/ 301083 h 3055434"/>
              <a:gd name="connsiteX11-23" fmla="*/ 3546087 w 3546087"/>
              <a:gd name="connsiteY11-24" fmla="*/ 133814 h 3055434"/>
              <a:gd name="connsiteX12-25" fmla="*/ 3501483 w 3546087"/>
              <a:gd name="connsiteY12-26" fmla="*/ 55756 h 3055434"/>
              <a:gd name="connsiteX13-27" fmla="*/ 3490331 w 3546087"/>
              <a:gd name="connsiteY13-28" fmla="*/ 22302 h 3055434"/>
              <a:gd name="connsiteX14-29" fmla="*/ 3434575 w 3546087"/>
              <a:gd name="connsiteY14-30" fmla="*/ 0 h 3055434"/>
              <a:gd name="connsiteX15-31" fmla="*/ 3423424 w 3546087"/>
              <a:gd name="connsiteY15-32" fmla="*/ 44605 h 3055434"/>
              <a:gd name="connsiteX16-33" fmla="*/ 3300761 w 3546087"/>
              <a:gd name="connsiteY16-34" fmla="*/ 11151 h 3055434"/>
              <a:gd name="connsiteX17-35" fmla="*/ 3267307 w 3546087"/>
              <a:gd name="connsiteY17-36" fmla="*/ 100361 h 3055434"/>
              <a:gd name="connsiteX18-37" fmla="*/ 3155795 w 3546087"/>
              <a:gd name="connsiteY18-38" fmla="*/ 66907 h 3055434"/>
              <a:gd name="connsiteX19-39" fmla="*/ 3111190 w 3546087"/>
              <a:gd name="connsiteY19-40" fmla="*/ 100361 h 3055434"/>
              <a:gd name="connsiteX20-41" fmla="*/ 3033131 w 3546087"/>
              <a:gd name="connsiteY20-42" fmla="*/ 100361 h 3055434"/>
              <a:gd name="connsiteX21-43" fmla="*/ 3033131 w 3546087"/>
              <a:gd name="connsiteY21-44" fmla="*/ 100361 h 3055434"/>
              <a:gd name="connsiteX22-45" fmla="*/ 2955073 w 3546087"/>
              <a:gd name="connsiteY22-46" fmla="*/ 144966 h 3055434"/>
              <a:gd name="connsiteX23-47" fmla="*/ 2877014 w 3546087"/>
              <a:gd name="connsiteY23-48" fmla="*/ 178419 h 3055434"/>
              <a:gd name="connsiteX24-49" fmla="*/ 2821258 w 3546087"/>
              <a:gd name="connsiteY24-50" fmla="*/ 178419 h 3055434"/>
              <a:gd name="connsiteX25-51" fmla="*/ 2821258 w 3546087"/>
              <a:gd name="connsiteY25-52" fmla="*/ 178419 h 3055434"/>
              <a:gd name="connsiteX26-53" fmla="*/ 2821258 w 3546087"/>
              <a:gd name="connsiteY26-54" fmla="*/ 334536 h 3055434"/>
              <a:gd name="connsiteX27-55" fmla="*/ 2687444 w 3546087"/>
              <a:gd name="connsiteY27-56" fmla="*/ 312234 h 3055434"/>
              <a:gd name="connsiteX28-57" fmla="*/ 2598234 w 3546087"/>
              <a:gd name="connsiteY28-58" fmla="*/ 367990 h 3055434"/>
              <a:gd name="connsiteX29-59" fmla="*/ 2486722 w 3546087"/>
              <a:gd name="connsiteY29-60" fmla="*/ 401444 h 3055434"/>
              <a:gd name="connsiteX30-61" fmla="*/ 2430966 w 3546087"/>
              <a:gd name="connsiteY30-62" fmla="*/ 356839 h 3055434"/>
              <a:gd name="connsiteX31-63" fmla="*/ 2397512 w 3546087"/>
              <a:gd name="connsiteY31-64" fmla="*/ 390292 h 3055434"/>
              <a:gd name="connsiteX32-65" fmla="*/ 2319453 w 3546087"/>
              <a:gd name="connsiteY32-66" fmla="*/ 446048 h 3055434"/>
              <a:gd name="connsiteX33-67" fmla="*/ 2207941 w 3546087"/>
              <a:gd name="connsiteY33-68" fmla="*/ 434897 h 3055434"/>
              <a:gd name="connsiteX34-69" fmla="*/ 1973766 w 3546087"/>
              <a:gd name="connsiteY34-70" fmla="*/ 568712 h 3055434"/>
              <a:gd name="connsiteX35-71" fmla="*/ 1851102 w 3546087"/>
              <a:gd name="connsiteY35-72" fmla="*/ 680224 h 3055434"/>
              <a:gd name="connsiteX36-73" fmla="*/ 1382751 w 3546087"/>
              <a:gd name="connsiteY36-74" fmla="*/ 802887 h 3055434"/>
              <a:gd name="connsiteX37-75" fmla="*/ 1315844 w 3546087"/>
              <a:gd name="connsiteY37-76" fmla="*/ 858644 h 3055434"/>
              <a:gd name="connsiteX38-77" fmla="*/ 1182029 w 3546087"/>
              <a:gd name="connsiteY38-78" fmla="*/ 1182029 h 3055434"/>
              <a:gd name="connsiteX39-79" fmla="*/ 869795 w 3546087"/>
              <a:gd name="connsiteY39-80" fmla="*/ 1349297 h 3055434"/>
              <a:gd name="connsiteX40-81" fmla="*/ 847492 w 3546087"/>
              <a:gd name="connsiteY40-82" fmla="*/ 1494263 h 3055434"/>
              <a:gd name="connsiteX41-83" fmla="*/ 769434 w 3546087"/>
              <a:gd name="connsiteY41-84" fmla="*/ 1605775 h 3055434"/>
              <a:gd name="connsiteX42-85" fmla="*/ 747131 w 3546087"/>
              <a:gd name="connsiteY42-86" fmla="*/ 1839951 h 3055434"/>
              <a:gd name="connsiteX43-87" fmla="*/ 345687 w 3546087"/>
              <a:gd name="connsiteY43-88" fmla="*/ 2152185 h 3055434"/>
              <a:gd name="connsiteX44-89" fmla="*/ 457200 w 3546087"/>
              <a:gd name="connsiteY44-90" fmla="*/ 2085278 h 3055434"/>
              <a:gd name="connsiteX45-91" fmla="*/ 379141 w 3546087"/>
              <a:gd name="connsiteY45-92" fmla="*/ 2230244 h 3055434"/>
              <a:gd name="connsiteX46-93" fmla="*/ 301083 w 3546087"/>
              <a:gd name="connsiteY46-94" fmla="*/ 2352907 h 3055434"/>
              <a:gd name="connsiteX47-95" fmla="*/ 301083 w 3546087"/>
              <a:gd name="connsiteY47-96" fmla="*/ 2352907 h 3055434"/>
              <a:gd name="connsiteX48-97" fmla="*/ 245327 w 3546087"/>
              <a:gd name="connsiteY48-98" fmla="*/ 2419814 h 3055434"/>
              <a:gd name="connsiteX49-99" fmla="*/ 234175 w 3546087"/>
              <a:gd name="connsiteY49-100" fmla="*/ 2509024 h 3055434"/>
              <a:gd name="connsiteX50-101" fmla="*/ 234175 w 3546087"/>
              <a:gd name="connsiteY50-102" fmla="*/ 2509024 h 3055434"/>
              <a:gd name="connsiteX51-103" fmla="*/ 144966 w 3546087"/>
              <a:gd name="connsiteY51-104" fmla="*/ 2598234 h 3055434"/>
              <a:gd name="connsiteX52-105" fmla="*/ 66907 w 3546087"/>
              <a:gd name="connsiteY52-106" fmla="*/ 2642839 h 3055434"/>
              <a:gd name="connsiteX53-107" fmla="*/ 55756 w 3546087"/>
              <a:gd name="connsiteY53-108" fmla="*/ 2732048 h 3055434"/>
              <a:gd name="connsiteX54-109" fmla="*/ 44605 w 3546087"/>
              <a:gd name="connsiteY54-110" fmla="*/ 2932770 h 3055434"/>
              <a:gd name="connsiteX0-111" fmla="*/ 0 w 3546087"/>
              <a:gd name="connsiteY0-112" fmla="*/ 3055434 h 3055434"/>
              <a:gd name="connsiteX1-113" fmla="*/ 55756 w 3546087"/>
              <a:gd name="connsiteY1-114" fmla="*/ 2877014 h 3055434"/>
              <a:gd name="connsiteX2-115" fmla="*/ 1349297 w 3546087"/>
              <a:gd name="connsiteY2-116" fmla="*/ 2877014 h 3055434"/>
              <a:gd name="connsiteX3-117" fmla="*/ 1304692 w 3546087"/>
              <a:gd name="connsiteY3-118" fmla="*/ 2408663 h 3055434"/>
              <a:gd name="connsiteX4-119" fmla="*/ 1471961 w 3546087"/>
              <a:gd name="connsiteY4-120" fmla="*/ 2274848 h 3055434"/>
              <a:gd name="connsiteX5-121" fmla="*/ 1683834 w 3546087"/>
              <a:gd name="connsiteY5-122" fmla="*/ 2219092 h 3055434"/>
              <a:gd name="connsiteX6-123" fmla="*/ 2810107 w 3546087"/>
              <a:gd name="connsiteY6-124" fmla="*/ 568712 h 3055434"/>
              <a:gd name="connsiteX7-125" fmla="*/ 2966224 w 3546087"/>
              <a:gd name="connsiteY7-126" fmla="*/ 468351 h 3055434"/>
              <a:gd name="connsiteX8-127" fmla="*/ 3311912 w 3546087"/>
              <a:gd name="connsiteY8-128" fmla="*/ 289931 h 3055434"/>
              <a:gd name="connsiteX9-129" fmla="*/ 3546087 w 3546087"/>
              <a:gd name="connsiteY9-130" fmla="*/ 301083 h 3055434"/>
              <a:gd name="connsiteX10-131" fmla="*/ 3546087 w 3546087"/>
              <a:gd name="connsiteY10-132" fmla="*/ 133814 h 3055434"/>
              <a:gd name="connsiteX11-133" fmla="*/ 3501483 w 3546087"/>
              <a:gd name="connsiteY11-134" fmla="*/ 55756 h 3055434"/>
              <a:gd name="connsiteX12-135" fmla="*/ 3490331 w 3546087"/>
              <a:gd name="connsiteY12-136" fmla="*/ 22302 h 3055434"/>
              <a:gd name="connsiteX13-137" fmla="*/ 3434575 w 3546087"/>
              <a:gd name="connsiteY13-138" fmla="*/ 0 h 3055434"/>
              <a:gd name="connsiteX14-139" fmla="*/ 3423424 w 3546087"/>
              <a:gd name="connsiteY14-140" fmla="*/ 44605 h 3055434"/>
              <a:gd name="connsiteX15-141" fmla="*/ 3300761 w 3546087"/>
              <a:gd name="connsiteY15-142" fmla="*/ 11151 h 3055434"/>
              <a:gd name="connsiteX16-143" fmla="*/ 3267307 w 3546087"/>
              <a:gd name="connsiteY16-144" fmla="*/ 100361 h 3055434"/>
              <a:gd name="connsiteX17-145" fmla="*/ 3155795 w 3546087"/>
              <a:gd name="connsiteY17-146" fmla="*/ 66907 h 3055434"/>
              <a:gd name="connsiteX18-147" fmla="*/ 3111190 w 3546087"/>
              <a:gd name="connsiteY18-148" fmla="*/ 100361 h 3055434"/>
              <a:gd name="connsiteX19-149" fmla="*/ 3033131 w 3546087"/>
              <a:gd name="connsiteY19-150" fmla="*/ 100361 h 3055434"/>
              <a:gd name="connsiteX20-151" fmla="*/ 3033131 w 3546087"/>
              <a:gd name="connsiteY20-152" fmla="*/ 100361 h 3055434"/>
              <a:gd name="connsiteX21-153" fmla="*/ 2955073 w 3546087"/>
              <a:gd name="connsiteY21-154" fmla="*/ 144966 h 3055434"/>
              <a:gd name="connsiteX22-155" fmla="*/ 2877014 w 3546087"/>
              <a:gd name="connsiteY22-156" fmla="*/ 178419 h 3055434"/>
              <a:gd name="connsiteX23-157" fmla="*/ 2821258 w 3546087"/>
              <a:gd name="connsiteY23-158" fmla="*/ 178419 h 3055434"/>
              <a:gd name="connsiteX24-159" fmla="*/ 2821258 w 3546087"/>
              <a:gd name="connsiteY24-160" fmla="*/ 178419 h 3055434"/>
              <a:gd name="connsiteX25-161" fmla="*/ 2821258 w 3546087"/>
              <a:gd name="connsiteY25-162" fmla="*/ 334536 h 3055434"/>
              <a:gd name="connsiteX26-163" fmla="*/ 2687444 w 3546087"/>
              <a:gd name="connsiteY26-164" fmla="*/ 312234 h 3055434"/>
              <a:gd name="connsiteX27-165" fmla="*/ 2598234 w 3546087"/>
              <a:gd name="connsiteY27-166" fmla="*/ 367990 h 3055434"/>
              <a:gd name="connsiteX28-167" fmla="*/ 2486722 w 3546087"/>
              <a:gd name="connsiteY28-168" fmla="*/ 401444 h 3055434"/>
              <a:gd name="connsiteX29-169" fmla="*/ 2430966 w 3546087"/>
              <a:gd name="connsiteY29-170" fmla="*/ 356839 h 3055434"/>
              <a:gd name="connsiteX30-171" fmla="*/ 2397512 w 3546087"/>
              <a:gd name="connsiteY30-172" fmla="*/ 390292 h 3055434"/>
              <a:gd name="connsiteX31-173" fmla="*/ 2319453 w 3546087"/>
              <a:gd name="connsiteY31-174" fmla="*/ 446048 h 3055434"/>
              <a:gd name="connsiteX32-175" fmla="*/ 2207941 w 3546087"/>
              <a:gd name="connsiteY32-176" fmla="*/ 434897 h 3055434"/>
              <a:gd name="connsiteX33-177" fmla="*/ 1973766 w 3546087"/>
              <a:gd name="connsiteY33-178" fmla="*/ 568712 h 3055434"/>
              <a:gd name="connsiteX34-179" fmla="*/ 1851102 w 3546087"/>
              <a:gd name="connsiteY34-180" fmla="*/ 680224 h 3055434"/>
              <a:gd name="connsiteX35-181" fmla="*/ 1382751 w 3546087"/>
              <a:gd name="connsiteY35-182" fmla="*/ 802887 h 3055434"/>
              <a:gd name="connsiteX36-183" fmla="*/ 1315844 w 3546087"/>
              <a:gd name="connsiteY36-184" fmla="*/ 858644 h 3055434"/>
              <a:gd name="connsiteX37-185" fmla="*/ 1182029 w 3546087"/>
              <a:gd name="connsiteY37-186" fmla="*/ 1182029 h 3055434"/>
              <a:gd name="connsiteX38-187" fmla="*/ 869795 w 3546087"/>
              <a:gd name="connsiteY38-188" fmla="*/ 1349297 h 3055434"/>
              <a:gd name="connsiteX39-189" fmla="*/ 847492 w 3546087"/>
              <a:gd name="connsiteY39-190" fmla="*/ 1494263 h 3055434"/>
              <a:gd name="connsiteX40-191" fmla="*/ 769434 w 3546087"/>
              <a:gd name="connsiteY40-192" fmla="*/ 1605775 h 3055434"/>
              <a:gd name="connsiteX41-193" fmla="*/ 747131 w 3546087"/>
              <a:gd name="connsiteY41-194" fmla="*/ 1839951 h 3055434"/>
              <a:gd name="connsiteX42-195" fmla="*/ 345687 w 3546087"/>
              <a:gd name="connsiteY42-196" fmla="*/ 2152185 h 3055434"/>
              <a:gd name="connsiteX43-197" fmla="*/ 457200 w 3546087"/>
              <a:gd name="connsiteY43-198" fmla="*/ 2085278 h 3055434"/>
              <a:gd name="connsiteX44-199" fmla="*/ 379141 w 3546087"/>
              <a:gd name="connsiteY44-200" fmla="*/ 2230244 h 3055434"/>
              <a:gd name="connsiteX45-201" fmla="*/ 301083 w 3546087"/>
              <a:gd name="connsiteY45-202" fmla="*/ 2352907 h 3055434"/>
              <a:gd name="connsiteX46-203" fmla="*/ 301083 w 3546087"/>
              <a:gd name="connsiteY46-204" fmla="*/ 2352907 h 3055434"/>
              <a:gd name="connsiteX47-205" fmla="*/ 245327 w 3546087"/>
              <a:gd name="connsiteY47-206" fmla="*/ 2419814 h 3055434"/>
              <a:gd name="connsiteX48-207" fmla="*/ 234175 w 3546087"/>
              <a:gd name="connsiteY48-208" fmla="*/ 2509024 h 3055434"/>
              <a:gd name="connsiteX49-209" fmla="*/ 234175 w 3546087"/>
              <a:gd name="connsiteY49-210" fmla="*/ 2509024 h 3055434"/>
              <a:gd name="connsiteX50-211" fmla="*/ 144966 w 3546087"/>
              <a:gd name="connsiteY50-212" fmla="*/ 2598234 h 3055434"/>
              <a:gd name="connsiteX51-213" fmla="*/ 66907 w 3546087"/>
              <a:gd name="connsiteY51-214" fmla="*/ 2642839 h 3055434"/>
              <a:gd name="connsiteX52-215" fmla="*/ 55756 w 3546087"/>
              <a:gd name="connsiteY52-216" fmla="*/ 2732048 h 3055434"/>
              <a:gd name="connsiteX53-217" fmla="*/ 44605 w 3546087"/>
              <a:gd name="connsiteY53-218" fmla="*/ 2932770 h 3055434"/>
              <a:gd name="connsiteX0-219" fmla="*/ 0 w 3546087"/>
              <a:gd name="connsiteY0-220" fmla="*/ 3055434 h 3055434"/>
              <a:gd name="connsiteX1-221" fmla="*/ 55756 w 3546087"/>
              <a:gd name="connsiteY1-222" fmla="*/ 2877014 h 3055434"/>
              <a:gd name="connsiteX2-223" fmla="*/ 1349297 w 3546087"/>
              <a:gd name="connsiteY2-224" fmla="*/ 2877014 h 3055434"/>
              <a:gd name="connsiteX3-225" fmla="*/ 1304692 w 3546087"/>
              <a:gd name="connsiteY3-226" fmla="*/ 2408663 h 3055434"/>
              <a:gd name="connsiteX4-227" fmla="*/ 1471961 w 3546087"/>
              <a:gd name="connsiteY4-228" fmla="*/ 2274848 h 3055434"/>
              <a:gd name="connsiteX5-229" fmla="*/ 1683834 w 3546087"/>
              <a:gd name="connsiteY5-230" fmla="*/ 2219092 h 3055434"/>
              <a:gd name="connsiteX6-231" fmla="*/ 2966224 w 3546087"/>
              <a:gd name="connsiteY6-232" fmla="*/ 468351 h 3055434"/>
              <a:gd name="connsiteX7-233" fmla="*/ 3311912 w 3546087"/>
              <a:gd name="connsiteY7-234" fmla="*/ 289931 h 3055434"/>
              <a:gd name="connsiteX8-235" fmla="*/ 3546087 w 3546087"/>
              <a:gd name="connsiteY8-236" fmla="*/ 301083 h 3055434"/>
              <a:gd name="connsiteX9-237" fmla="*/ 3546087 w 3546087"/>
              <a:gd name="connsiteY9-238" fmla="*/ 133814 h 3055434"/>
              <a:gd name="connsiteX10-239" fmla="*/ 3501483 w 3546087"/>
              <a:gd name="connsiteY10-240" fmla="*/ 55756 h 3055434"/>
              <a:gd name="connsiteX11-241" fmla="*/ 3490331 w 3546087"/>
              <a:gd name="connsiteY11-242" fmla="*/ 22302 h 3055434"/>
              <a:gd name="connsiteX12-243" fmla="*/ 3434575 w 3546087"/>
              <a:gd name="connsiteY12-244" fmla="*/ 0 h 3055434"/>
              <a:gd name="connsiteX13-245" fmla="*/ 3423424 w 3546087"/>
              <a:gd name="connsiteY13-246" fmla="*/ 44605 h 3055434"/>
              <a:gd name="connsiteX14-247" fmla="*/ 3300761 w 3546087"/>
              <a:gd name="connsiteY14-248" fmla="*/ 11151 h 3055434"/>
              <a:gd name="connsiteX15-249" fmla="*/ 3267307 w 3546087"/>
              <a:gd name="connsiteY15-250" fmla="*/ 100361 h 3055434"/>
              <a:gd name="connsiteX16-251" fmla="*/ 3155795 w 3546087"/>
              <a:gd name="connsiteY16-252" fmla="*/ 66907 h 3055434"/>
              <a:gd name="connsiteX17-253" fmla="*/ 3111190 w 3546087"/>
              <a:gd name="connsiteY17-254" fmla="*/ 100361 h 3055434"/>
              <a:gd name="connsiteX18-255" fmla="*/ 3033131 w 3546087"/>
              <a:gd name="connsiteY18-256" fmla="*/ 100361 h 3055434"/>
              <a:gd name="connsiteX19-257" fmla="*/ 3033131 w 3546087"/>
              <a:gd name="connsiteY19-258" fmla="*/ 100361 h 3055434"/>
              <a:gd name="connsiteX20-259" fmla="*/ 2955073 w 3546087"/>
              <a:gd name="connsiteY20-260" fmla="*/ 144966 h 3055434"/>
              <a:gd name="connsiteX21-261" fmla="*/ 2877014 w 3546087"/>
              <a:gd name="connsiteY21-262" fmla="*/ 178419 h 3055434"/>
              <a:gd name="connsiteX22-263" fmla="*/ 2821258 w 3546087"/>
              <a:gd name="connsiteY22-264" fmla="*/ 178419 h 3055434"/>
              <a:gd name="connsiteX23-265" fmla="*/ 2821258 w 3546087"/>
              <a:gd name="connsiteY23-266" fmla="*/ 178419 h 3055434"/>
              <a:gd name="connsiteX24-267" fmla="*/ 2821258 w 3546087"/>
              <a:gd name="connsiteY24-268" fmla="*/ 334536 h 3055434"/>
              <a:gd name="connsiteX25-269" fmla="*/ 2687444 w 3546087"/>
              <a:gd name="connsiteY25-270" fmla="*/ 312234 h 3055434"/>
              <a:gd name="connsiteX26-271" fmla="*/ 2598234 w 3546087"/>
              <a:gd name="connsiteY26-272" fmla="*/ 367990 h 3055434"/>
              <a:gd name="connsiteX27-273" fmla="*/ 2486722 w 3546087"/>
              <a:gd name="connsiteY27-274" fmla="*/ 401444 h 3055434"/>
              <a:gd name="connsiteX28-275" fmla="*/ 2430966 w 3546087"/>
              <a:gd name="connsiteY28-276" fmla="*/ 356839 h 3055434"/>
              <a:gd name="connsiteX29-277" fmla="*/ 2397512 w 3546087"/>
              <a:gd name="connsiteY29-278" fmla="*/ 390292 h 3055434"/>
              <a:gd name="connsiteX30-279" fmla="*/ 2319453 w 3546087"/>
              <a:gd name="connsiteY30-280" fmla="*/ 446048 h 3055434"/>
              <a:gd name="connsiteX31-281" fmla="*/ 2207941 w 3546087"/>
              <a:gd name="connsiteY31-282" fmla="*/ 434897 h 3055434"/>
              <a:gd name="connsiteX32-283" fmla="*/ 1973766 w 3546087"/>
              <a:gd name="connsiteY32-284" fmla="*/ 568712 h 3055434"/>
              <a:gd name="connsiteX33-285" fmla="*/ 1851102 w 3546087"/>
              <a:gd name="connsiteY33-286" fmla="*/ 680224 h 3055434"/>
              <a:gd name="connsiteX34-287" fmla="*/ 1382751 w 3546087"/>
              <a:gd name="connsiteY34-288" fmla="*/ 802887 h 3055434"/>
              <a:gd name="connsiteX35-289" fmla="*/ 1315844 w 3546087"/>
              <a:gd name="connsiteY35-290" fmla="*/ 858644 h 3055434"/>
              <a:gd name="connsiteX36-291" fmla="*/ 1182029 w 3546087"/>
              <a:gd name="connsiteY36-292" fmla="*/ 1182029 h 3055434"/>
              <a:gd name="connsiteX37-293" fmla="*/ 869795 w 3546087"/>
              <a:gd name="connsiteY37-294" fmla="*/ 1349297 h 3055434"/>
              <a:gd name="connsiteX38-295" fmla="*/ 847492 w 3546087"/>
              <a:gd name="connsiteY38-296" fmla="*/ 1494263 h 3055434"/>
              <a:gd name="connsiteX39-297" fmla="*/ 769434 w 3546087"/>
              <a:gd name="connsiteY39-298" fmla="*/ 1605775 h 3055434"/>
              <a:gd name="connsiteX40-299" fmla="*/ 747131 w 3546087"/>
              <a:gd name="connsiteY40-300" fmla="*/ 1839951 h 3055434"/>
              <a:gd name="connsiteX41-301" fmla="*/ 345687 w 3546087"/>
              <a:gd name="connsiteY41-302" fmla="*/ 2152185 h 3055434"/>
              <a:gd name="connsiteX42-303" fmla="*/ 457200 w 3546087"/>
              <a:gd name="connsiteY42-304" fmla="*/ 2085278 h 3055434"/>
              <a:gd name="connsiteX43-305" fmla="*/ 379141 w 3546087"/>
              <a:gd name="connsiteY43-306" fmla="*/ 2230244 h 3055434"/>
              <a:gd name="connsiteX44-307" fmla="*/ 301083 w 3546087"/>
              <a:gd name="connsiteY44-308" fmla="*/ 2352907 h 3055434"/>
              <a:gd name="connsiteX45-309" fmla="*/ 301083 w 3546087"/>
              <a:gd name="connsiteY45-310" fmla="*/ 2352907 h 3055434"/>
              <a:gd name="connsiteX46-311" fmla="*/ 245327 w 3546087"/>
              <a:gd name="connsiteY46-312" fmla="*/ 2419814 h 3055434"/>
              <a:gd name="connsiteX47-313" fmla="*/ 234175 w 3546087"/>
              <a:gd name="connsiteY47-314" fmla="*/ 2509024 h 3055434"/>
              <a:gd name="connsiteX48-315" fmla="*/ 234175 w 3546087"/>
              <a:gd name="connsiteY48-316" fmla="*/ 2509024 h 3055434"/>
              <a:gd name="connsiteX49-317" fmla="*/ 144966 w 3546087"/>
              <a:gd name="connsiteY49-318" fmla="*/ 2598234 h 3055434"/>
              <a:gd name="connsiteX50-319" fmla="*/ 66907 w 3546087"/>
              <a:gd name="connsiteY50-320" fmla="*/ 2642839 h 3055434"/>
              <a:gd name="connsiteX51-321" fmla="*/ 55756 w 3546087"/>
              <a:gd name="connsiteY51-322" fmla="*/ 2732048 h 3055434"/>
              <a:gd name="connsiteX52-323" fmla="*/ 44605 w 3546087"/>
              <a:gd name="connsiteY52-324" fmla="*/ 2932770 h 3055434"/>
              <a:gd name="connsiteX0-325" fmla="*/ 0 w 3546087"/>
              <a:gd name="connsiteY0-326" fmla="*/ 3055434 h 3055434"/>
              <a:gd name="connsiteX1-327" fmla="*/ 55756 w 3546087"/>
              <a:gd name="connsiteY1-328" fmla="*/ 2877014 h 3055434"/>
              <a:gd name="connsiteX2-329" fmla="*/ 1349297 w 3546087"/>
              <a:gd name="connsiteY2-330" fmla="*/ 2877014 h 3055434"/>
              <a:gd name="connsiteX3-331" fmla="*/ 1304692 w 3546087"/>
              <a:gd name="connsiteY3-332" fmla="*/ 2408663 h 3055434"/>
              <a:gd name="connsiteX4-333" fmla="*/ 1471961 w 3546087"/>
              <a:gd name="connsiteY4-334" fmla="*/ 2274848 h 3055434"/>
              <a:gd name="connsiteX5-335" fmla="*/ 1683834 w 3546087"/>
              <a:gd name="connsiteY5-336" fmla="*/ 2219092 h 3055434"/>
              <a:gd name="connsiteX6-337" fmla="*/ 3311912 w 3546087"/>
              <a:gd name="connsiteY6-338" fmla="*/ 289931 h 3055434"/>
              <a:gd name="connsiteX7-339" fmla="*/ 3546087 w 3546087"/>
              <a:gd name="connsiteY7-340" fmla="*/ 301083 h 3055434"/>
              <a:gd name="connsiteX8-341" fmla="*/ 3546087 w 3546087"/>
              <a:gd name="connsiteY8-342" fmla="*/ 133814 h 3055434"/>
              <a:gd name="connsiteX9-343" fmla="*/ 3501483 w 3546087"/>
              <a:gd name="connsiteY9-344" fmla="*/ 55756 h 3055434"/>
              <a:gd name="connsiteX10-345" fmla="*/ 3490331 w 3546087"/>
              <a:gd name="connsiteY10-346" fmla="*/ 22302 h 3055434"/>
              <a:gd name="connsiteX11-347" fmla="*/ 3434575 w 3546087"/>
              <a:gd name="connsiteY11-348" fmla="*/ 0 h 3055434"/>
              <a:gd name="connsiteX12-349" fmla="*/ 3423424 w 3546087"/>
              <a:gd name="connsiteY12-350" fmla="*/ 44605 h 3055434"/>
              <a:gd name="connsiteX13-351" fmla="*/ 3300761 w 3546087"/>
              <a:gd name="connsiteY13-352" fmla="*/ 11151 h 3055434"/>
              <a:gd name="connsiteX14-353" fmla="*/ 3267307 w 3546087"/>
              <a:gd name="connsiteY14-354" fmla="*/ 100361 h 3055434"/>
              <a:gd name="connsiteX15-355" fmla="*/ 3155795 w 3546087"/>
              <a:gd name="connsiteY15-356" fmla="*/ 66907 h 3055434"/>
              <a:gd name="connsiteX16-357" fmla="*/ 3111190 w 3546087"/>
              <a:gd name="connsiteY16-358" fmla="*/ 100361 h 3055434"/>
              <a:gd name="connsiteX17-359" fmla="*/ 3033131 w 3546087"/>
              <a:gd name="connsiteY17-360" fmla="*/ 100361 h 3055434"/>
              <a:gd name="connsiteX18-361" fmla="*/ 3033131 w 3546087"/>
              <a:gd name="connsiteY18-362" fmla="*/ 100361 h 3055434"/>
              <a:gd name="connsiteX19-363" fmla="*/ 2955073 w 3546087"/>
              <a:gd name="connsiteY19-364" fmla="*/ 144966 h 3055434"/>
              <a:gd name="connsiteX20-365" fmla="*/ 2877014 w 3546087"/>
              <a:gd name="connsiteY20-366" fmla="*/ 178419 h 3055434"/>
              <a:gd name="connsiteX21-367" fmla="*/ 2821258 w 3546087"/>
              <a:gd name="connsiteY21-368" fmla="*/ 178419 h 3055434"/>
              <a:gd name="connsiteX22-369" fmla="*/ 2821258 w 3546087"/>
              <a:gd name="connsiteY22-370" fmla="*/ 178419 h 3055434"/>
              <a:gd name="connsiteX23-371" fmla="*/ 2821258 w 3546087"/>
              <a:gd name="connsiteY23-372" fmla="*/ 334536 h 3055434"/>
              <a:gd name="connsiteX24-373" fmla="*/ 2687444 w 3546087"/>
              <a:gd name="connsiteY24-374" fmla="*/ 312234 h 3055434"/>
              <a:gd name="connsiteX25-375" fmla="*/ 2598234 w 3546087"/>
              <a:gd name="connsiteY25-376" fmla="*/ 367990 h 3055434"/>
              <a:gd name="connsiteX26-377" fmla="*/ 2486722 w 3546087"/>
              <a:gd name="connsiteY26-378" fmla="*/ 401444 h 3055434"/>
              <a:gd name="connsiteX27-379" fmla="*/ 2430966 w 3546087"/>
              <a:gd name="connsiteY27-380" fmla="*/ 356839 h 3055434"/>
              <a:gd name="connsiteX28-381" fmla="*/ 2397512 w 3546087"/>
              <a:gd name="connsiteY28-382" fmla="*/ 390292 h 3055434"/>
              <a:gd name="connsiteX29-383" fmla="*/ 2319453 w 3546087"/>
              <a:gd name="connsiteY29-384" fmla="*/ 446048 h 3055434"/>
              <a:gd name="connsiteX30-385" fmla="*/ 2207941 w 3546087"/>
              <a:gd name="connsiteY30-386" fmla="*/ 434897 h 3055434"/>
              <a:gd name="connsiteX31-387" fmla="*/ 1973766 w 3546087"/>
              <a:gd name="connsiteY31-388" fmla="*/ 568712 h 3055434"/>
              <a:gd name="connsiteX32-389" fmla="*/ 1851102 w 3546087"/>
              <a:gd name="connsiteY32-390" fmla="*/ 680224 h 3055434"/>
              <a:gd name="connsiteX33-391" fmla="*/ 1382751 w 3546087"/>
              <a:gd name="connsiteY33-392" fmla="*/ 802887 h 3055434"/>
              <a:gd name="connsiteX34-393" fmla="*/ 1315844 w 3546087"/>
              <a:gd name="connsiteY34-394" fmla="*/ 858644 h 3055434"/>
              <a:gd name="connsiteX35-395" fmla="*/ 1182029 w 3546087"/>
              <a:gd name="connsiteY35-396" fmla="*/ 1182029 h 3055434"/>
              <a:gd name="connsiteX36-397" fmla="*/ 869795 w 3546087"/>
              <a:gd name="connsiteY36-398" fmla="*/ 1349297 h 3055434"/>
              <a:gd name="connsiteX37-399" fmla="*/ 847492 w 3546087"/>
              <a:gd name="connsiteY37-400" fmla="*/ 1494263 h 3055434"/>
              <a:gd name="connsiteX38-401" fmla="*/ 769434 w 3546087"/>
              <a:gd name="connsiteY38-402" fmla="*/ 1605775 h 3055434"/>
              <a:gd name="connsiteX39-403" fmla="*/ 747131 w 3546087"/>
              <a:gd name="connsiteY39-404" fmla="*/ 1839951 h 3055434"/>
              <a:gd name="connsiteX40-405" fmla="*/ 345687 w 3546087"/>
              <a:gd name="connsiteY40-406" fmla="*/ 2152185 h 3055434"/>
              <a:gd name="connsiteX41-407" fmla="*/ 457200 w 3546087"/>
              <a:gd name="connsiteY41-408" fmla="*/ 2085278 h 3055434"/>
              <a:gd name="connsiteX42-409" fmla="*/ 379141 w 3546087"/>
              <a:gd name="connsiteY42-410" fmla="*/ 2230244 h 3055434"/>
              <a:gd name="connsiteX43-411" fmla="*/ 301083 w 3546087"/>
              <a:gd name="connsiteY43-412" fmla="*/ 2352907 h 3055434"/>
              <a:gd name="connsiteX44-413" fmla="*/ 301083 w 3546087"/>
              <a:gd name="connsiteY44-414" fmla="*/ 2352907 h 3055434"/>
              <a:gd name="connsiteX45-415" fmla="*/ 245327 w 3546087"/>
              <a:gd name="connsiteY45-416" fmla="*/ 2419814 h 3055434"/>
              <a:gd name="connsiteX46-417" fmla="*/ 234175 w 3546087"/>
              <a:gd name="connsiteY46-418" fmla="*/ 2509024 h 3055434"/>
              <a:gd name="connsiteX47-419" fmla="*/ 234175 w 3546087"/>
              <a:gd name="connsiteY47-420" fmla="*/ 2509024 h 3055434"/>
              <a:gd name="connsiteX48-421" fmla="*/ 144966 w 3546087"/>
              <a:gd name="connsiteY48-422" fmla="*/ 2598234 h 3055434"/>
              <a:gd name="connsiteX49-423" fmla="*/ 66907 w 3546087"/>
              <a:gd name="connsiteY49-424" fmla="*/ 2642839 h 3055434"/>
              <a:gd name="connsiteX50-425" fmla="*/ 55756 w 3546087"/>
              <a:gd name="connsiteY50-426" fmla="*/ 2732048 h 3055434"/>
              <a:gd name="connsiteX51-427" fmla="*/ 44605 w 3546087"/>
              <a:gd name="connsiteY51-428" fmla="*/ 2932770 h 3055434"/>
              <a:gd name="connsiteX0-429" fmla="*/ 0 w 3546087"/>
              <a:gd name="connsiteY0-430" fmla="*/ 3055434 h 3055434"/>
              <a:gd name="connsiteX1-431" fmla="*/ 55756 w 3546087"/>
              <a:gd name="connsiteY1-432" fmla="*/ 2877014 h 3055434"/>
              <a:gd name="connsiteX2-433" fmla="*/ 1349297 w 3546087"/>
              <a:gd name="connsiteY2-434" fmla="*/ 2877014 h 3055434"/>
              <a:gd name="connsiteX3-435" fmla="*/ 1304692 w 3546087"/>
              <a:gd name="connsiteY3-436" fmla="*/ 2408663 h 3055434"/>
              <a:gd name="connsiteX4-437" fmla="*/ 1471961 w 3546087"/>
              <a:gd name="connsiteY4-438" fmla="*/ 2274848 h 3055434"/>
              <a:gd name="connsiteX5-439" fmla="*/ 1683834 w 3546087"/>
              <a:gd name="connsiteY5-440" fmla="*/ 2219092 h 3055434"/>
              <a:gd name="connsiteX6-441" fmla="*/ 3546087 w 3546087"/>
              <a:gd name="connsiteY6-442" fmla="*/ 301083 h 3055434"/>
              <a:gd name="connsiteX7-443" fmla="*/ 3546087 w 3546087"/>
              <a:gd name="connsiteY7-444" fmla="*/ 133814 h 3055434"/>
              <a:gd name="connsiteX8-445" fmla="*/ 3501483 w 3546087"/>
              <a:gd name="connsiteY8-446" fmla="*/ 55756 h 3055434"/>
              <a:gd name="connsiteX9-447" fmla="*/ 3490331 w 3546087"/>
              <a:gd name="connsiteY9-448" fmla="*/ 22302 h 3055434"/>
              <a:gd name="connsiteX10-449" fmla="*/ 3434575 w 3546087"/>
              <a:gd name="connsiteY10-450" fmla="*/ 0 h 3055434"/>
              <a:gd name="connsiteX11-451" fmla="*/ 3423424 w 3546087"/>
              <a:gd name="connsiteY11-452" fmla="*/ 44605 h 3055434"/>
              <a:gd name="connsiteX12-453" fmla="*/ 3300761 w 3546087"/>
              <a:gd name="connsiteY12-454" fmla="*/ 11151 h 3055434"/>
              <a:gd name="connsiteX13-455" fmla="*/ 3267307 w 3546087"/>
              <a:gd name="connsiteY13-456" fmla="*/ 100361 h 3055434"/>
              <a:gd name="connsiteX14-457" fmla="*/ 3155795 w 3546087"/>
              <a:gd name="connsiteY14-458" fmla="*/ 66907 h 3055434"/>
              <a:gd name="connsiteX15-459" fmla="*/ 3111190 w 3546087"/>
              <a:gd name="connsiteY15-460" fmla="*/ 100361 h 3055434"/>
              <a:gd name="connsiteX16-461" fmla="*/ 3033131 w 3546087"/>
              <a:gd name="connsiteY16-462" fmla="*/ 100361 h 3055434"/>
              <a:gd name="connsiteX17-463" fmla="*/ 3033131 w 3546087"/>
              <a:gd name="connsiteY17-464" fmla="*/ 100361 h 3055434"/>
              <a:gd name="connsiteX18-465" fmla="*/ 2955073 w 3546087"/>
              <a:gd name="connsiteY18-466" fmla="*/ 144966 h 3055434"/>
              <a:gd name="connsiteX19-467" fmla="*/ 2877014 w 3546087"/>
              <a:gd name="connsiteY19-468" fmla="*/ 178419 h 3055434"/>
              <a:gd name="connsiteX20-469" fmla="*/ 2821258 w 3546087"/>
              <a:gd name="connsiteY20-470" fmla="*/ 178419 h 3055434"/>
              <a:gd name="connsiteX21-471" fmla="*/ 2821258 w 3546087"/>
              <a:gd name="connsiteY21-472" fmla="*/ 178419 h 3055434"/>
              <a:gd name="connsiteX22-473" fmla="*/ 2821258 w 3546087"/>
              <a:gd name="connsiteY22-474" fmla="*/ 334536 h 3055434"/>
              <a:gd name="connsiteX23-475" fmla="*/ 2687444 w 3546087"/>
              <a:gd name="connsiteY23-476" fmla="*/ 312234 h 3055434"/>
              <a:gd name="connsiteX24-477" fmla="*/ 2598234 w 3546087"/>
              <a:gd name="connsiteY24-478" fmla="*/ 367990 h 3055434"/>
              <a:gd name="connsiteX25-479" fmla="*/ 2486722 w 3546087"/>
              <a:gd name="connsiteY25-480" fmla="*/ 401444 h 3055434"/>
              <a:gd name="connsiteX26-481" fmla="*/ 2430966 w 3546087"/>
              <a:gd name="connsiteY26-482" fmla="*/ 356839 h 3055434"/>
              <a:gd name="connsiteX27-483" fmla="*/ 2397512 w 3546087"/>
              <a:gd name="connsiteY27-484" fmla="*/ 390292 h 3055434"/>
              <a:gd name="connsiteX28-485" fmla="*/ 2319453 w 3546087"/>
              <a:gd name="connsiteY28-486" fmla="*/ 446048 h 3055434"/>
              <a:gd name="connsiteX29-487" fmla="*/ 2207941 w 3546087"/>
              <a:gd name="connsiteY29-488" fmla="*/ 434897 h 3055434"/>
              <a:gd name="connsiteX30-489" fmla="*/ 1973766 w 3546087"/>
              <a:gd name="connsiteY30-490" fmla="*/ 568712 h 3055434"/>
              <a:gd name="connsiteX31-491" fmla="*/ 1851102 w 3546087"/>
              <a:gd name="connsiteY31-492" fmla="*/ 680224 h 3055434"/>
              <a:gd name="connsiteX32-493" fmla="*/ 1382751 w 3546087"/>
              <a:gd name="connsiteY32-494" fmla="*/ 802887 h 3055434"/>
              <a:gd name="connsiteX33-495" fmla="*/ 1315844 w 3546087"/>
              <a:gd name="connsiteY33-496" fmla="*/ 858644 h 3055434"/>
              <a:gd name="connsiteX34-497" fmla="*/ 1182029 w 3546087"/>
              <a:gd name="connsiteY34-498" fmla="*/ 1182029 h 3055434"/>
              <a:gd name="connsiteX35-499" fmla="*/ 869795 w 3546087"/>
              <a:gd name="connsiteY35-500" fmla="*/ 1349297 h 3055434"/>
              <a:gd name="connsiteX36-501" fmla="*/ 847492 w 3546087"/>
              <a:gd name="connsiteY36-502" fmla="*/ 1494263 h 3055434"/>
              <a:gd name="connsiteX37-503" fmla="*/ 769434 w 3546087"/>
              <a:gd name="connsiteY37-504" fmla="*/ 1605775 h 3055434"/>
              <a:gd name="connsiteX38-505" fmla="*/ 747131 w 3546087"/>
              <a:gd name="connsiteY38-506" fmla="*/ 1839951 h 3055434"/>
              <a:gd name="connsiteX39-507" fmla="*/ 345687 w 3546087"/>
              <a:gd name="connsiteY39-508" fmla="*/ 2152185 h 3055434"/>
              <a:gd name="connsiteX40-509" fmla="*/ 457200 w 3546087"/>
              <a:gd name="connsiteY40-510" fmla="*/ 2085278 h 3055434"/>
              <a:gd name="connsiteX41-511" fmla="*/ 379141 w 3546087"/>
              <a:gd name="connsiteY41-512" fmla="*/ 2230244 h 3055434"/>
              <a:gd name="connsiteX42-513" fmla="*/ 301083 w 3546087"/>
              <a:gd name="connsiteY42-514" fmla="*/ 2352907 h 3055434"/>
              <a:gd name="connsiteX43-515" fmla="*/ 301083 w 3546087"/>
              <a:gd name="connsiteY43-516" fmla="*/ 2352907 h 3055434"/>
              <a:gd name="connsiteX44-517" fmla="*/ 245327 w 3546087"/>
              <a:gd name="connsiteY44-518" fmla="*/ 2419814 h 3055434"/>
              <a:gd name="connsiteX45-519" fmla="*/ 234175 w 3546087"/>
              <a:gd name="connsiteY45-520" fmla="*/ 2509024 h 3055434"/>
              <a:gd name="connsiteX46-521" fmla="*/ 234175 w 3546087"/>
              <a:gd name="connsiteY46-522" fmla="*/ 2509024 h 3055434"/>
              <a:gd name="connsiteX47-523" fmla="*/ 144966 w 3546087"/>
              <a:gd name="connsiteY47-524" fmla="*/ 2598234 h 3055434"/>
              <a:gd name="connsiteX48-525" fmla="*/ 66907 w 3546087"/>
              <a:gd name="connsiteY48-526" fmla="*/ 2642839 h 3055434"/>
              <a:gd name="connsiteX49-527" fmla="*/ 55756 w 3546087"/>
              <a:gd name="connsiteY49-528" fmla="*/ 2732048 h 3055434"/>
              <a:gd name="connsiteX50-529" fmla="*/ 44605 w 3546087"/>
              <a:gd name="connsiteY50-530" fmla="*/ 2932770 h 3055434"/>
              <a:gd name="connsiteX0-531" fmla="*/ 0 w 3546087"/>
              <a:gd name="connsiteY0-532" fmla="*/ 3055434 h 3055434"/>
              <a:gd name="connsiteX1-533" fmla="*/ 55756 w 3546087"/>
              <a:gd name="connsiteY1-534" fmla="*/ 2877014 h 3055434"/>
              <a:gd name="connsiteX2-535" fmla="*/ 1349297 w 3546087"/>
              <a:gd name="connsiteY2-536" fmla="*/ 2877014 h 3055434"/>
              <a:gd name="connsiteX3-537" fmla="*/ 1304692 w 3546087"/>
              <a:gd name="connsiteY3-538" fmla="*/ 2408663 h 3055434"/>
              <a:gd name="connsiteX4-539" fmla="*/ 1471961 w 3546087"/>
              <a:gd name="connsiteY4-540" fmla="*/ 2274848 h 3055434"/>
              <a:gd name="connsiteX5-541" fmla="*/ 1683834 w 3546087"/>
              <a:gd name="connsiteY5-542" fmla="*/ 2219092 h 3055434"/>
              <a:gd name="connsiteX6-543" fmla="*/ 3546087 w 3546087"/>
              <a:gd name="connsiteY6-544" fmla="*/ 133814 h 3055434"/>
              <a:gd name="connsiteX7-545" fmla="*/ 3501483 w 3546087"/>
              <a:gd name="connsiteY7-546" fmla="*/ 55756 h 3055434"/>
              <a:gd name="connsiteX8-547" fmla="*/ 3490331 w 3546087"/>
              <a:gd name="connsiteY8-548" fmla="*/ 22302 h 3055434"/>
              <a:gd name="connsiteX9-549" fmla="*/ 3434575 w 3546087"/>
              <a:gd name="connsiteY9-550" fmla="*/ 0 h 3055434"/>
              <a:gd name="connsiteX10-551" fmla="*/ 3423424 w 3546087"/>
              <a:gd name="connsiteY10-552" fmla="*/ 44605 h 3055434"/>
              <a:gd name="connsiteX11-553" fmla="*/ 3300761 w 3546087"/>
              <a:gd name="connsiteY11-554" fmla="*/ 11151 h 3055434"/>
              <a:gd name="connsiteX12-555" fmla="*/ 3267307 w 3546087"/>
              <a:gd name="connsiteY12-556" fmla="*/ 100361 h 3055434"/>
              <a:gd name="connsiteX13-557" fmla="*/ 3155795 w 3546087"/>
              <a:gd name="connsiteY13-558" fmla="*/ 66907 h 3055434"/>
              <a:gd name="connsiteX14-559" fmla="*/ 3111190 w 3546087"/>
              <a:gd name="connsiteY14-560" fmla="*/ 100361 h 3055434"/>
              <a:gd name="connsiteX15-561" fmla="*/ 3033131 w 3546087"/>
              <a:gd name="connsiteY15-562" fmla="*/ 100361 h 3055434"/>
              <a:gd name="connsiteX16-563" fmla="*/ 3033131 w 3546087"/>
              <a:gd name="connsiteY16-564" fmla="*/ 100361 h 3055434"/>
              <a:gd name="connsiteX17-565" fmla="*/ 2955073 w 3546087"/>
              <a:gd name="connsiteY17-566" fmla="*/ 144966 h 3055434"/>
              <a:gd name="connsiteX18-567" fmla="*/ 2877014 w 3546087"/>
              <a:gd name="connsiteY18-568" fmla="*/ 178419 h 3055434"/>
              <a:gd name="connsiteX19-569" fmla="*/ 2821258 w 3546087"/>
              <a:gd name="connsiteY19-570" fmla="*/ 178419 h 3055434"/>
              <a:gd name="connsiteX20-571" fmla="*/ 2821258 w 3546087"/>
              <a:gd name="connsiteY20-572" fmla="*/ 178419 h 3055434"/>
              <a:gd name="connsiteX21-573" fmla="*/ 2821258 w 3546087"/>
              <a:gd name="connsiteY21-574" fmla="*/ 334536 h 3055434"/>
              <a:gd name="connsiteX22-575" fmla="*/ 2687444 w 3546087"/>
              <a:gd name="connsiteY22-576" fmla="*/ 312234 h 3055434"/>
              <a:gd name="connsiteX23-577" fmla="*/ 2598234 w 3546087"/>
              <a:gd name="connsiteY23-578" fmla="*/ 367990 h 3055434"/>
              <a:gd name="connsiteX24-579" fmla="*/ 2486722 w 3546087"/>
              <a:gd name="connsiteY24-580" fmla="*/ 401444 h 3055434"/>
              <a:gd name="connsiteX25-581" fmla="*/ 2430966 w 3546087"/>
              <a:gd name="connsiteY25-582" fmla="*/ 356839 h 3055434"/>
              <a:gd name="connsiteX26-583" fmla="*/ 2397512 w 3546087"/>
              <a:gd name="connsiteY26-584" fmla="*/ 390292 h 3055434"/>
              <a:gd name="connsiteX27-585" fmla="*/ 2319453 w 3546087"/>
              <a:gd name="connsiteY27-586" fmla="*/ 446048 h 3055434"/>
              <a:gd name="connsiteX28-587" fmla="*/ 2207941 w 3546087"/>
              <a:gd name="connsiteY28-588" fmla="*/ 434897 h 3055434"/>
              <a:gd name="connsiteX29-589" fmla="*/ 1973766 w 3546087"/>
              <a:gd name="connsiteY29-590" fmla="*/ 568712 h 3055434"/>
              <a:gd name="connsiteX30-591" fmla="*/ 1851102 w 3546087"/>
              <a:gd name="connsiteY30-592" fmla="*/ 680224 h 3055434"/>
              <a:gd name="connsiteX31-593" fmla="*/ 1382751 w 3546087"/>
              <a:gd name="connsiteY31-594" fmla="*/ 802887 h 3055434"/>
              <a:gd name="connsiteX32-595" fmla="*/ 1315844 w 3546087"/>
              <a:gd name="connsiteY32-596" fmla="*/ 858644 h 3055434"/>
              <a:gd name="connsiteX33-597" fmla="*/ 1182029 w 3546087"/>
              <a:gd name="connsiteY33-598" fmla="*/ 1182029 h 3055434"/>
              <a:gd name="connsiteX34-599" fmla="*/ 869795 w 3546087"/>
              <a:gd name="connsiteY34-600" fmla="*/ 1349297 h 3055434"/>
              <a:gd name="connsiteX35-601" fmla="*/ 847492 w 3546087"/>
              <a:gd name="connsiteY35-602" fmla="*/ 1494263 h 3055434"/>
              <a:gd name="connsiteX36-603" fmla="*/ 769434 w 3546087"/>
              <a:gd name="connsiteY36-604" fmla="*/ 1605775 h 3055434"/>
              <a:gd name="connsiteX37-605" fmla="*/ 747131 w 3546087"/>
              <a:gd name="connsiteY37-606" fmla="*/ 1839951 h 3055434"/>
              <a:gd name="connsiteX38-607" fmla="*/ 345687 w 3546087"/>
              <a:gd name="connsiteY38-608" fmla="*/ 2152185 h 3055434"/>
              <a:gd name="connsiteX39-609" fmla="*/ 457200 w 3546087"/>
              <a:gd name="connsiteY39-610" fmla="*/ 2085278 h 3055434"/>
              <a:gd name="connsiteX40-611" fmla="*/ 379141 w 3546087"/>
              <a:gd name="connsiteY40-612" fmla="*/ 2230244 h 3055434"/>
              <a:gd name="connsiteX41-613" fmla="*/ 301083 w 3546087"/>
              <a:gd name="connsiteY41-614" fmla="*/ 2352907 h 3055434"/>
              <a:gd name="connsiteX42-615" fmla="*/ 301083 w 3546087"/>
              <a:gd name="connsiteY42-616" fmla="*/ 2352907 h 3055434"/>
              <a:gd name="connsiteX43-617" fmla="*/ 245327 w 3546087"/>
              <a:gd name="connsiteY43-618" fmla="*/ 2419814 h 3055434"/>
              <a:gd name="connsiteX44-619" fmla="*/ 234175 w 3546087"/>
              <a:gd name="connsiteY44-620" fmla="*/ 2509024 h 3055434"/>
              <a:gd name="connsiteX45-621" fmla="*/ 234175 w 3546087"/>
              <a:gd name="connsiteY45-622" fmla="*/ 2509024 h 3055434"/>
              <a:gd name="connsiteX46-623" fmla="*/ 144966 w 3546087"/>
              <a:gd name="connsiteY46-624" fmla="*/ 2598234 h 3055434"/>
              <a:gd name="connsiteX47-625" fmla="*/ 66907 w 3546087"/>
              <a:gd name="connsiteY47-626" fmla="*/ 2642839 h 3055434"/>
              <a:gd name="connsiteX48-627" fmla="*/ 55756 w 3546087"/>
              <a:gd name="connsiteY48-628" fmla="*/ 2732048 h 3055434"/>
              <a:gd name="connsiteX49-629" fmla="*/ 44605 w 3546087"/>
              <a:gd name="connsiteY49-630" fmla="*/ 2932770 h 3055434"/>
              <a:gd name="connsiteX0-631" fmla="*/ 0 w 3501483"/>
              <a:gd name="connsiteY0-632" fmla="*/ 3055434 h 3055434"/>
              <a:gd name="connsiteX1-633" fmla="*/ 55756 w 3501483"/>
              <a:gd name="connsiteY1-634" fmla="*/ 2877014 h 3055434"/>
              <a:gd name="connsiteX2-635" fmla="*/ 1349297 w 3501483"/>
              <a:gd name="connsiteY2-636" fmla="*/ 2877014 h 3055434"/>
              <a:gd name="connsiteX3-637" fmla="*/ 1304692 w 3501483"/>
              <a:gd name="connsiteY3-638" fmla="*/ 2408663 h 3055434"/>
              <a:gd name="connsiteX4-639" fmla="*/ 1471961 w 3501483"/>
              <a:gd name="connsiteY4-640" fmla="*/ 2274848 h 3055434"/>
              <a:gd name="connsiteX5-641" fmla="*/ 1683834 w 3501483"/>
              <a:gd name="connsiteY5-642" fmla="*/ 2219092 h 3055434"/>
              <a:gd name="connsiteX6-643" fmla="*/ 3501483 w 3501483"/>
              <a:gd name="connsiteY6-644" fmla="*/ 55756 h 3055434"/>
              <a:gd name="connsiteX7-645" fmla="*/ 3490331 w 3501483"/>
              <a:gd name="connsiteY7-646" fmla="*/ 22302 h 3055434"/>
              <a:gd name="connsiteX8-647" fmla="*/ 3434575 w 3501483"/>
              <a:gd name="connsiteY8-648" fmla="*/ 0 h 3055434"/>
              <a:gd name="connsiteX9-649" fmla="*/ 3423424 w 3501483"/>
              <a:gd name="connsiteY9-650" fmla="*/ 44605 h 3055434"/>
              <a:gd name="connsiteX10-651" fmla="*/ 3300761 w 3501483"/>
              <a:gd name="connsiteY10-652" fmla="*/ 11151 h 3055434"/>
              <a:gd name="connsiteX11-653" fmla="*/ 3267307 w 3501483"/>
              <a:gd name="connsiteY11-654" fmla="*/ 100361 h 3055434"/>
              <a:gd name="connsiteX12-655" fmla="*/ 3155795 w 3501483"/>
              <a:gd name="connsiteY12-656" fmla="*/ 66907 h 3055434"/>
              <a:gd name="connsiteX13-657" fmla="*/ 3111190 w 3501483"/>
              <a:gd name="connsiteY13-658" fmla="*/ 100361 h 3055434"/>
              <a:gd name="connsiteX14-659" fmla="*/ 3033131 w 3501483"/>
              <a:gd name="connsiteY14-660" fmla="*/ 100361 h 3055434"/>
              <a:gd name="connsiteX15-661" fmla="*/ 3033131 w 3501483"/>
              <a:gd name="connsiteY15-662" fmla="*/ 100361 h 3055434"/>
              <a:gd name="connsiteX16-663" fmla="*/ 2955073 w 3501483"/>
              <a:gd name="connsiteY16-664" fmla="*/ 144966 h 3055434"/>
              <a:gd name="connsiteX17-665" fmla="*/ 2877014 w 3501483"/>
              <a:gd name="connsiteY17-666" fmla="*/ 178419 h 3055434"/>
              <a:gd name="connsiteX18-667" fmla="*/ 2821258 w 3501483"/>
              <a:gd name="connsiteY18-668" fmla="*/ 178419 h 3055434"/>
              <a:gd name="connsiteX19-669" fmla="*/ 2821258 w 3501483"/>
              <a:gd name="connsiteY19-670" fmla="*/ 178419 h 3055434"/>
              <a:gd name="connsiteX20-671" fmla="*/ 2821258 w 3501483"/>
              <a:gd name="connsiteY20-672" fmla="*/ 334536 h 3055434"/>
              <a:gd name="connsiteX21-673" fmla="*/ 2687444 w 3501483"/>
              <a:gd name="connsiteY21-674" fmla="*/ 312234 h 3055434"/>
              <a:gd name="connsiteX22-675" fmla="*/ 2598234 w 3501483"/>
              <a:gd name="connsiteY22-676" fmla="*/ 367990 h 3055434"/>
              <a:gd name="connsiteX23-677" fmla="*/ 2486722 w 3501483"/>
              <a:gd name="connsiteY23-678" fmla="*/ 401444 h 3055434"/>
              <a:gd name="connsiteX24-679" fmla="*/ 2430966 w 3501483"/>
              <a:gd name="connsiteY24-680" fmla="*/ 356839 h 3055434"/>
              <a:gd name="connsiteX25-681" fmla="*/ 2397512 w 3501483"/>
              <a:gd name="connsiteY25-682" fmla="*/ 390292 h 3055434"/>
              <a:gd name="connsiteX26-683" fmla="*/ 2319453 w 3501483"/>
              <a:gd name="connsiteY26-684" fmla="*/ 446048 h 3055434"/>
              <a:gd name="connsiteX27-685" fmla="*/ 2207941 w 3501483"/>
              <a:gd name="connsiteY27-686" fmla="*/ 434897 h 3055434"/>
              <a:gd name="connsiteX28-687" fmla="*/ 1973766 w 3501483"/>
              <a:gd name="connsiteY28-688" fmla="*/ 568712 h 3055434"/>
              <a:gd name="connsiteX29-689" fmla="*/ 1851102 w 3501483"/>
              <a:gd name="connsiteY29-690" fmla="*/ 680224 h 3055434"/>
              <a:gd name="connsiteX30-691" fmla="*/ 1382751 w 3501483"/>
              <a:gd name="connsiteY30-692" fmla="*/ 802887 h 3055434"/>
              <a:gd name="connsiteX31-693" fmla="*/ 1315844 w 3501483"/>
              <a:gd name="connsiteY31-694" fmla="*/ 858644 h 3055434"/>
              <a:gd name="connsiteX32-695" fmla="*/ 1182029 w 3501483"/>
              <a:gd name="connsiteY32-696" fmla="*/ 1182029 h 3055434"/>
              <a:gd name="connsiteX33-697" fmla="*/ 869795 w 3501483"/>
              <a:gd name="connsiteY33-698" fmla="*/ 1349297 h 3055434"/>
              <a:gd name="connsiteX34-699" fmla="*/ 847492 w 3501483"/>
              <a:gd name="connsiteY34-700" fmla="*/ 1494263 h 3055434"/>
              <a:gd name="connsiteX35-701" fmla="*/ 769434 w 3501483"/>
              <a:gd name="connsiteY35-702" fmla="*/ 1605775 h 3055434"/>
              <a:gd name="connsiteX36-703" fmla="*/ 747131 w 3501483"/>
              <a:gd name="connsiteY36-704" fmla="*/ 1839951 h 3055434"/>
              <a:gd name="connsiteX37-705" fmla="*/ 345687 w 3501483"/>
              <a:gd name="connsiteY37-706" fmla="*/ 2152185 h 3055434"/>
              <a:gd name="connsiteX38-707" fmla="*/ 457200 w 3501483"/>
              <a:gd name="connsiteY38-708" fmla="*/ 2085278 h 3055434"/>
              <a:gd name="connsiteX39-709" fmla="*/ 379141 w 3501483"/>
              <a:gd name="connsiteY39-710" fmla="*/ 2230244 h 3055434"/>
              <a:gd name="connsiteX40-711" fmla="*/ 301083 w 3501483"/>
              <a:gd name="connsiteY40-712" fmla="*/ 2352907 h 3055434"/>
              <a:gd name="connsiteX41-713" fmla="*/ 301083 w 3501483"/>
              <a:gd name="connsiteY41-714" fmla="*/ 2352907 h 3055434"/>
              <a:gd name="connsiteX42-715" fmla="*/ 245327 w 3501483"/>
              <a:gd name="connsiteY42-716" fmla="*/ 2419814 h 3055434"/>
              <a:gd name="connsiteX43-717" fmla="*/ 234175 w 3501483"/>
              <a:gd name="connsiteY43-718" fmla="*/ 2509024 h 3055434"/>
              <a:gd name="connsiteX44-719" fmla="*/ 234175 w 3501483"/>
              <a:gd name="connsiteY44-720" fmla="*/ 2509024 h 3055434"/>
              <a:gd name="connsiteX45-721" fmla="*/ 144966 w 3501483"/>
              <a:gd name="connsiteY45-722" fmla="*/ 2598234 h 3055434"/>
              <a:gd name="connsiteX46-723" fmla="*/ 66907 w 3501483"/>
              <a:gd name="connsiteY46-724" fmla="*/ 2642839 h 3055434"/>
              <a:gd name="connsiteX47-725" fmla="*/ 55756 w 3501483"/>
              <a:gd name="connsiteY47-726" fmla="*/ 2732048 h 3055434"/>
              <a:gd name="connsiteX48-727" fmla="*/ 44605 w 3501483"/>
              <a:gd name="connsiteY48-728" fmla="*/ 2932770 h 3055434"/>
              <a:gd name="connsiteX0-729" fmla="*/ 0 w 3490331"/>
              <a:gd name="connsiteY0-730" fmla="*/ 3055434 h 3055434"/>
              <a:gd name="connsiteX1-731" fmla="*/ 55756 w 3490331"/>
              <a:gd name="connsiteY1-732" fmla="*/ 2877014 h 3055434"/>
              <a:gd name="connsiteX2-733" fmla="*/ 1349297 w 3490331"/>
              <a:gd name="connsiteY2-734" fmla="*/ 2877014 h 3055434"/>
              <a:gd name="connsiteX3-735" fmla="*/ 1304692 w 3490331"/>
              <a:gd name="connsiteY3-736" fmla="*/ 2408663 h 3055434"/>
              <a:gd name="connsiteX4-737" fmla="*/ 1471961 w 3490331"/>
              <a:gd name="connsiteY4-738" fmla="*/ 2274848 h 3055434"/>
              <a:gd name="connsiteX5-739" fmla="*/ 1683834 w 3490331"/>
              <a:gd name="connsiteY5-740" fmla="*/ 2219092 h 3055434"/>
              <a:gd name="connsiteX6-741" fmla="*/ 3490331 w 3490331"/>
              <a:gd name="connsiteY6-742" fmla="*/ 22302 h 3055434"/>
              <a:gd name="connsiteX7-743" fmla="*/ 3434575 w 3490331"/>
              <a:gd name="connsiteY7-744" fmla="*/ 0 h 3055434"/>
              <a:gd name="connsiteX8-745" fmla="*/ 3423424 w 3490331"/>
              <a:gd name="connsiteY8-746" fmla="*/ 44605 h 3055434"/>
              <a:gd name="connsiteX9-747" fmla="*/ 3300761 w 3490331"/>
              <a:gd name="connsiteY9-748" fmla="*/ 11151 h 3055434"/>
              <a:gd name="connsiteX10-749" fmla="*/ 3267307 w 3490331"/>
              <a:gd name="connsiteY10-750" fmla="*/ 100361 h 3055434"/>
              <a:gd name="connsiteX11-751" fmla="*/ 3155795 w 3490331"/>
              <a:gd name="connsiteY11-752" fmla="*/ 66907 h 3055434"/>
              <a:gd name="connsiteX12-753" fmla="*/ 3111190 w 3490331"/>
              <a:gd name="connsiteY12-754" fmla="*/ 100361 h 3055434"/>
              <a:gd name="connsiteX13-755" fmla="*/ 3033131 w 3490331"/>
              <a:gd name="connsiteY13-756" fmla="*/ 100361 h 3055434"/>
              <a:gd name="connsiteX14-757" fmla="*/ 3033131 w 3490331"/>
              <a:gd name="connsiteY14-758" fmla="*/ 100361 h 3055434"/>
              <a:gd name="connsiteX15-759" fmla="*/ 2955073 w 3490331"/>
              <a:gd name="connsiteY15-760" fmla="*/ 144966 h 3055434"/>
              <a:gd name="connsiteX16-761" fmla="*/ 2877014 w 3490331"/>
              <a:gd name="connsiteY16-762" fmla="*/ 178419 h 3055434"/>
              <a:gd name="connsiteX17-763" fmla="*/ 2821258 w 3490331"/>
              <a:gd name="connsiteY17-764" fmla="*/ 178419 h 3055434"/>
              <a:gd name="connsiteX18-765" fmla="*/ 2821258 w 3490331"/>
              <a:gd name="connsiteY18-766" fmla="*/ 178419 h 3055434"/>
              <a:gd name="connsiteX19-767" fmla="*/ 2821258 w 3490331"/>
              <a:gd name="connsiteY19-768" fmla="*/ 334536 h 3055434"/>
              <a:gd name="connsiteX20-769" fmla="*/ 2687444 w 3490331"/>
              <a:gd name="connsiteY20-770" fmla="*/ 312234 h 3055434"/>
              <a:gd name="connsiteX21-771" fmla="*/ 2598234 w 3490331"/>
              <a:gd name="connsiteY21-772" fmla="*/ 367990 h 3055434"/>
              <a:gd name="connsiteX22-773" fmla="*/ 2486722 w 3490331"/>
              <a:gd name="connsiteY22-774" fmla="*/ 401444 h 3055434"/>
              <a:gd name="connsiteX23-775" fmla="*/ 2430966 w 3490331"/>
              <a:gd name="connsiteY23-776" fmla="*/ 356839 h 3055434"/>
              <a:gd name="connsiteX24-777" fmla="*/ 2397512 w 3490331"/>
              <a:gd name="connsiteY24-778" fmla="*/ 390292 h 3055434"/>
              <a:gd name="connsiteX25-779" fmla="*/ 2319453 w 3490331"/>
              <a:gd name="connsiteY25-780" fmla="*/ 446048 h 3055434"/>
              <a:gd name="connsiteX26-781" fmla="*/ 2207941 w 3490331"/>
              <a:gd name="connsiteY26-782" fmla="*/ 434897 h 3055434"/>
              <a:gd name="connsiteX27-783" fmla="*/ 1973766 w 3490331"/>
              <a:gd name="connsiteY27-784" fmla="*/ 568712 h 3055434"/>
              <a:gd name="connsiteX28-785" fmla="*/ 1851102 w 3490331"/>
              <a:gd name="connsiteY28-786" fmla="*/ 680224 h 3055434"/>
              <a:gd name="connsiteX29-787" fmla="*/ 1382751 w 3490331"/>
              <a:gd name="connsiteY29-788" fmla="*/ 802887 h 3055434"/>
              <a:gd name="connsiteX30-789" fmla="*/ 1315844 w 3490331"/>
              <a:gd name="connsiteY30-790" fmla="*/ 858644 h 3055434"/>
              <a:gd name="connsiteX31-791" fmla="*/ 1182029 w 3490331"/>
              <a:gd name="connsiteY31-792" fmla="*/ 1182029 h 3055434"/>
              <a:gd name="connsiteX32-793" fmla="*/ 869795 w 3490331"/>
              <a:gd name="connsiteY32-794" fmla="*/ 1349297 h 3055434"/>
              <a:gd name="connsiteX33-795" fmla="*/ 847492 w 3490331"/>
              <a:gd name="connsiteY33-796" fmla="*/ 1494263 h 3055434"/>
              <a:gd name="connsiteX34-797" fmla="*/ 769434 w 3490331"/>
              <a:gd name="connsiteY34-798" fmla="*/ 1605775 h 3055434"/>
              <a:gd name="connsiteX35-799" fmla="*/ 747131 w 3490331"/>
              <a:gd name="connsiteY35-800" fmla="*/ 1839951 h 3055434"/>
              <a:gd name="connsiteX36-801" fmla="*/ 345687 w 3490331"/>
              <a:gd name="connsiteY36-802" fmla="*/ 2152185 h 3055434"/>
              <a:gd name="connsiteX37-803" fmla="*/ 457200 w 3490331"/>
              <a:gd name="connsiteY37-804" fmla="*/ 2085278 h 3055434"/>
              <a:gd name="connsiteX38-805" fmla="*/ 379141 w 3490331"/>
              <a:gd name="connsiteY38-806" fmla="*/ 2230244 h 3055434"/>
              <a:gd name="connsiteX39-807" fmla="*/ 301083 w 3490331"/>
              <a:gd name="connsiteY39-808" fmla="*/ 2352907 h 3055434"/>
              <a:gd name="connsiteX40-809" fmla="*/ 301083 w 3490331"/>
              <a:gd name="connsiteY40-810" fmla="*/ 2352907 h 3055434"/>
              <a:gd name="connsiteX41-811" fmla="*/ 245327 w 3490331"/>
              <a:gd name="connsiteY41-812" fmla="*/ 2419814 h 3055434"/>
              <a:gd name="connsiteX42-813" fmla="*/ 234175 w 3490331"/>
              <a:gd name="connsiteY42-814" fmla="*/ 2509024 h 3055434"/>
              <a:gd name="connsiteX43-815" fmla="*/ 234175 w 3490331"/>
              <a:gd name="connsiteY43-816" fmla="*/ 2509024 h 3055434"/>
              <a:gd name="connsiteX44-817" fmla="*/ 144966 w 3490331"/>
              <a:gd name="connsiteY44-818" fmla="*/ 2598234 h 3055434"/>
              <a:gd name="connsiteX45-819" fmla="*/ 66907 w 3490331"/>
              <a:gd name="connsiteY45-820" fmla="*/ 2642839 h 3055434"/>
              <a:gd name="connsiteX46-821" fmla="*/ 55756 w 3490331"/>
              <a:gd name="connsiteY46-822" fmla="*/ 2732048 h 3055434"/>
              <a:gd name="connsiteX47-823" fmla="*/ 44605 w 3490331"/>
              <a:gd name="connsiteY47-824" fmla="*/ 2932770 h 3055434"/>
              <a:gd name="connsiteX0-825" fmla="*/ 0 w 3490331"/>
              <a:gd name="connsiteY0-826" fmla="*/ 3055434 h 3055434"/>
              <a:gd name="connsiteX1-827" fmla="*/ 55756 w 3490331"/>
              <a:gd name="connsiteY1-828" fmla="*/ 2877014 h 3055434"/>
              <a:gd name="connsiteX2-829" fmla="*/ 1349297 w 3490331"/>
              <a:gd name="connsiteY2-830" fmla="*/ 2877014 h 3055434"/>
              <a:gd name="connsiteX3-831" fmla="*/ 1304692 w 3490331"/>
              <a:gd name="connsiteY3-832" fmla="*/ 2408663 h 3055434"/>
              <a:gd name="connsiteX4-833" fmla="*/ 1471961 w 3490331"/>
              <a:gd name="connsiteY4-834" fmla="*/ 2274848 h 3055434"/>
              <a:gd name="connsiteX5-835" fmla="*/ 1683834 w 3490331"/>
              <a:gd name="connsiteY5-836" fmla="*/ 2219092 h 3055434"/>
              <a:gd name="connsiteX6-837" fmla="*/ 3490331 w 3490331"/>
              <a:gd name="connsiteY6-838" fmla="*/ 22302 h 3055434"/>
              <a:gd name="connsiteX7-839" fmla="*/ 3434575 w 3490331"/>
              <a:gd name="connsiteY7-840" fmla="*/ 0 h 3055434"/>
              <a:gd name="connsiteX8-841" fmla="*/ 3423424 w 3490331"/>
              <a:gd name="connsiteY8-842" fmla="*/ 44605 h 3055434"/>
              <a:gd name="connsiteX9-843" fmla="*/ 3300761 w 3490331"/>
              <a:gd name="connsiteY9-844" fmla="*/ 11151 h 3055434"/>
              <a:gd name="connsiteX10-845" fmla="*/ 3267307 w 3490331"/>
              <a:gd name="connsiteY10-846" fmla="*/ 100361 h 3055434"/>
              <a:gd name="connsiteX11-847" fmla="*/ 3155795 w 3490331"/>
              <a:gd name="connsiteY11-848" fmla="*/ 66907 h 3055434"/>
              <a:gd name="connsiteX12-849" fmla="*/ 3111190 w 3490331"/>
              <a:gd name="connsiteY12-850" fmla="*/ 100361 h 3055434"/>
              <a:gd name="connsiteX13-851" fmla="*/ 3033131 w 3490331"/>
              <a:gd name="connsiteY13-852" fmla="*/ 100361 h 3055434"/>
              <a:gd name="connsiteX14-853" fmla="*/ 3033131 w 3490331"/>
              <a:gd name="connsiteY14-854" fmla="*/ 100361 h 3055434"/>
              <a:gd name="connsiteX15-855" fmla="*/ 2955073 w 3490331"/>
              <a:gd name="connsiteY15-856" fmla="*/ 144966 h 3055434"/>
              <a:gd name="connsiteX16-857" fmla="*/ 2877014 w 3490331"/>
              <a:gd name="connsiteY16-858" fmla="*/ 178419 h 3055434"/>
              <a:gd name="connsiteX17-859" fmla="*/ 2821258 w 3490331"/>
              <a:gd name="connsiteY17-860" fmla="*/ 178419 h 3055434"/>
              <a:gd name="connsiteX18-861" fmla="*/ 2821258 w 3490331"/>
              <a:gd name="connsiteY18-862" fmla="*/ 178419 h 3055434"/>
              <a:gd name="connsiteX19-863" fmla="*/ 2821258 w 3490331"/>
              <a:gd name="connsiteY19-864" fmla="*/ 334536 h 3055434"/>
              <a:gd name="connsiteX20-865" fmla="*/ 2687444 w 3490331"/>
              <a:gd name="connsiteY20-866" fmla="*/ 312234 h 3055434"/>
              <a:gd name="connsiteX21-867" fmla="*/ 2598234 w 3490331"/>
              <a:gd name="connsiteY21-868" fmla="*/ 367990 h 3055434"/>
              <a:gd name="connsiteX22-869" fmla="*/ 2486722 w 3490331"/>
              <a:gd name="connsiteY22-870" fmla="*/ 401444 h 3055434"/>
              <a:gd name="connsiteX23-871" fmla="*/ 2430966 w 3490331"/>
              <a:gd name="connsiteY23-872" fmla="*/ 356839 h 3055434"/>
              <a:gd name="connsiteX24-873" fmla="*/ 2397512 w 3490331"/>
              <a:gd name="connsiteY24-874" fmla="*/ 390292 h 3055434"/>
              <a:gd name="connsiteX25-875" fmla="*/ 2207941 w 3490331"/>
              <a:gd name="connsiteY25-876" fmla="*/ 434897 h 3055434"/>
              <a:gd name="connsiteX26-877" fmla="*/ 1973766 w 3490331"/>
              <a:gd name="connsiteY26-878" fmla="*/ 568712 h 3055434"/>
              <a:gd name="connsiteX27-879" fmla="*/ 1851102 w 3490331"/>
              <a:gd name="connsiteY27-880" fmla="*/ 680224 h 3055434"/>
              <a:gd name="connsiteX28-881" fmla="*/ 1382751 w 3490331"/>
              <a:gd name="connsiteY28-882" fmla="*/ 802887 h 3055434"/>
              <a:gd name="connsiteX29-883" fmla="*/ 1315844 w 3490331"/>
              <a:gd name="connsiteY29-884" fmla="*/ 858644 h 3055434"/>
              <a:gd name="connsiteX30-885" fmla="*/ 1182029 w 3490331"/>
              <a:gd name="connsiteY30-886" fmla="*/ 1182029 h 3055434"/>
              <a:gd name="connsiteX31-887" fmla="*/ 869795 w 3490331"/>
              <a:gd name="connsiteY31-888" fmla="*/ 1349297 h 3055434"/>
              <a:gd name="connsiteX32-889" fmla="*/ 847492 w 3490331"/>
              <a:gd name="connsiteY32-890" fmla="*/ 1494263 h 3055434"/>
              <a:gd name="connsiteX33-891" fmla="*/ 769434 w 3490331"/>
              <a:gd name="connsiteY33-892" fmla="*/ 1605775 h 3055434"/>
              <a:gd name="connsiteX34-893" fmla="*/ 747131 w 3490331"/>
              <a:gd name="connsiteY34-894" fmla="*/ 1839951 h 3055434"/>
              <a:gd name="connsiteX35-895" fmla="*/ 345687 w 3490331"/>
              <a:gd name="connsiteY35-896" fmla="*/ 2152185 h 3055434"/>
              <a:gd name="connsiteX36-897" fmla="*/ 457200 w 3490331"/>
              <a:gd name="connsiteY36-898" fmla="*/ 2085278 h 3055434"/>
              <a:gd name="connsiteX37-899" fmla="*/ 379141 w 3490331"/>
              <a:gd name="connsiteY37-900" fmla="*/ 2230244 h 3055434"/>
              <a:gd name="connsiteX38-901" fmla="*/ 301083 w 3490331"/>
              <a:gd name="connsiteY38-902" fmla="*/ 2352907 h 3055434"/>
              <a:gd name="connsiteX39-903" fmla="*/ 301083 w 3490331"/>
              <a:gd name="connsiteY39-904" fmla="*/ 2352907 h 3055434"/>
              <a:gd name="connsiteX40-905" fmla="*/ 245327 w 3490331"/>
              <a:gd name="connsiteY40-906" fmla="*/ 2419814 h 3055434"/>
              <a:gd name="connsiteX41-907" fmla="*/ 234175 w 3490331"/>
              <a:gd name="connsiteY41-908" fmla="*/ 2509024 h 3055434"/>
              <a:gd name="connsiteX42-909" fmla="*/ 234175 w 3490331"/>
              <a:gd name="connsiteY42-910" fmla="*/ 2509024 h 3055434"/>
              <a:gd name="connsiteX43-911" fmla="*/ 144966 w 3490331"/>
              <a:gd name="connsiteY43-912" fmla="*/ 2598234 h 3055434"/>
              <a:gd name="connsiteX44-913" fmla="*/ 66907 w 3490331"/>
              <a:gd name="connsiteY44-914" fmla="*/ 2642839 h 3055434"/>
              <a:gd name="connsiteX45-915" fmla="*/ 55756 w 3490331"/>
              <a:gd name="connsiteY45-916" fmla="*/ 2732048 h 3055434"/>
              <a:gd name="connsiteX46-917" fmla="*/ 44605 w 3490331"/>
              <a:gd name="connsiteY46-918" fmla="*/ 2932770 h 3055434"/>
              <a:gd name="connsiteX0-919" fmla="*/ 0 w 3490331"/>
              <a:gd name="connsiteY0-920" fmla="*/ 3055434 h 3055434"/>
              <a:gd name="connsiteX1-921" fmla="*/ 55756 w 3490331"/>
              <a:gd name="connsiteY1-922" fmla="*/ 2877014 h 3055434"/>
              <a:gd name="connsiteX2-923" fmla="*/ 1349297 w 3490331"/>
              <a:gd name="connsiteY2-924" fmla="*/ 2877014 h 3055434"/>
              <a:gd name="connsiteX3-925" fmla="*/ 1304692 w 3490331"/>
              <a:gd name="connsiteY3-926" fmla="*/ 2408663 h 3055434"/>
              <a:gd name="connsiteX4-927" fmla="*/ 1471961 w 3490331"/>
              <a:gd name="connsiteY4-928" fmla="*/ 2274848 h 3055434"/>
              <a:gd name="connsiteX5-929" fmla="*/ 1683834 w 3490331"/>
              <a:gd name="connsiteY5-930" fmla="*/ 2219092 h 3055434"/>
              <a:gd name="connsiteX6-931" fmla="*/ 3490331 w 3490331"/>
              <a:gd name="connsiteY6-932" fmla="*/ 22302 h 3055434"/>
              <a:gd name="connsiteX7-933" fmla="*/ 3434575 w 3490331"/>
              <a:gd name="connsiteY7-934" fmla="*/ 0 h 3055434"/>
              <a:gd name="connsiteX8-935" fmla="*/ 3423424 w 3490331"/>
              <a:gd name="connsiteY8-936" fmla="*/ 44605 h 3055434"/>
              <a:gd name="connsiteX9-937" fmla="*/ 3300761 w 3490331"/>
              <a:gd name="connsiteY9-938" fmla="*/ 11151 h 3055434"/>
              <a:gd name="connsiteX10-939" fmla="*/ 3267307 w 3490331"/>
              <a:gd name="connsiteY10-940" fmla="*/ 100361 h 3055434"/>
              <a:gd name="connsiteX11-941" fmla="*/ 3155795 w 3490331"/>
              <a:gd name="connsiteY11-942" fmla="*/ 66907 h 3055434"/>
              <a:gd name="connsiteX12-943" fmla="*/ 3111190 w 3490331"/>
              <a:gd name="connsiteY12-944" fmla="*/ 100361 h 3055434"/>
              <a:gd name="connsiteX13-945" fmla="*/ 3033131 w 3490331"/>
              <a:gd name="connsiteY13-946" fmla="*/ 100361 h 3055434"/>
              <a:gd name="connsiteX14-947" fmla="*/ 3033131 w 3490331"/>
              <a:gd name="connsiteY14-948" fmla="*/ 100361 h 3055434"/>
              <a:gd name="connsiteX15-949" fmla="*/ 2955073 w 3490331"/>
              <a:gd name="connsiteY15-950" fmla="*/ 144966 h 3055434"/>
              <a:gd name="connsiteX16-951" fmla="*/ 2877014 w 3490331"/>
              <a:gd name="connsiteY16-952" fmla="*/ 178419 h 3055434"/>
              <a:gd name="connsiteX17-953" fmla="*/ 2821258 w 3490331"/>
              <a:gd name="connsiteY17-954" fmla="*/ 178419 h 3055434"/>
              <a:gd name="connsiteX18-955" fmla="*/ 2821258 w 3490331"/>
              <a:gd name="connsiteY18-956" fmla="*/ 178419 h 3055434"/>
              <a:gd name="connsiteX19-957" fmla="*/ 2821258 w 3490331"/>
              <a:gd name="connsiteY19-958" fmla="*/ 334536 h 3055434"/>
              <a:gd name="connsiteX20-959" fmla="*/ 2687444 w 3490331"/>
              <a:gd name="connsiteY20-960" fmla="*/ 312234 h 3055434"/>
              <a:gd name="connsiteX21-961" fmla="*/ 2598234 w 3490331"/>
              <a:gd name="connsiteY21-962" fmla="*/ 367990 h 3055434"/>
              <a:gd name="connsiteX22-963" fmla="*/ 2486722 w 3490331"/>
              <a:gd name="connsiteY22-964" fmla="*/ 401444 h 3055434"/>
              <a:gd name="connsiteX23-965" fmla="*/ 2430966 w 3490331"/>
              <a:gd name="connsiteY23-966" fmla="*/ 356839 h 3055434"/>
              <a:gd name="connsiteX24-967" fmla="*/ 2397512 w 3490331"/>
              <a:gd name="connsiteY24-968" fmla="*/ 390292 h 3055434"/>
              <a:gd name="connsiteX25-969" fmla="*/ 1973766 w 3490331"/>
              <a:gd name="connsiteY25-970" fmla="*/ 568712 h 3055434"/>
              <a:gd name="connsiteX26-971" fmla="*/ 1851102 w 3490331"/>
              <a:gd name="connsiteY26-972" fmla="*/ 680224 h 3055434"/>
              <a:gd name="connsiteX27-973" fmla="*/ 1382751 w 3490331"/>
              <a:gd name="connsiteY27-974" fmla="*/ 802887 h 3055434"/>
              <a:gd name="connsiteX28-975" fmla="*/ 1315844 w 3490331"/>
              <a:gd name="connsiteY28-976" fmla="*/ 858644 h 3055434"/>
              <a:gd name="connsiteX29-977" fmla="*/ 1182029 w 3490331"/>
              <a:gd name="connsiteY29-978" fmla="*/ 1182029 h 3055434"/>
              <a:gd name="connsiteX30-979" fmla="*/ 869795 w 3490331"/>
              <a:gd name="connsiteY30-980" fmla="*/ 1349297 h 3055434"/>
              <a:gd name="connsiteX31-981" fmla="*/ 847492 w 3490331"/>
              <a:gd name="connsiteY31-982" fmla="*/ 1494263 h 3055434"/>
              <a:gd name="connsiteX32-983" fmla="*/ 769434 w 3490331"/>
              <a:gd name="connsiteY32-984" fmla="*/ 1605775 h 3055434"/>
              <a:gd name="connsiteX33-985" fmla="*/ 747131 w 3490331"/>
              <a:gd name="connsiteY33-986" fmla="*/ 1839951 h 3055434"/>
              <a:gd name="connsiteX34-987" fmla="*/ 345687 w 3490331"/>
              <a:gd name="connsiteY34-988" fmla="*/ 2152185 h 3055434"/>
              <a:gd name="connsiteX35-989" fmla="*/ 457200 w 3490331"/>
              <a:gd name="connsiteY35-990" fmla="*/ 2085278 h 3055434"/>
              <a:gd name="connsiteX36-991" fmla="*/ 379141 w 3490331"/>
              <a:gd name="connsiteY36-992" fmla="*/ 2230244 h 3055434"/>
              <a:gd name="connsiteX37-993" fmla="*/ 301083 w 3490331"/>
              <a:gd name="connsiteY37-994" fmla="*/ 2352907 h 3055434"/>
              <a:gd name="connsiteX38-995" fmla="*/ 301083 w 3490331"/>
              <a:gd name="connsiteY38-996" fmla="*/ 2352907 h 3055434"/>
              <a:gd name="connsiteX39-997" fmla="*/ 245327 w 3490331"/>
              <a:gd name="connsiteY39-998" fmla="*/ 2419814 h 3055434"/>
              <a:gd name="connsiteX40-999" fmla="*/ 234175 w 3490331"/>
              <a:gd name="connsiteY40-1000" fmla="*/ 2509024 h 3055434"/>
              <a:gd name="connsiteX41-1001" fmla="*/ 234175 w 3490331"/>
              <a:gd name="connsiteY41-1002" fmla="*/ 2509024 h 3055434"/>
              <a:gd name="connsiteX42-1003" fmla="*/ 144966 w 3490331"/>
              <a:gd name="connsiteY42-1004" fmla="*/ 2598234 h 3055434"/>
              <a:gd name="connsiteX43-1005" fmla="*/ 66907 w 3490331"/>
              <a:gd name="connsiteY43-1006" fmla="*/ 2642839 h 3055434"/>
              <a:gd name="connsiteX44-1007" fmla="*/ 55756 w 3490331"/>
              <a:gd name="connsiteY44-1008" fmla="*/ 2732048 h 3055434"/>
              <a:gd name="connsiteX45-1009" fmla="*/ 44605 w 3490331"/>
              <a:gd name="connsiteY45-1010" fmla="*/ 2932770 h 3055434"/>
              <a:gd name="connsiteX0-1011" fmla="*/ 0 w 3490331"/>
              <a:gd name="connsiteY0-1012" fmla="*/ 3055434 h 3055434"/>
              <a:gd name="connsiteX1-1013" fmla="*/ 55756 w 3490331"/>
              <a:gd name="connsiteY1-1014" fmla="*/ 2877014 h 3055434"/>
              <a:gd name="connsiteX2-1015" fmla="*/ 1349297 w 3490331"/>
              <a:gd name="connsiteY2-1016" fmla="*/ 2877014 h 3055434"/>
              <a:gd name="connsiteX3-1017" fmla="*/ 1304692 w 3490331"/>
              <a:gd name="connsiteY3-1018" fmla="*/ 2408663 h 3055434"/>
              <a:gd name="connsiteX4-1019" fmla="*/ 1471961 w 3490331"/>
              <a:gd name="connsiteY4-1020" fmla="*/ 2274848 h 3055434"/>
              <a:gd name="connsiteX5-1021" fmla="*/ 1683834 w 3490331"/>
              <a:gd name="connsiteY5-1022" fmla="*/ 2219092 h 3055434"/>
              <a:gd name="connsiteX6-1023" fmla="*/ 3490331 w 3490331"/>
              <a:gd name="connsiteY6-1024" fmla="*/ 22302 h 3055434"/>
              <a:gd name="connsiteX7-1025" fmla="*/ 3434575 w 3490331"/>
              <a:gd name="connsiteY7-1026" fmla="*/ 0 h 3055434"/>
              <a:gd name="connsiteX8-1027" fmla="*/ 3423424 w 3490331"/>
              <a:gd name="connsiteY8-1028" fmla="*/ 44605 h 3055434"/>
              <a:gd name="connsiteX9-1029" fmla="*/ 3300761 w 3490331"/>
              <a:gd name="connsiteY9-1030" fmla="*/ 11151 h 3055434"/>
              <a:gd name="connsiteX10-1031" fmla="*/ 3267307 w 3490331"/>
              <a:gd name="connsiteY10-1032" fmla="*/ 100361 h 3055434"/>
              <a:gd name="connsiteX11-1033" fmla="*/ 3155795 w 3490331"/>
              <a:gd name="connsiteY11-1034" fmla="*/ 66907 h 3055434"/>
              <a:gd name="connsiteX12-1035" fmla="*/ 3111190 w 3490331"/>
              <a:gd name="connsiteY12-1036" fmla="*/ 100361 h 3055434"/>
              <a:gd name="connsiteX13-1037" fmla="*/ 3033131 w 3490331"/>
              <a:gd name="connsiteY13-1038" fmla="*/ 100361 h 3055434"/>
              <a:gd name="connsiteX14-1039" fmla="*/ 3033131 w 3490331"/>
              <a:gd name="connsiteY14-1040" fmla="*/ 100361 h 3055434"/>
              <a:gd name="connsiteX15-1041" fmla="*/ 2955073 w 3490331"/>
              <a:gd name="connsiteY15-1042" fmla="*/ 144966 h 3055434"/>
              <a:gd name="connsiteX16-1043" fmla="*/ 2877014 w 3490331"/>
              <a:gd name="connsiteY16-1044" fmla="*/ 178419 h 3055434"/>
              <a:gd name="connsiteX17-1045" fmla="*/ 2821258 w 3490331"/>
              <a:gd name="connsiteY17-1046" fmla="*/ 178419 h 3055434"/>
              <a:gd name="connsiteX18-1047" fmla="*/ 2821258 w 3490331"/>
              <a:gd name="connsiteY18-1048" fmla="*/ 178419 h 3055434"/>
              <a:gd name="connsiteX19-1049" fmla="*/ 2821258 w 3490331"/>
              <a:gd name="connsiteY19-1050" fmla="*/ 334536 h 3055434"/>
              <a:gd name="connsiteX20-1051" fmla="*/ 2687444 w 3490331"/>
              <a:gd name="connsiteY20-1052" fmla="*/ 312234 h 3055434"/>
              <a:gd name="connsiteX21-1053" fmla="*/ 2598234 w 3490331"/>
              <a:gd name="connsiteY21-1054" fmla="*/ 367990 h 3055434"/>
              <a:gd name="connsiteX22-1055" fmla="*/ 2486722 w 3490331"/>
              <a:gd name="connsiteY22-1056" fmla="*/ 401444 h 3055434"/>
              <a:gd name="connsiteX23-1057" fmla="*/ 2430966 w 3490331"/>
              <a:gd name="connsiteY23-1058" fmla="*/ 356839 h 3055434"/>
              <a:gd name="connsiteX24-1059" fmla="*/ 2397512 w 3490331"/>
              <a:gd name="connsiteY24-1060" fmla="*/ 390292 h 3055434"/>
              <a:gd name="connsiteX25-1061" fmla="*/ 1851102 w 3490331"/>
              <a:gd name="connsiteY25-1062" fmla="*/ 680224 h 3055434"/>
              <a:gd name="connsiteX26-1063" fmla="*/ 1382751 w 3490331"/>
              <a:gd name="connsiteY26-1064" fmla="*/ 802887 h 3055434"/>
              <a:gd name="connsiteX27-1065" fmla="*/ 1315844 w 3490331"/>
              <a:gd name="connsiteY27-1066" fmla="*/ 858644 h 3055434"/>
              <a:gd name="connsiteX28-1067" fmla="*/ 1182029 w 3490331"/>
              <a:gd name="connsiteY28-1068" fmla="*/ 1182029 h 3055434"/>
              <a:gd name="connsiteX29-1069" fmla="*/ 869795 w 3490331"/>
              <a:gd name="connsiteY29-1070" fmla="*/ 1349297 h 3055434"/>
              <a:gd name="connsiteX30-1071" fmla="*/ 847492 w 3490331"/>
              <a:gd name="connsiteY30-1072" fmla="*/ 1494263 h 3055434"/>
              <a:gd name="connsiteX31-1073" fmla="*/ 769434 w 3490331"/>
              <a:gd name="connsiteY31-1074" fmla="*/ 1605775 h 3055434"/>
              <a:gd name="connsiteX32-1075" fmla="*/ 747131 w 3490331"/>
              <a:gd name="connsiteY32-1076" fmla="*/ 1839951 h 3055434"/>
              <a:gd name="connsiteX33-1077" fmla="*/ 345687 w 3490331"/>
              <a:gd name="connsiteY33-1078" fmla="*/ 2152185 h 3055434"/>
              <a:gd name="connsiteX34-1079" fmla="*/ 457200 w 3490331"/>
              <a:gd name="connsiteY34-1080" fmla="*/ 2085278 h 3055434"/>
              <a:gd name="connsiteX35-1081" fmla="*/ 379141 w 3490331"/>
              <a:gd name="connsiteY35-1082" fmla="*/ 2230244 h 3055434"/>
              <a:gd name="connsiteX36-1083" fmla="*/ 301083 w 3490331"/>
              <a:gd name="connsiteY36-1084" fmla="*/ 2352907 h 3055434"/>
              <a:gd name="connsiteX37-1085" fmla="*/ 301083 w 3490331"/>
              <a:gd name="connsiteY37-1086" fmla="*/ 2352907 h 3055434"/>
              <a:gd name="connsiteX38-1087" fmla="*/ 245327 w 3490331"/>
              <a:gd name="connsiteY38-1088" fmla="*/ 2419814 h 3055434"/>
              <a:gd name="connsiteX39-1089" fmla="*/ 234175 w 3490331"/>
              <a:gd name="connsiteY39-1090" fmla="*/ 2509024 h 3055434"/>
              <a:gd name="connsiteX40-1091" fmla="*/ 234175 w 3490331"/>
              <a:gd name="connsiteY40-1092" fmla="*/ 2509024 h 3055434"/>
              <a:gd name="connsiteX41-1093" fmla="*/ 144966 w 3490331"/>
              <a:gd name="connsiteY41-1094" fmla="*/ 2598234 h 3055434"/>
              <a:gd name="connsiteX42-1095" fmla="*/ 66907 w 3490331"/>
              <a:gd name="connsiteY42-1096" fmla="*/ 2642839 h 3055434"/>
              <a:gd name="connsiteX43-1097" fmla="*/ 55756 w 3490331"/>
              <a:gd name="connsiteY43-1098" fmla="*/ 2732048 h 3055434"/>
              <a:gd name="connsiteX44-1099" fmla="*/ 44605 w 3490331"/>
              <a:gd name="connsiteY44-1100" fmla="*/ 2932770 h 3055434"/>
              <a:gd name="connsiteX0-1101" fmla="*/ 0 w 3434575"/>
              <a:gd name="connsiteY0-1102" fmla="*/ 3055434 h 3055434"/>
              <a:gd name="connsiteX1-1103" fmla="*/ 55756 w 3434575"/>
              <a:gd name="connsiteY1-1104" fmla="*/ 2877014 h 3055434"/>
              <a:gd name="connsiteX2-1105" fmla="*/ 1349297 w 3434575"/>
              <a:gd name="connsiteY2-1106" fmla="*/ 2877014 h 3055434"/>
              <a:gd name="connsiteX3-1107" fmla="*/ 1304692 w 3434575"/>
              <a:gd name="connsiteY3-1108" fmla="*/ 2408663 h 3055434"/>
              <a:gd name="connsiteX4-1109" fmla="*/ 1471961 w 3434575"/>
              <a:gd name="connsiteY4-1110" fmla="*/ 2274848 h 3055434"/>
              <a:gd name="connsiteX5-1111" fmla="*/ 1683834 w 3434575"/>
              <a:gd name="connsiteY5-1112" fmla="*/ 2219092 h 3055434"/>
              <a:gd name="connsiteX6-1113" fmla="*/ 3434575 w 3434575"/>
              <a:gd name="connsiteY6-1114" fmla="*/ 0 h 3055434"/>
              <a:gd name="connsiteX7-1115" fmla="*/ 3423424 w 3434575"/>
              <a:gd name="connsiteY7-1116" fmla="*/ 44605 h 3055434"/>
              <a:gd name="connsiteX8-1117" fmla="*/ 3300761 w 3434575"/>
              <a:gd name="connsiteY8-1118" fmla="*/ 11151 h 3055434"/>
              <a:gd name="connsiteX9-1119" fmla="*/ 3267307 w 3434575"/>
              <a:gd name="connsiteY9-1120" fmla="*/ 100361 h 3055434"/>
              <a:gd name="connsiteX10-1121" fmla="*/ 3155795 w 3434575"/>
              <a:gd name="connsiteY10-1122" fmla="*/ 66907 h 3055434"/>
              <a:gd name="connsiteX11-1123" fmla="*/ 3111190 w 3434575"/>
              <a:gd name="connsiteY11-1124" fmla="*/ 100361 h 3055434"/>
              <a:gd name="connsiteX12-1125" fmla="*/ 3033131 w 3434575"/>
              <a:gd name="connsiteY12-1126" fmla="*/ 100361 h 3055434"/>
              <a:gd name="connsiteX13-1127" fmla="*/ 3033131 w 3434575"/>
              <a:gd name="connsiteY13-1128" fmla="*/ 100361 h 3055434"/>
              <a:gd name="connsiteX14-1129" fmla="*/ 2955073 w 3434575"/>
              <a:gd name="connsiteY14-1130" fmla="*/ 144966 h 3055434"/>
              <a:gd name="connsiteX15-1131" fmla="*/ 2877014 w 3434575"/>
              <a:gd name="connsiteY15-1132" fmla="*/ 178419 h 3055434"/>
              <a:gd name="connsiteX16-1133" fmla="*/ 2821258 w 3434575"/>
              <a:gd name="connsiteY16-1134" fmla="*/ 178419 h 3055434"/>
              <a:gd name="connsiteX17-1135" fmla="*/ 2821258 w 3434575"/>
              <a:gd name="connsiteY17-1136" fmla="*/ 178419 h 3055434"/>
              <a:gd name="connsiteX18-1137" fmla="*/ 2821258 w 3434575"/>
              <a:gd name="connsiteY18-1138" fmla="*/ 334536 h 3055434"/>
              <a:gd name="connsiteX19-1139" fmla="*/ 2687444 w 3434575"/>
              <a:gd name="connsiteY19-1140" fmla="*/ 312234 h 3055434"/>
              <a:gd name="connsiteX20-1141" fmla="*/ 2598234 w 3434575"/>
              <a:gd name="connsiteY20-1142" fmla="*/ 367990 h 3055434"/>
              <a:gd name="connsiteX21-1143" fmla="*/ 2486722 w 3434575"/>
              <a:gd name="connsiteY21-1144" fmla="*/ 401444 h 3055434"/>
              <a:gd name="connsiteX22-1145" fmla="*/ 2430966 w 3434575"/>
              <a:gd name="connsiteY22-1146" fmla="*/ 356839 h 3055434"/>
              <a:gd name="connsiteX23-1147" fmla="*/ 2397512 w 3434575"/>
              <a:gd name="connsiteY23-1148" fmla="*/ 390292 h 3055434"/>
              <a:gd name="connsiteX24-1149" fmla="*/ 1851102 w 3434575"/>
              <a:gd name="connsiteY24-1150" fmla="*/ 680224 h 3055434"/>
              <a:gd name="connsiteX25-1151" fmla="*/ 1382751 w 3434575"/>
              <a:gd name="connsiteY25-1152" fmla="*/ 802887 h 3055434"/>
              <a:gd name="connsiteX26-1153" fmla="*/ 1315844 w 3434575"/>
              <a:gd name="connsiteY26-1154" fmla="*/ 858644 h 3055434"/>
              <a:gd name="connsiteX27-1155" fmla="*/ 1182029 w 3434575"/>
              <a:gd name="connsiteY27-1156" fmla="*/ 1182029 h 3055434"/>
              <a:gd name="connsiteX28-1157" fmla="*/ 869795 w 3434575"/>
              <a:gd name="connsiteY28-1158" fmla="*/ 1349297 h 3055434"/>
              <a:gd name="connsiteX29-1159" fmla="*/ 847492 w 3434575"/>
              <a:gd name="connsiteY29-1160" fmla="*/ 1494263 h 3055434"/>
              <a:gd name="connsiteX30-1161" fmla="*/ 769434 w 3434575"/>
              <a:gd name="connsiteY30-1162" fmla="*/ 1605775 h 3055434"/>
              <a:gd name="connsiteX31-1163" fmla="*/ 747131 w 3434575"/>
              <a:gd name="connsiteY31-1164" fmla="*/ 1839951 h 3055434"/>
              <a:gd name="connsiteX32-1165" fmla="*/ 345687 w 3434575"/>
              <a:gd name="connsiteY32-1166" fmla="*/ 2152185 h 3055434"/>
              <a:gd name="connsiteX33-1167" fmla="*/ 457200 w 3434575"/>
              <a:gd name="connsiteY33-1168" fmla="*/ 2085278 h 3055434"/>
              <a:gd name="connsiteX34-1169" fmla="*/ 379141 w 3434575"/>
              <a:gd name="connsiteY34-1170" fmla="*/ 2230244 h 3055434"/>
              <a:gd name="connsiteX35-1171" fmla="*/ 301083 w 3434575"/>
              <a:gd name="connsiteY35-1172" fmla="*/ 2352907 h 3055434"/>
              <a:gd name="connsiteX36-1173" fmla="*/ 301083 w 3434575"/>
              <a:gd name="connsiteY36-1174" fmla="*/ 2352907 h 3055434"/>
              <a:gd name="connsiteX37-1175" fmla="*/ 245327 w 3434575"/>
              <a:gd name="connsiteY37-1176" fmla="*/ 2419814 h 3055434"/>
              <a:gd name="connsiteX38-1177" fmla="*/ 234175 w 3434575"/>
              <a:gd name="connsiteY38-1178" fmla="*/ 2509024 h 3055434"/>
              <a:gd name="connsiteX39-1179" fmla="*/ 234175 w 3434575"/>
              <a:gd name="connsiteY39-1180" fmla="*/ 2509024 h 3055434"/>
              <a:gd name="connsiteX40-1181" fmla="*/ 144966 w 3434575"/>
              <a:gd name="connsiteY40-1182" fmla="*/ 2598234 h 3055434"/>
              <a:gd name="connsiteX41-1183" fmla="*/ 66907 w 3434575"/>
              <a:gd name="connsiteY41-1184" fmla="*/ 2642839 h 3055434"/>
              <a:gd name="connsiteX42-1185" fmla="*/ 55756 w 3434575"/>
              <a:gd name="connsiteY42-1186" fmla="*/ 2732048 h 3055434"/>
              <a:gd name="connsiteX43-1187" fmla="*/ 44605 w 3434575"/>
              <a:gd name="connsiteY43-1188" fmla="*/ 2932770 h 3055434"/>
              <a:gd name="connsiteX0-1189" fmla="*/ 0 w 3434575"/>
              <a:gd name="connsiteY0-1190" fmla="*/ 3055434 h 3055434"/>
              <a:gd name="connsiteX1-1191" fmla="*/ 55756 w 3434575"/>
              <a:gd name="connsiteY1-1192" fmla="*/ 2877014 h 3055434"/>
              <a:gd name="connsiteX2-1193" fmla="*/ 1349297 w 3434575"/>
              <a:gd name="connsiteY2-1194" fmla="*/ 2877014 h 3055434"/>
              <a:gd name="connsiteX3-1195" fmla="*/ 1304692 w 3434575"/>
              <a:gd name="connsiteY3-1196" fmla="*/ 2408663 h 3055434"/>
              <a:gd name="connsiteX4-1197" fmla="*/ 1471961 w 3434575"/>
              <a:gd name="connsiteY4-1198" fmla="*/ 2274848 h 3055434"/>
              <a:gd name="connsiteX5-1199" fmla="*/ 1683834 w 3434575"/>
              <a:gd name="connsiteY5-1200" fmla="*/ 2219092 h 3055434"/>
              <a:gd name="connsiteX6-1201" fmla="*/ 3434575 w 3434575"/>
              <a:gd name="connsiteY6-1202" fmla="*/ 0 h 3055434"/>
              <a:gd name="connsiteX7-1203" fmla="*/ 3300761 w 3434575"/>
              <a:gd name="connsiteY7-1204" fmla="*/ 11151 h 3055434"/>
              <a:gd name="connsiteX8-1205" fmla="*/ 3267307 w 3434575"/>
              <a:gd name="connsiteY8-1206" fmla="*/ 100361 h 3055434"/>
              <a:gd name="connsiteX9-1207" fmla="*/ 3155795 w 3434575"/>
              <a:gd name="connsiteY9-1208" fmla="*/ 66907 h 3055434"/>
              <a:gd name="connsiteX10-1209" fmla="*/ 3111190 w 3434575"/>
              <a:gd name="connsiteY10-1210" fmla="*/ 100361 h 3055434"/>
              <a:gd name="connsiteX11-1211" fmla="*/ 3033131 w 3434575"/>
              <a:gd name="connsiteY11-1212" fmla="*/ 100361 h 3055434"/>
              <a:gd name="connsiteX12-1213" fmla="*/ 3033131 w 3434575"/>
              <a:gd name="connsiteY12-1214" fmla="*/ 100361 h 3055434"/>
              <a:gd name="connsiteX13-1215" fmla="*/ 2955073 w 3434575"/>
              <a:gd name="connsiteY13-1216" fmla="*/ 144966 h 3055434"/>
              <a:gd name="connsiteX14-1217" fmla="*/ 2877014 w 3434575"/>
              <a:gd name="connsiteY14-1218" fmla="*/ 178419 h 3055434"/>
              <a:gd name="connsiteX15-1219" fmla="*/ 2821258 w 3434575"/>
              <a:gd name="connsiteY15-1220" fmla="*/ 178419 h 3055434"/>
              <a:gd name="connsiteX16-1221" fmla="*/ 2821258 w 3434575"/>
              <a:gd name="connsiteY16-1222" fmla="*/ 178419 h 3055434"/>
              <a:gd name="connsiteX17-1223" fmla="*/ 2821258 w 3434575"/>
              <a:gd name="connsiteY17-1224" fmla="*/ 334536 h 3055434"/>
              <a:gd name="connsiteX18-1225" fmla="*/ 2687444 w 3434575"/>
              <a:gd name="connsiteY18-1226" fmla="*/ 312234 h 3055434"/>
              <a:gd name="connsiteX19-1227" fmla="*/ 2598234 w 3434575"/>
              <a:gd name="connsiteY19-1228" fmla="*/ 367990 h 3055434"/>
              <a:gd name="connsiteX20-1229" fmla="*/ 2486722 w 3434575"/>
              <a:gd name="connsiteY20-1230" fmla="*/ 401444 h 3055434"/>
              <a:gd name="connsiteX21-1231" fmla="*/ 2430966 w 3434575"/>
              <a:gd name="connsiteY21-1232" fmla="*/ 356839 h 3055434"/>
              <a:gd name="connsiteX22-1233" fmla="*/ 2397512 w 3434575"/>
              <a:gd name="connsiteY22-1234" fmla="*/ 390292 h 3055434"/>
              <a:gd name="connsiteX23-1235" fmla="*/ 1851102 w 3434575"/>
              <a:gd name="connsiteY23-1236" fmla="*/ 680224 h 3055434"/>
              <a:gd name="connsiteX24-1237" fmla="*/ 1382751 w 3434575"/>
              <a:gd name="connsiteY24-1238" fmla="*/ 802887 h 3055434"/>
              <a:gd name="connsiteX25-1239" fmla="*/ 1315844 w 3434575"/>
              <a:gd name="connsiteY25-1240" fmla="*/ 858644 h 3055434"/>
              <a:gd name="connsiteX26-1241" fmla="*/ 1182029 w 3434575"/>
              <a:gd name="connsiteY26-1242" fmla="*/ 1182029 h 3055434"/>
              <a:gd name="connsiteX27-1243" fmla="*/ 869795 w 3434575"/>
              <a:gd name="connsiteY27-1244" fmla="*/ 1349297 h 3055434"/>
              <a:gd name="connsiteX28-1245" fmla="*/ 847492 w 3434575"/>
              <a:gd name="connsiteY28-1246" fmla="*/ 1494263 h 3055434"/>
              <a:gd name="connsiteX29-1247" fmla="*/ 769434 w 3434575"/>
              <a:gd name="connsiteY29-1248" fmla="*/ 1605775 h 3055434"/>
              <a:gd name="connsiteX30-1249" fmla="*/ 747131 w 3434575"/>
              <a:gd name="connsiteY30-1250" fmla="*/ 1839951 h 3055434"/>
              <a:gd name="connsiteX31-1251" fmla="*/ 345687 w 3434575"/>
              <a:gd name="connsiteY31-1252" fmla="*/ 2152185 h 3055434"/>
              <a:gd name="connsiteX32-1253" fmla="*/ 457200 w 3434575"/>
              <a:gd name="connsiteY32-1254" fmla="*/ 2085278 h 3055434"/>
              <a:gd name="connsiteX33-1255" fmla="*/ 379141 w 3434575"/>
              <a:gd name="connsiteY33-1256" fmla="*/ 2230244 h 3055434"/>
              <a:gd name="connsiteX34-1257" fmla="*/ 301083 w 3434575"/>
              <a:gd name="connsiteY34-1258" fmla="*/ 2352907 h 3055434"/>
              <a:gd name="connsiteX35-1259" fmla="*/ 301083 w 3434575"/>
              <a:gd name="connsiteY35-1260" fmla="*/ 2352907 h 3055434"/>
              <a:gd name="connsiteX36-1261" fmla="*/ 245327 w 3434575"/>
              <a:gd name="connsiteY36-1262" fmla="*/ 2419814 h 3055434"/>
              <a:gd name="connsiteX37-1263" fmla="*/ 234175 w 3434575"/>
              <a:gd name="connsiteY37-1264" fmla="*/ 2509024 h 3055434"/>
              <a:gd name="connsiteX38-1265" fmla="*/ 234175 w 3434575"/>
              <a:gd name="connsiteY38-1266" fmla="*/ 2509024 h 3055434"/>
              <a:gd name="connsiteX39-1267" fmla="*/ 144966 w 3434575"/>
              <a:gd name="connsiteY39-1268" fmla="*/ 2598234 h 3055434"/>
              <a:gd name="connsiteX40-1269" fmla="*/ 66907 w 3434575"/>
              <a:gd name="connsiteY40-1270" fmla="*/ 2642839 h 3055434"/>
              <a:gd name="connsiteX41-1271" fmla="*/ 55756 w 3434575"/>
              <a:gd name="connsiteY41-1272" fmla="*/ 2732048 h 3055434"/>
              <a:gd name="connsiteX42-1273" fmla="*/ 44605 w 3434575"/>
              <a:gd name="connsiteY42-1274" fmla="*/ 2932770 h 3055434"/>
              <a:gd name="connsiteX0-1275" fmla="*/ 0 w 3434575"/>
              <a:gd name="connsiteY0-1276" fmla="*/ 3055434 h 3055434"/>
              <a:gd name="connsiteX1-1277" fmla="*/ 55756 w 3434575"/>
              <a:gd name="connsiteY1-1278" fmla="*/ 2877014 h 3055434"/>
              <a:gd name="connsiteX2-1279" fmla="*/ 1349297 w 3434575"/>
              <a:gd name="connsiteY2-1280" fmla="*/ 2877014 h 3055434"/>
              <a:gd name="connsiteX3-1281" fmla="*/ 1304692 w 3434575"/>
              <a:gd name="connsiteY3-1282" fmla="*/ 2408663 h 3055434"/>
              <a:gd name="connsiteX4-1283" fmla="*/ 1471961 w 3434575"/>
              <a:gd name="connsiteY4-1284" fmla="*/ 2274848 h 3055434"/>
              <a:gd name="connsiteX5-1285" fmla="*/ 1683834 w 3434575"/>
              <a:gd name="connsiteY5-1286" fmla="*/ 2219092 h 3055434"/>
              <a:gd name="connsiteX6-1287" fmla="*/ 3434575 w 3434575"/>
              <a:gd name="connsiteY6-1288" fmla="*/ 0 h 3055434"/>
              <a:gd name="connsiteX7-1289" fmla="*/ 3267307 w 3434575"/>
              <a:gd name="connsiteY7-1290" fmla="*/ 100361 h 3055434"/>
              <a:gd name="connsiteX8-1291" fmla="*/ 3155795 w 3434575"/>
              <a:gd name="connsiteY8-1292" fmla="*/ 66907 h 3055434"/>
              <a:gd name="connsiteX9-1293" fmla="*/ 3111190 w 3434575"/>
              <a:gd name="connsiteY9-1294" fmla="*/ 100361 h 3055434"/>
              <a:gd name="connsiteX10-1295" fmla="*/ 3033131 w 3434575"/>
              <a:gd name="connsiteY10-1296" fmla="*/ 100361 h 3055434"/>
              <a:gd name="connsiteX11-1297" fmla="*/ 3033131 w 3434575"/>
              <a:gd name="connsiteY11-1298" fmla="*/ 100361 h 3055434"/>
              <a:gd name="connsiteX12-1299" fmla="*/ 2955073 w 3434575"/>
              <a:gd name="connsiteY12-1300" fmla="*/ 144966 h 3055434"/>
              <a:gd name="connsiteX13-1301" fmla="*/ 2877014 w 3434575"/>
              <a:gd name="connsiteY13-1302" fmla="*/ 178419 h 3055434"/>
              <a:gd name="connsiteX14-1303" fmla="*/ 2821258 w 3434575"/>
              <a:gd name="connsiteY14-1304" fmla="*/ 178419 h 3055434"/>
              <a:gd name="connsiteX15-1305" fmla="*/ 2821258 w 3434575"/>
              <a:gd name="connsiteY15-1306" fmla="*/ 178419 h 3055434"/>
              <a:gd name="connsiteX16-1307" fmla="*/ 2821258 w 3434575"/>
              <a:gd name="connsiteY16-1308" fmla="*/ 334536 h 3055434"/>
              <a:gd name="connsiteX17-1309" fmla="*/ 2687444 w 3434575"/>
              <a:gd name="connsiteY17-1310" fmla="*/ 312234 h 3055434"/>
              <a:gd name="connsiteX18-1311" fmla="*/ 2598234 w 3434575"/>
              <a:gd name="connsiteY18-1312" fmla="*/ 367990 h 3055434"/>
              <a:gd name="connsiteX19-1313" fmla="*/ 2486722 w 3434575"/>
              <a:gd name="connsiteY19-1314" fmla="*/ 401444 h 3055434"/>
              <a:gd name="connsiteX20-1315" fmla="*/ 2430966 w 3434575"/>
              <a:gd name="connsiteY20-1316" fmla="*/ 356839 h 3055434"/>
              <a:gd name="connsiteX21-1317" fmla="*/ 2397512 w 3434575"/>
              <a:gd name="connsiteY21-1318" fmla="*/ 390292 h 3055434"/>
              <a:gd name="connsiteX22-1319" fmla="*/ 1851102 w 3434575"/>
              <a:gd name="connsiteY22-1320" fmla="*/ 680224 h 3055434"/>
              <a:gd name="connsiteX23-1321" fmla="*/ 1382751 w 3434575"/>
              <a:gd name="connsiteY23-1322" fmla="*/ 802887 h 3055434"/>
              <a:gd name="connsiteX24-1323" fmla="*/ 1315844 w 3434575"/>
              <a:gd name="connsiteY24-1324" fmla="*/ 858644 h 3055434"/>
              <a:gd name="connsiteX25-1325" fmla="*/ 1182029 w 3434575"/>
              <a:gd name="connsiteY25-1326" fmla="*/ 1182029 h 3055434"/>
              <a:gd name="connsiteX26-1327" fmla="*/ 869795 w 3434575"/>
              <a:gd name="connsiteY26-1328" fmla="*/ 1349297 h 3055434"/>
              <a:gd name="connsiteX27-1329" fmla="*/ 847492 w 3434575"/>
              <a:gd name="connsiteY27-1330" fmla="*/ 1494263 h 3055434"/>
              <a:gd name="connsiteX28-1331" fmla="*/ 769434 w 3434575"/>
              <a:gd name="connsiteY28-1332" fmla="*/ 1605775 h 3055434"/>
              <a:gd name="connsiteX29-1333" fmla="*/ 747131 w 3434575"/>
              <a:gd name="connsiteY29-1334" fmla="*/ 1839951 h 3055434"/>
              <a:gd name="connsiteX30-1335" fmla="*/ 345687 w 3434575"/>
              <a:gd name="connsiteY30-1336" fmla="*/ 2152185 h 3055434"/>
              <a:gd name="connsiteX31-1337" fmla="*/ 457200 w 3434575"/>
              <a:gd name="connsiteY31-1338" fmla="*/ 2085278 h 3055434"/>
              <a:gd name="connsiteX32-1339" fmla="*/ 379141 w 3434575"/>
              <a:gd name="connsiteY32-1340" fmla="*/ 2230244 h 3055434"/>
              <a:gd name="connsiteX33-1341" fmla="*/ 301083 w 3434575"/>
              <a:gd name="connsiteY33-1342" fmla="*/ 2352907 h 3055434"/>
              <a:gd name="connsiteX34-1343" fmla="*/ 301083 w 3434575"/>
              <a:gd name="connsiteY34-1344" fmla="*/ 2352907 h 3055434"/>
              <a:gd name="connsiteX35-1345" fmla="*/ 245327 w 3434575"/>
              <a:gd name="connsiteY35-1346" fmla="*/ 2419814 h 3055434"/>
              <a:gd name="connsiteX36-1347" fmla="*/ 234175 w 3434575"/>
              <a:gd name="connsiteY36-1348" fmla="*/ 2509024 h 3055434"/>
              <a:gd name="connsiteX37-1349" fmla="*/ 234175 w 3434575"/>
              <a:gd name="connsiteY37-1350" fmla="*/ 2509024 h 3055434"/>
              <a:gd name="connsiteX38-1351" fmla="*/ 144966 w 3434575"/>
              <a:gd name="connsiteY38-1352" fmla="*/ 2598234 h 3055434"/>
              <a:gd name="connsiteX39-1353" fmla="*/ 66907 w 3434575"/>
              <a:gd name="connsiteY39-1354" fmla="*/ 2642839 h 3055434"/>
              <a:gd name="connsiteX40-1355" fmla="*/ 55756 w 3434575"/>
              <a:gd name="connsiteY40-1356" fmla="*/ 2732048 h 3055434"/>
              <a:gd name="connsiteX41-1357" fmla="*/ 44605 w 3434575"/>
              <a:gd name="connsiteY41-1358" fmla="*/ 2932770 h 3055434"/>
              <a:gd name="connsiteX0-1359" fmla="*/ 0 w 3267307"/>
              <a:gd name="connsiteY0-1360" fmla="*/ 2988527 h 2988527"/>
              <a:gd name="connsiteX1-1361" fmla="*/ 55756 w 3267307"/>
              <a:gd name="connsiteY1-1362" fmla="*/ 2810107 h 2988527"/>
              <a:gd name="connsiteX2-1363" fmla="*/ 1349297 w 3267307"/>
              <a:gd name="connsiteY2-1364" fmla="*/ 2810107 h 2988527"/>
              <a:gd name="connsiteX3-1365" fmla="*/ 1304692 w 3267307"/>
              <a:gd name="connsiteY3-1366" fmla="*/ 2341756 h 2988527"/>
              <a:gd name="connsiteX4-1367" fmla="*/ 1471961 w 3267307"/>
              <a:gd name="connsiteY4-1368" fmla="*/ 2207941 h 2988527"/>
              <a:gd name="connsiteX5-1369" fmla="*/ 1683834 w 3267307"/>
              <a:gd name="connsiteY5-1370" fmla="*/ 2152185 h 2988527"/>
              <a:gd name="connsiteX6-1371" fmla="*/ 3267307 w 3267307"/>
              <a:gd name="connsiteY6-1372" fmla="*/ 33454 h 2988527"/>
              <a:gd name="connsiteX7-1373" fmla="*/ 3155795 w 3267307"/>
              <a:gd name="connsiteY7-1374" fmla="*/ 0 h 2988527"/>
              <a:gd name="connsiteX8-1375" fmla="*/ 3111190 w 3267307"/>
              <a:gd name="connsiteY8-1376" fmla="*/ 33454 h 2988527"/>
              <a:gd name="connsiteX9-1377" fmla="*/ 3033131 w 3267307"/>
              <a:gd name="connsiteY9-1378" fmla="*/ 33454 h 2988527"/>
              <a:gd name="connsiteX10-1379" fmla="*/ 3033131 w 3267307"/>
              <a:gd name="connsiteY10-1380" fmla="*/ 33454 h 2988527"/>
              <a:gd name="connsiteX11-1381" fmla="*/ 2955073 w 3267307"/>
              <a:gd name="connsiteY11-1382" fmla="*/ 78059 h 2988527"/>
              <a:gd name="connsiteX12-1383" fmla="*/ 2877014 w 3267307"/>
              <a:gd name="connsiteY12-1384" fmla="*/ 111512 h 2988527"/>
              <a:gd name="connsiteX13-1385" fmla="*/ 2821258 w 3267307"/>
              <a:gd name="connsiteY13-1386" fmla="*/ 111512 h 2988527"/>
              <a:gd name="connsiteX14-1387" fmla="*/ 2821258 w 3267307"/>
              <a:gd name="connsiteY14-1388" fmla="*/ 111512 h 2988527"/>
              <a:gd name="connsiteX15-1389" fmla="*/ 2821258 w 3267307"/>
              <a:gd name="connsiteY15-1390" fmla="*/ 267629 h 2988527"/>
              <a:gd name="connsiteX16-1391" fmla="*/ 2687444 w 3267307"/>
              <a:gd name="connsiteY16-1392" fmla="*/ 245327 h 2988527"/>
              <a:gd name="connsiteX17-1393" fmla="*/ 2598234 w 3267307"/>
              <a:gd name="connsiteY17-1394" fmla="*/ 301083 h 2988527"/>
              <a:gd name="connsiteX18-1395" fmla="*/ 2486722 w 3267307"/>
              <a:gd name="connsiteY18-1396" fmla="*/ 334537 h 2988527"/>
              <a:gd name="connsiteX19-1397" fmla="*/ 2430966 w 3267307"/>
              <a:gd name="connsiteY19-1398" fmla="*/ 289932 h 2988527"/>
              <a:gd name="connsiteX20-1399" fmla="*/ 2397512 w 3267307"/>
              <a:gd name="connsiteY20-1400" fmla="*/ 323385 h 2988527"/>
              <a:gd name="connsiteX21-1401" fmla="*/ 1851102 w 3267307"/>
              <a:gd name="connsiteY21-1402" fmla="*/ 613317 h 2988527"/>
              <a:gd name="connsiteX22-1403" fmla="*/ 1382751 w 3267307"/>
              <a:gd name="connsiteY22-1404" fmla="*/ 735980 h 2988527"/>
              <a:gd name="connsiteX23-1405" fmla="*/ 1315844 w 3267307"/>
              <a:gd name="connsiteY23-1406" fmla="*/ 791737 h 2988527"/>
              <a:gd name="connsiteX24-1407" fmla="*/ 1182029 w 3267307"/>
              <a:gd name="connsiteY24-1408" fmla="*/ 1115122 h 2988527"/>
              <a:gd name="connsiteX25-1409" fmla="*/ 869795 w 3267307"/>
              <a:gd name="connsiteY25-1410" fmla="*/ 1282390 h 2988527"/>
              <a:gd name="connsiteX26-1411" fmla="*/ 847492 w 3267307"/>
              <a:gd name="connsiteY26-1412" fmla="*/ 1427356 h 2988527"/>
              <a:gd name="connsiteX27-1413" fmla="*/ 769434 w 3267307"/>
              <a:gd name="connsiteY27-1414" fmla="*/ 1538868 h 2988527"/>
              <a:gd name="connsiteX28-1415" fmla="*/ 747131 w 3267307"/>
              <a:gd name="connsiteY28-1416" fmla="*/ 1773044 h 2988527"/>
              <a:gd name="connsiteX29-1417" fmla="*/ 345687 w 3267307"/>
              <a:gd name="connsiteY29-1418" fmla="*/ 2085278 h 2988527"/>
              <a:gd name="connsiteX30-1419" fmla="*/ 457200 w 3267307"/>
              <a:gd name="connsiteY30-1420" fmla="*/ 2018371 h 2988527"/>
              <a:gd name="connsiteX31-1421" fmla="*/ 379141 w 3267307"/>
              <a:gd name="connsiteY31-1422" fmla="*/ 2163337 h 2988527"/>
              <a:gd name="connsiteX32-1423" fmla="*/ 301083 w 3267307"/>
              <a:gd name="connsiteY32-1424" fmla="*/ 2286000 h 2988527"/>
              <a:gd name="connsiteX33-1425" fmla="*/ 301083 w 3267307"/>
              <a:gd name="connsiteY33-1426" fmla="*/ 2286000 h 2988527"/>
              <a:gd name="connsiteX34-1427" fmla="*/ 245327 w 3267307"/>
              <a:gd name="connsiteY34-1428" fmla="*/ 2352907 h 2988527"/>
              <a:gd name="connsiteX35-1429" fmla="*/ 234175 w 3267307"/>
              <a:gd name="connsiteY35-1430" fmla="*/ 2442117 h 2988527"/>
              <a:gd name="connsiteX36-1431" fmla="*/ 234175 w 3267307"/>
              <a:gd name="connsiteY36-1432" fmla="*/ 2442117 h 2988527"/>
              <a:gd name="connsiteX37-1433" fmla="*/ 144966 w 3267307"/>
              <a:gd name="connsiteY37-1434" fmla="*/ 2531327 h 2988527"/>
              <a:gd name="connsiteX38-1435" fmla="*/ 66907 w 3267307"/>
              <a:gd name="connsiteY38-1436" fmla="*/ 2575932 h 2988527"/>
              <a:gd name="connsiteX39-1437" fmla="*/ 55756 w 3267307"/>
              <a:gd name="connsiteY39-1438" fmla="*/ 2665141 h 2988527"/>
              <a:gd name="connsiteX40-1439" fmla="*/ 44605 w 3267307"/>
              <a:gd name="connsiteY40-1440" fmla="*/ 2865863 h 2988527"/>
              <a:gd name="connsiteX0-1441" fmla="*/ 0 w 3155795"/>
              <a:gd name="connsiteY0-1442" fmla="*/ 2988527 h 2988527"/>
              <a:gd name="connsiteX1-1443" fmla="*/ 55756 w 3155795"/>
              <a:gd name="connsiteY1-1444" fmla="*/ 2810107 h 2988527"/>
              <a:gd name="connsiteX2-1445" fmla="*/ 1349297 w 3155795"/>
              <a:gd name="connsiteY2-1446" fmla="*/ 2810107 h 2988527"/>
              <a:gd name="connsiteX3-1447" fmla="*/ 1304692 w 3155795"/>
              <a:gd name="connsiteY3-1448" fmla="*/ 2341756 h 2988527"/>
              <a:gd name="connsiteX4-1449" fmla="*/ 1471961 w 3155795"/>
              <a:gd name="connsiteY4-1450" fmla="*/ 2207941 h 2988527"/>
              <a:gd name="connsiteX5-1451" fmla="*/ 1683834 w 3155795"/>
              <a:gd name="connsiteY5-1452" fmla="*/ 2152185 h 2988527"/>
              <a:gd name="connsiteX6-1453" fmla="*/ 3155795 w 3155795"/>
              <a:gd name="connsiteY6-1454" fmla="*/ 0 h 2988527"/>
              <a:gd name="connsiteX7-1455" fmla="*/ 3111190 w 3155795"/>
              <a:gd name="connsiteY7-1456" fmla="*/ 33454 h 2988527"/>
              <a:gd name="connsiteX8-1457" fmla="*/ 3033131 w 3155795"/>
              <a:gd name="connsiteY8-1458" fmla="*/ 33454 h 2988527"/>
              <a:gd name="connsiteX9-1459" fmla="*/ 3033131 w 3155795"/>
              <a:gd name="connsiteY9-1460" fmla="*/ 33454 h 2988527"/>
              <a:gd name="connsiteX10-1461" fmla="*/ 2955073 w 3155795"/>
              <a:gd name="connsiteY10-1462" fmla="*/ 78059 h 2988527"/>
              <a:gd name="connsiteX11-1463" fmla="*/ 2877014 w 3155795"/>
              <a:gd name="connsiteY11-1464" fmla="*/ 111512 h 2988527"/>
              <a:gd name="connsiteX12-1465" fmla="*/ 2821258 w 3155795"/>
              <a:gd name="connsiteY12-1466" fmla="*/ 111512 h 2988527"/>
              <a:gd name="connsiteX13-1467" fmla="*/ 2821258 w 3155795"/>
              <a:gd name="connsiteY13-1468" fmla="*/ 111512 h 2988527"/>
              <a:gd name="connsiteX14-1469" fmla="*/ 2821258 w 3155795"/>
              <a:gd name="connsiteY14-1470" fmla="*/ 267629 h 2988527"/>
              <a:gd name="connsiteX15-1471" fmla="*/ 2687444 w 3155795"/>
              <a:gd name="connsiteY15-1472" fmla="*/ 245327 h 2988527"/>
              <a:gd name="connsiteX16-1473" fmla="*/ 2598234 w 3155795"/>
              <a:gd name="connsiteY16-1474" fmla="*/ 301083 h 2988527"/>
              <a:gd name="connsiteX17-1475" fmla="*/ 2486722 w 3155795"/>
              <a:gd name="connsiteY17-1476" fmla="*/ 334537 h 2988527"/>
              <a:gd name="connsiteX18-1477" fmla="*/ 2430966 w 3155795"/>
              <a:gd name="connsiteY18-1478" fmla="*/ 289932 h 2988527"/>
              <a:gd name="connsiteX19-1479" fmla="*/ 2397512 w 3155795"/>
              <a:gd name="connsiteY19-1480" fmla="*/ 323385 h 2988527"/>
              <a:gd name="connsiteX20-1481" fmla="*/ 1851102 w 3155795"/>
              <a:gd name="connsiteY20-1482" fmla="*/ 613317 h 2988527"/>
              <a:gd name="connsiteX21-1483" fmla="*/ 1382751 w 3155795"/>
              <a:gd name="connsiteY21-1484" fmla="*/ 735980 h 2988527"/>
              <a:gd name="connsiteX22-1485" fmla="*/ 1315844 w 3155795"/>
              <a:gd name="connsiteY22-1486" fmla="*/ 791737 h 2988527"/>
              <a:gd name="connsiteX23-1487" fmla="*/ 1182029 w 3155795"/>
              <a:gd name="connsiteY23-1488" fmla="*/ 1115122 h 2988527"/>
              <a:gd name="connsiteX24-1489" fmla="*/ 869795 w 3155795"/>
              <a:gd name="connsiteY24-1490" fmla="*/ 1282390 h 2988527"/>
              <a:gd name="connsiteX25-1491" fmla="*/ 847492 w 3155795"/>
              <a:gd name="connsiteY25-1492" fmla="*/ 1427356 h 2988527"/>
              <a:gd name="connsiteX26-1493" fmla="*/ 769434 w 3155795"/>
              <a:gd name="connsiteY26-1494" fmla="*/ 1538868 h 2988527"/>
              <a:gd name="connsiteX27-1495" fmla="*/ 747131 w 3155795"/>
              <a:gd name="connsiteY27-1496" fmla="*/ 1773044 h 2988527"/>
              <a:gd name="connsiteX28-1497" fmla="*/ 345687 w 3155795"/>
              <a:gd name="connsiteY28-1498" fmla="*/ 2085278 h 2988527"/>
              <a:gd name="connsiteX29-1499" fmla="*/ 457200 w 3155795"/>
              <a:gd name="connsiteY29-1500" fmla="*/ 2018371 h 2988527"/>
              <a:gd name="connsiteX30-1501" fmla="*/ 379141 w 3155795"/>
              <a:gd name="connsiteY30-1502" fmla="*/ 2163337 h 2988527"/>
              <a:gd name="connsiteX31-1503" fmla="*/ 301083 w 3155795"/>
              <a:gd name="connsiteY31-1504" fmla="*/ 2286000 h 2988527"/>
              <a:gd name="connsiteX32-1505" fmla="*/ 301083 w 3155795"/>
              <a:gd name="connsiteY32-1506" fmla="*/ 2286000 h 2988527"/>
              <a:gd name="connsiteX33-1507" fmla="*/ 245327 w 3155795"/>
              <a:gd name="connsiteY33-1508" fmla="*/ 2352907 h 2988527"/>
              <a:gd name="connsiteX34-1509" fmla="*/ 234175 w 3155795"/>
              <a:gd name="connsiteY34-1510" fmla="*/ 2442117 h 2988527"/>
              <a:gd name="connsiteX35-1511" fmla="*/ 234175 w 3155795"/>
              <a:gd name="connsiteY35-1512" fmla="*/ 2442117 h 2988527"/>
              <a:gd name="connsiteX36-1513" fmla="*/ 144966 w 3155795"/>
              <a:gd name="connsiteY36-1514" fmla="*/ 2531327 h 2988527"/>
              <a:gd name="connsiteX37-1515" fmla="*/ 66907 w 3155795"/>
              <a:gd name="connsiteY37-1516" fmla="*/ 2575932 h 2988527"/>
              <a:gd name="connsiteX38-1517" fmla="*/ 55756 w 3155795"/>
              <a:gd name="connsiteY38-1518" fmla="*/ 2665141 h 2988527"/>
              <a:gd name="connsiteX39-1519" fmla="*/ 44605 w 3155795"/>
              <a:gd name="connsiteY39-1520" fmla="*/ 2865863 h 2988527"/>
              <a:gd name="connsiteX0-1521" fmla="*/ 0 w 3111190"/>
              <a:gd name="connsiteY0-1522" fmla="*/ 2955073 h 2955073"/>
              <a:gd name="connsiteX1-1523" fmla="*/ 55756 w 3111190"/>
              <a:gd name="connsiteY1-1524" fmla="*/ 2776653 h 2955073"/>
              <a:gd name="connsiteX2-1525" fmla="*/ 1349297 w 3111190"/>
              <a:gd name="connsiteY2-1526" fmla="*/ 2776653 h 2955073"/>
              <a:gd name="connsiteX3-1527" fmla="*/ 1304692 w 3111190"/>
              <a:gd name="connsiteY3-1528" fmla="*/ 2308302 h 2955073"/>
              <a:gd name="connsiteX4-1529" fmla="*/ 1471961 w 3111190"/>
              <a:gd name="connsiteY4-1530" fmla="*/ 2174487 h 2955073"/>
              <a:gd name="connsiteX5-1531" fmla="*/ 1683834 w 3111190"/>
              <a:gd name="connsiteY5-1532" fmla="*/ 2118731 h 2955073"/>
              <a:gd name="connsiteX6-1533" fmla="*/ 3111190 w 3111190"/>
              <a:gd name="connsiteY6-1534" fmla="*/ 0 h 2955073"/>
              <a:gd name="connsiteX7-1535" fmla="*/ 3033131 w 3111190"/>
              <a:gd name="connsiteY7-1536" fmla="*/ 0 h 2955073"/>
              <a:gd name="connsiteX8-1537" fmla="*/ 3033131 w 3111190"/>
              <a:gd name="connsiteY8-1538" fmla="*/ 0 h 2955073"/>
              <a:gd name="connsiteX9-1539" fmla="*/ 2955073 w 3111190"/>
              <a:gd name="connsiteY9-1540" fmla="*/ 44605 h 2955073"/>
              <a:gd name="connsiteX10-1541" fmla="*/ 2877014 w 3111190"/>
              <a:gd name="connsiteY10-1542" fmla="*/ 78058 h 2955073"/>
              <a:gd name="connsiteX11-1543" fmla="*/ 2821258 w 3111190"/>
              <a:gd name="connsiteY11-1544" fmla="*/ 78058 h 2955073"/>
              <a:gd name="connsiteX12-1545" fmla="*/ 2821258 w 3111190"/>
              <a:gd name="connsiteY12-1546" fmla="*/ 78058 h 2955073"/>
              <a:gd name="connsiteX13-1547" fmla="*/ 2821258 w 3111190"/>
              <a:gd name="connsiteY13-1548" fmla="*/ 234175 h 2955073"/>
              <a:gd name="connsiteX14-1549" fmla="*/ 2687444 w 3111190"/>
              <a:gd name="connsiteY14-1550" fmla="*/ 211873 h 2955073"/>
              <a:gd name="connsiteX15-1551" fmla="*/ 2598234 w 3111190"/>
              <a:gd name="connsiteY15-1552" fmla="*/ 267629 h 2955073"/>
              <a:gd name="connsiteX16-1553" fmla="*/ 2486722 w 3111190"/>
              <a:gd name="connsiteY16-1554" fmla="*/ 301083 h 2955073"/>
              <a:gd name="connsiteX17-1555" fmla="*/ 2430966 w 3111190"/>
              <a:gd name="connsiteY17-1556" fmla="*/ 256478 h 2955073"/>
              <a:gd name="connsiteX18-1557" fmla="*/ 2397512 w 3111190"/>
              <a:gd name="connsiteY18-1558" fmla="*/ 289931 h 2955073"/>
              <a:gd name="connsiteX19-1559" fmla="*/ 1851102 w 3111190"/>
              <a:gd name="connsiteY19-1560" fmla="*/ 579863 h 2955073"/>
              <a:gd name="connsiteX20-1561" fmla="*/ 1382751 w 3111190"/>
              <a:gd name="connsiteY20-1562" fmla="*/ 702526 h 2955073"/>
              <a:gd name="connsiteX21-1563" fmla="*/ 1315844 w 3111190"/>
              <a:gd name="connsiteY21-1564" fmla="*/ 758283 h 2955073"/>
              <a:gd name="connsiteX22-1565" fmla="*/ 1182029 w 3111190"/>
              <a:gd name="connsiteY22-1566" fmla="*/ 1081668 h 2955073"/>
              <a:gd name="connsiteX23-1567" fmla="*/ 869795 w 3111190"/>
              <a:gd name="connsiteY23-1568" fmla="*/ 1248936 h 2955073"/>
              <a:gd name="connsiteX24-1569" fmla="*/ 847492 w 3111190"/>
              <a:gd name="connsiteY24-1570" fmla="*/ 1393902 h 2955073"/>
              <a:gd name="connsiteX25-1571" fmla="*/ 769434 w 3111190"/>
              <a:gd name="connsiteY25-1572" fmla="*/ 1505414 h 2955073"/>
              <a:gd name="connsiteX26-1573" fmla="*/ 747131 w 3111190"/>
              <a:gd name="connsiteY26-1574" fmla="*/ 1739590 h 2955073"/>
              <a:gd name="connsiteX27-1575" fmla="*/ 345687 w 3111190"/>
              <a:gd name="connsiteY27-1576" fmla="*/ 2051824 h 2955073"/>
              <a:gd name="connsiteX28-1577" fmla="*/ 457200 w 3111190"/>
              <a:gd name="connsiteY28-1578" fmla="*/ 1984917 h 2955073"/>
              <a:gd name="connsiteX29-1579" fmla="*/ 379141 w 3111190"/>
              <a:gd name="connsiteY29-1580" fmla="*/ 2129883 h 2955073"/>
              <a:gd name="connsiteX30-1581" fmla="*/ 301083 w 3111190"/>
              <a:gd name="connsiteY30-1582" fmla="*/ 2252546 h 2955073"/>
              <a:gd name="connsiteX31-1583" fmla="*/ 301083 w 3111190"/>
              <a:gd name="connsiteY31-1584" fmla="*/ 2252546 h 2955073"/>
              <a:gd name="connsiteX32-1585" fmla="*/ 245327 w 3111190"/>
              <a:gd name="connsiteY32-1586" fmla="*/ 2319453 h 2955073"/>
              <a:gd name="connsiteX33-1587" fmla="*/ 234175 w 3111190"/>
              <a:gd name="connsiteY33-1588" fmla="*/ 2408663 h 2955073"/>
              <a:gd name="connsiteX34-1589" fmla="*/ 234175 w 3111190"/>
              <a:gd name="connsiteY34-1590" fmla="*/ 2408663 h 2955073"/>
              <a:gd name="connsiteX35-1591" fmla="*/ 144966 w 3111190"/>
              <a:gd name="connsiteY35-1592" fmla="*/ 2497873 h 2955073"/>
              <a:gd name="connsiteX36-1593" fmla="*/ 66907 w 3111190"/>
              <a:gd name="connsiteY36-1594" fmla="*/ 2542478 h 2955073"/>
              <a:gd name="connsiteX37-1595" fmla="*/ 55756 w 3111190"/>
              <a:gd name="connsiteY37-1596" fmla="*/ 2631687 h 2955073"/>
              <a:gd name="connsiteX38-1597" fmla="*/ 44605 w 3111190"/>
              <a:gd name="connsiteY38-1598" fmla="*/ 2832409 h 2955073"/>
              <a:gd name="connsiteX0-1599" fmla="*/ 0 w 3033131"/>
              <a:gd name="connsiteY0-1600" fmla="*/ 2955073 h 2955073"/>
              <a:gd name="connsiteX1-1601" fmla="*/ 55756 w 3033131"/>
              <a:gd name="connsiteY1-1602" fmla="*/ 2776653 h 2955073"/>
              <a:gd name="connsiteX2-1603" fmla="*/ 1349297 w 3033131"/>
              <a:gd name="connsiteY2-1604" fmla="*/ 2776653 h 2955073"/>
              <a:gd name="connsiteX3-1605" fmla="*/ 1304692 w 3033131"/>
              <a:gd name="connsiteY3-1606" fmla="*/ 2308302 h 2955073"/>
              <a:gd name="connsiteX4-1607" fmla="*/ 1471961 w 3033131"/>
              <a:gd name="connsiteY4-1608" fmla="*/ 2174487 h 2955073"/>
              <a:gd name="connsiteX5-1609" fmla="*/ 1683834 w 3033131"/>
              <a:gd name="connsiteY5-1610" fmla="*/ 2118731 h 2955073"/>
              <a:gd name="connsiteX6-1611" fmla="*/ 3033131 w 3033131"/>
              <a:gd name="connsiteY6-1612" fmla="*/ 0 h 2955073"/>
              <a:gd name="connsiteX7-1613" fmla="*/ 3033131 w 3033131"/>
              <a:gd name="connsiteY7-1614" fmla="*/ 0 h 2955073"/>
              <a:gd name="connsiteX8-1615" fmla="*/ 2955073 w 3033131"/>
              <a:gd name="connsiteY8-1616" fmla="*/ 44605 h 2955073"/>
              <a:gd name="connsiteX9-1617" fmla="*/ 2877014 w 3033131"/>
              <a:gd name="connsiteY9-1618" fmla="*/ 78058 h 2955073"/>
              <a:gd name="connsiteX10-1619" fmla="*/ 2821258 w 3033131"/>
              <a:gd name="connsiteY10-1620" fmla="*/ 78058 h 2955073"/>
              <a:gd name="connsiteX11-1621" fmla="*/ 2821258 w 3033131"/>
              <a:gd name="connsiteY11-1622" fmla="*/ 78058 h 2955073"/>
              <a:gd name="connsiteX12-1623" fmla="*/ 2821258 w 3033131"/>
              <a:gd name="connsiteY12-1624" fmla="*/ 234175 h 2955073"/>
              <a:gd name="connsiteX13-1625" fmla="*/ 2687444 w 3033131"/>
              <a:gd name="connsiteY13-1626" fmla="*/ 211873 h 2955073"/>
              <a:gd name="connsiteX14-1627" fmla="*/ 2598234 w 3033131"/>
              <a:gd name="connsiteY14-1628" fmla="*/ 267629 h 2955073"/>
              <a:gd name="connsiteX15-1629" fmla="*/ 2486722 w 3033131"/>
              <a:gd name="connsiteY15-1630" fmla="*/ 301083 h 2955073"/>
              <a:gd name="connsiteX16-1631" fmla="*/ 2430966 w 3033131"/>
              <a:gd name="connsiteY16-1632" fmla="*/ 256478 h 2955073"/>
              <a:gd name="connsiteX17-1633" fmla="*/ 2397512 w 3033131"/>
              <a:gd name="connsiteY17-1634" fmla="*/ 289931 h 2955073"/>
              <a:gd name="connsiteX18-1635" fmla="*/ 1851102 w 3033131"/>
              <a:gd name="connsiteY18-1636" fmla="*/ 579863 h 2955073"/>
              <a:gd name="connsiteX19-1637" fmla="*/ 1382751 w 3033131"/>
              <a:gd name="connsiteY19-1638" fmla="*/ 702526 h 2955073"/>
              <a:gd name="connsiteX20-1639" fmla="*/ 1315844 w 3033131"/>
              <a:gd name="connsiteY20-1640" fmla="*/ 758283 h 2955073"/>
              <a:gd name="connsiteX21-1641" fmla="*/ 1182029 w 3033131"/>
              <a:gd name="connsiteY21-1642" fmla="*/ 1081668 h 2955073"/>
              <a:gd name="connsiteX22-1643" fmla="*/ 869795 w 3033131"/>
              <a:gd name="connsiteY22-1644" fmla="*/ 1248936 h 2955073"/>
              <a:gd name="connsiteX23-1645" fmla="*/ 847492 w 3033131"/>
              <a:gd name="connsiteY23-1646" fmla="*/ 1393902 h 2955073"/>
              <a:gd name="connsiteX24-1647" fmla="*/ 769434 w 3033131"/>
              <a:gd name="connsiteY24-1648" fmla="*/ 1505414 h 2955073"/>
              <a:gd name="connsiteX25-1649" fmla="*/ 747131 w 3033131"/>
              <a:gd name="connsiteY25-1650" fmla="*/ 1739590 h 2955073"/>
              <a:gd name="connsiteX26-1651" fmla="*/ 345687 w 3033131"/>
              <a:gd name="connsiteY26-1652" fmla="*/ 2051824 h 2955073"/>
              <a:gd name="connsiteX27-1653" fmla="*/ 457200 w 3033131"/>
              <a:gd name="connsiteY27-1654" fmla="*/ 1984917 h 2955073"/>
              <a:gd name="connsiteX28-1655" fmla="*/ 379141 w 3033131"/>
              <a:gd name="connsiteY28-1656" fmla="*/ 2129883 h 2955073"/>
              <a:gd name="connsiteX29-1657" fmla="*/ 301083 w 3033131"/>
              <a:gd name="connsiteY29-1658" fmla="*/ 2252546 h 2955073"/>
              <a:gd name="connsiteX30-1659" fmla="*/ 301083 w 3033131"/>
              <a:gd name="connsiteY30-1660" fmla="*/ 2252546 h 2955073"/>
              <a:gd name="connsiteX31-1661" fmla="*/ 245327 w 3033131"/>
              <a:gd name="connsiteY31-1662" fmla="*/ 2319453 h 2955073"/>
              <a:gd name="connsiteX32-1663" fmla="*/ 234175 w 3033131"/>
              <a:gd name="connsiteY32-1664" fmla="*/ 2408663 h 2955073"/>
              <a:gd name="connsiteX33-1665" fmla="*/ 234175 w 3033131"/>
              <a:gd name="connsiteY33-1666" fmla="*/ 2408663 h 2955073"/>
              <a:gd name="connsiteX34-1667" fmla="*/ 144966 w 3033131"/>
              <a:gd name="connsiteY34-1668" fmla="*/ 2497873 h 2955073"/>
              <a:gd name="connsiteX35-1669" fmla="*/ 66907 w 3033131"/>
              <a:gd name="connsiteY35-1670" fmla="*/ 2542478 h 2955073"/>
              <a:gd name="connsiteX36-1671" fmla="*/ 55756 w 3033131"/>
              <a:gd name="connsiteY36-1672" fmla="*/ 2631687 h 2955073"/>
              <a:gd name="connsiteX37-1673" fmla="*/ 44605 w 3033131"/>
              <a:gd name="connsiteY37-1674" fmla="*/ 2832409 h 2955073"/>
              <a:gd name="connsiteX0-1675" fmla="*/ 0 w 3033131"/>
              <a:gd name="connsiteY0-1676" fmla="*/ 2955073 h 2955073"/>
              <a:gd name="connsiteX1-1677" fmla="*/ 55756 w 3033131"/>
              <a:gd name="connsiteY1-1678" fmla="*/ 2776653 h 2955073"/>
              <a:gd name="connsiteX2-1679" fmla="*/ 1349297 w 3033131"/>
              <a:gd name="connsiteY2-1680" fmla="*/ 2776653 h 2955073"/>
              <a:gd name="connsiteX3-1681" fmla="*/ 1304692 w 3033131"/>
              <a:gd name="connsiteY3-1682" fmla="*/ 2308302 h 2955073"/>
              <a:gd name="connsiteX4-1683" fmla="*/ 1471961 w 3033131"/>
              <a:gd name="connsiteY4-1684" fmla="*/ 2174487 h 2955073"/>
              <a:gd name="connsiteX5-1685" fmla="*/ 1683834 w 3033131"/>
              <a:gd name="connsiteY5-1686" fmla="*/ 2118731 h 2955073"/>
              <a:gd name="connsiteX6-1687" fmla="*/ 3033131 w 3033131"/>
              <a:gd name="connsiteY6-1688" fmla="*/ 0 h 2955073"/>
              <a:gd name="connsiteX7-1689" fmla="*/ 2955073 w 3033131"/>
              <a:gd name="connsiteY7-1690" fmla="*/ 44605 h 2955073"/>
              <a:gd name="connsiteX8-1691" fmla="*/ 2877014 w 3033131"/>
              <a:gd name="connsiteY8-1692" fmla="*/ 78058 h 2955073"/>
              <a:gd name="connsiteX9-1693" fmla="*/ 2821258 w 3033131"/>
              <a:gd name="connsiteY9-1694" fmla="*/ 78058 h 2955073"/>
              <a:gd name="connsiteX10-1695" fmla="*/ 2821258 w 3033131"/>
              <a:gd name="connsiteY10-1696" fmla="*/ 78058 h 2955073"/>
              <a:gd name="connsiteX11-1697" fmla="*/ 2821258 w 3033131"/>
              <a:gd name="connsiteY11-1698" fmla="*/ 234175 h 2955073"/>
              <a:gd name="connsiteX12-1699" fmla="*/ 2687444 w 3033131"/>
              <a:gd name="connsiteY12-1700" fmla="*/ 211873 h 2955073"/>
              <a:gd name="connsiteX13-1701" fmla="*/ 2598234 w 3033131"/>
              <a:gd name="connsiteY13-1702" fmla="*/ 267629 h 2955073"/>
              <a:gd name="connsiteX14-1703" fmla="*/ 2486722 w 3033131"/>
              <a:gd name="connsiteY14-1704" fmla="*/ 301083 h 2955073"/>
              <a:gd name="connsiteX15-1705" fmla="*/ 2430966 w 3033131"/>
              <a:gd name="connsiteY15-1706" fmla="*/ 256478 h 2955073"/>
              <a:gd name="connsiteX16-1707" fmla="*/ 2397512 w 3033131"/>
              <a:gd name="connsiteY16-1708" fmla="*/ 289931 h 2955073"/>
              <a:gd name="connsiteX17-1709" fmla="*/ 1851102 w 3033131"/>
              <a:gd name="connsiteY17-1710" fmla="*/ 579863 h 2955073"/>
              <a:gd name="connsiteX18-1711" fmla="*/ 1382751 w 3033131"/>
              <a:gd name="connsiteY18-1712" fmla="*/ 702526 h 2955073"/>
              <a:gd name="connsiteX19-1713" fmla="*/ 1315844 w 3033131"/>
              <a:gd name="connsiteY19-1714" fmla="*/ 758283 h 2955073"/>
              <a:gd name="connsiteX20-1715" fmla="*/ 1182029 w 3033131"/>
              <a:gd name="connsiteY20-1716" fmla="*/ 1081668 h 2955073"/>
              <a:gd name="connsiteX21-1717" fmla="*/ 869795 w 3033131"/>
              <a:gd name="connsiteY21-1718" fmla="*/ 1248936 h 2955073"/>
              <a:gd name="connsiteX22-1719" fmla="*/ 847492 w 3033131"/>
              <a:gd name="connsiteY22-1720" fmla="*/ 1393902 h 2955073"/>
              <a:gd name="connsiteX23-1721" fmla="*/ 769434 w 3033131"/>
              <a:gd name="connsiteY23-1722" fmla="*/ 1505414 h 2955073"/>
              <a:gd name="connsiteX24-1723" fmla="*/ 747131 w 3033131"/>
              <a:gd name="connsiteY24-1724" fmla="*/ 1739590 h 2955073"/>
              <a:gd name="connsiteX25-1725" fmla="*/ 345687 w 3033131"/>
              <a:gd name="connsiteY25-1726" fmla="*/ 2051824 h 2955073"/>
              <a:gd name="connsiteX26-1727" fmla="*/ 457200 w 3033131"/>
              <a:gd name="connsiteY26-1728" fmla="*/ 1984917 h 2955073"/>
              <a:gd name="connsiteX27-1729" fmla="*/ 379141 w 3033131"/>
              <a:gd name="connsiteY27-1730" fmla="*/ 2129883 h 2955073"/>
              <a:gd name="connsiteX28-1731" fmla="*/ 301083 w 3033131"/>
              <a:gd name="connsiteY28-1732" fmla="*/ 2252546 h 2955073"/>
              <a:gd name="connsiteX29-1733" fmla="*/ 301083 w 3033131"/>
              <a:gd name="connsiteY29-1734" fmla="*/ 2252546 h 2955073"/>
              <a:gd name="connsiteX30-1735" fmla="*/ 245327 w 3033131"/>
              <a:gd name="connsiteY30-1736" fmla="*/ 2319453 h 2955073"/>
              <a:gd name="connsiteX31-1737" fmla="*/ 234175 w 3033131"/>
              <a:gd name="connsiteY31-1738" fmla="*/ 2408663 h 2955073"/>
              <a:gd name="connsiteX32-1739" fmla="*/ 234175 w 3033131"/>
              <a:gd name="connsiteY32-1740" fmla="*/ 2408663 h 2955073"/>
              <a:gd name="connsiteX33-1741" fmla="*/ 144966 w 3033131"/>
              <a:gd name="connsiteY33-1742" fmla="*/ 2497873 h 2955073"/>
              <a:gd name="connsiteX34-1743" fmla="*/ 66907 w 3033131"/>
              <a:gd name="connsiteY34-1744" fmla="*/ 2542478 h 2955073"/>
              <a:gd name="connsiteX35-1745" fmla="*/ 55756 w 3033131"/>
              <a:gd name="connsiteY35-1746" fmla="*/ 2631687 h 2955073"/>
              <a:gd name="connsiteX36-1747" fmla="*/ 44605 w 3033131"/>
              <a:gd name="connsiteY36-1748" fmla="*/ 2832409 h 2955073"/>
              <a:gd name="connsiteX0-1749" fmla="*/ 0 w 2955073"/>
              <a:gd name="connsiteY0-1750" fmla="*/ 2910468 h 2910468"/>
              <a:gd name="connsiteX1-1751" fmla="*/ 55756 w 2955073"/>
              <a:gd name="connsiteY1-1752" fmla="*/ 2732048 h 2910468"/>
              <a:gd name="connsiteX2-1753" fmla="*/ 1349297 w 2955073"/>
              <a:gd name="connsiteY2-1754" fmla="*/ 2732048 h 2910468"/>
              <a:gd name="connsiteX3-1755" fmla="*/ 1304692 w 2955073"/>
              <a:gd name="connsiteY3-1756" fmla="*/ 2263697 h 2910468"/>
              <a:gd name="connsiteX4-1757" fmla="*/ 1471961 w 2955073"/>
              <a:gd name="connsiteY4-1758" fmla="*/ 2129882 h 2910468"/>
              <a:gd name="connsiteX5-1759" fmla="*/ 1683834 w 2955073"/>
              <a:gd name="connsiteY5-1760" fmla="*/ 2074126 h 2910468"/>
              <a:gd name="connsiteX6-1761" fmla="*/ 2955073 w 2955073"/>
              <a:gd name="connsiteY6-1762" fmla="*/ 0 h 2910468"/>
              <a:gd name="connsiteX7-1763" fmla="*/ 2877014 w 2955073"/>
              <a:gd name="connsiteY7-1764" fmla="*/ 33453 h 2910468"/>
              <a:gd name="connsiteX8-1765" fmla="*/ 2821258 w 2955073"/>
              <a:gd name="connsiteY8-1766" fmla="*/ 33453 h 2910468"/>
              <a:gd name="connsiteX9-1767" fmla="*/ 2821258 w 2955073"/>
              <a:gd name="connsiteY9-1768" fmla="*/ 33453 h 2910468"/>
              <a:gd name="connsiteX10-1769" fmla="*/ 2821258 w 2955073"/>
              <a:gd name="connsiteY10-1770" fmla="*/ 189570 h 2910468"/>
              <a:gd name="connsiteX11-1771" fmla="*/ 2687444 w 2955073"/>
              <a:gd name="connsiteY11-1772" fmla="*/ 167268 h 2910468"/>
              <a:gd name="connsiteX12-1773" fmla="*/ 2598234 w 2955073"/>
              <a:gd name="connsiteY12-1774" fmla="*/ 223024 h 2910468"/>
              <a:gd name="connsiteX13-1775" fmla="*/ 2486722 w 2955073"/>
              <a:gd name="connsiteY13-1776" fmla="*/ 256478 h 2910468"/>
              <a:gd name="connsiteX14-1777" fmla="*/ 2430966 w 2955073"/>
              <a:gd name="connsiteY14-1778" fmla="*/ 211873 h 2910468"/>
              <a:gd name="connsiteX15-1779" fmla="*/ 2397512 w 2955073"/>
              <a:gd name="connsiteY15-1780" fmla="*/ 245326 h 2910468"/>
              <a:gd name="connsiteX16-1781" fmla="*/ 1851102 w 2955073"/>
              <a:gd name="connsiteY16-1782" fmla="*/ 535258 h 2910468"/>
              <a:gd name="connsiteX17-1783" fmla="*/ 1382751 w 2955073"/>
              <a:gd name="connsiteY17-1784" fmla="*/ 657921 h 2910468"/>
              <a:gd name="connsiteX18-1785" fmla="*/ 1315844 w 2955073"/>
              <a:gd name="connsiteY18-1786" fmla="*/ 713678 h 2910468"/>
              <a:gd name="connsiteX19-1787" fmla="*/ 1182029 w 2955073"/>
              <a:gd name="connsiteY19-1788" fmla="*/ 1037063 h 2910468"/>
              <a:gd name="connsiteX20-1789" fmla="*/ 869795 w 2955073"/>
              <a:gd name="connsiteY20-1790" fmla="*/ 1204331 h 2910468"/>
              <a:gd name="connsiteX21-1791" fmla="*/ 847492 w 2955073"/>
              <a:gd name="connsiteY21-1792" fmla="*/ 1349297 h 2910468"/>
              <a:gd name="connsiteX22-1793" fmla="*/ 769434 w 2955073"/>
              <a:gd name="connsiteY22-1794" fmla="*/ 1460809 h 2910468"/>
              <a:gd name="connsiteX23-1795" fmla="*/ 747131 w 2955073"/>
              <a:gd name="connsiteY23-1796" fmla="*/ 1694985 h 2910468"/>
              <a:gd name="connsiteX24-1797" fmla="*/ 345687 w 2955073"/>
              <a:gd name="connsiteY24-1798" fmla="*/ 2007219 h 2910468"/>
              <a:gd name="connsiteX25-1799" fmla="*/ 457200 w 2955073"/>
              <a:gd name="connsiteY25-1800" fmla="*/ 1940312 h 2910468"/>
              <a:gd name="connsiteX26-1801" fmla="*/ 379141 w 2955073"/>
              <a:gd name="connsiteY26-1802" fmla="*/ 2085278 h 2910468"/>
              <a:gd name="connsiteX27-1803" fmla="*/ 301083 w 2955073"/>
              <a:gd name="connsiteY27-1804" fmla="*/ 2207941 h 2910468"/>
              <a:gd name="connsiteX28-1805" fmla="*/ 301083 w 2955073"/>
              <a:gd name="connsiteY28-1806" fmla="*/ 2207941 h 2910468"/>
              <a:gd name="connsiteX29-1807" fmla="*/ 245327 w 2955073"/>
              <a:gd name="connsiteY29-1808" fmla="*/ 2274848 h 2910468"/>
              <a:gd name="connsiteX30-1809" fmla="*/ 234175 w 2955073"/>
              <a:gd name="connsiteY30-1810" fmla="*/ 2364058 h 2910468"/>
              <a:gd name="connsiteX31-1811" fmla="*/ 234175 w 2955073"/>
              <a:gd name="connsiteY31-1812" fmla="*/ 2364058 h 2910468"/>
              <a:gd name="connsiteX32-1813" fmla="*/ 144966 w 2955073"/>
              <a:gd name="connsiteY32-1814" fmla="*/ 2453268 h 2910468"/>
              <a:gd name="connsiteX33-1815" fmla="*/ 66907 w 2955073"/>
              <a:gd name="connsiteY33-1816" fmla="*/ 2497873 h 2910468"/>
              <a:gd name="connsiteX34-1817" fmla="*/ 55756 w 2955073"/>
              <a:gd name="connsiteY34-1818" fmla="*/ 2587082 h 2910468"/>
              <a:gd name="connsiteX35-1819" fmla="*/ 44605 w 2955073"/>
              <a:gd name="connsiteY35-1820" fmla="*/ 2787804 h 2910468"/>
              <a:gd name="connsiteX0-1821" fmla="*/ 0 w 2877014"/>
              <a:gd name="connsiteY0-1822" fmla="*/ 2877015 h 2877015"/>
              <a:gd name="connsiteX1-1823" fmla="*/ 55756 w 2877014"/>
              <a:gd name="connsiteY1-1824" fmla="*/ 2698595 h 2877015"/>
              <a:gd name="connsiteX2-1825" fmla="*/ 1349297 w 2877014"/>
              <a:gd name="connsiteY2-1826" fmla="*/ 2698595 h 2877015"/>
              <a:gd name="connsiteX3-1827" fmla="*/ 1304692 w 2877014"/>
              <a:gd name="connsiteY3-1828" fmla="*/ 2230244 h 2877015"/>
              <a:gd name="connsiteX4-1829" fmla="*/ 1471961 w 2877014"/>
              <a:gd name="connsiteY4-1830" fmla="*/ 2096429 h 2877015"/>
              <a:gd name="connsiteX5-1831" fmla="*/ 1683834 w 2877014"/>
              <a:gd name="connsiteY5-1832" fmla="*/ 2040673 h 2877015"/>
              <a:gd name="connsiteX6-1833" fmla="*/ 2877014 w 2877014"/>
              <a:gd name="connsiteY6-1834" fmla="*/ 0 h 2877015"/>
              <a:gd name="connsiteX7-1835" fmla="*/ 2821258 w 2877014"/>
              <a:gd name="connsiteY7-1836" fmla="*/ 0 h 2877015"/>
              <a:gd name="connsiteX8-1837" fmla="*/ 2821258 w 2877014"/>
              <a:gd name="connsiteY8-1838" fmla="*/ 0 h 2877015"/>
              <a:gd name="connsiteX9-1839" fmla="*/ 2821258 w 2877014"/>
              <a:gd name="connsiteY9-1840" fmla="*/ 156117 h 2877015"/>
              <a:gd name="connsiteX10-1841" fmla="*/ 2687444 w 2877014"/>
              <a:gd name="connsiteY10-1842" fmla="*/ 133815 h 2877015"/>
              <a:gd name="connsiteX11-1843" fmla="*/ 2598234 w 2877014"/>
              <a:gd name="connsiteY11-1844" fmla="*/ 189571 h 2877015"/>
              <a:gd name="connsiteX12-1845" fmla="*/ 2486722 w 2877014"/>
              <a:gd name="connsiteY12-1846" fmla="*/ 223025 h 2877015"/>
              <a:gd name="connsiteX13-1847" fmla="*/ 2430966 w 2877014"/>
              <a:gd name="connsiteY13-1848" fmla="*/ 178420 h 2877015"/>
              <a:gd name="connsiteX14-1849" fmla="*/ 2397512 w 2877014"/>
              <a:gd name="connsiteY14-1850" fmla="*/ 211873 h 2877015"/>
              <a:gd name="connsiteX15-1851" fmla="*/ 1851102 w 2877014"/>
              <a:gd name="connsiteY15-1852" fmla="*/ 501805 h 2877015"/>
              <a:gd name="connsiteX16-1853" fmla="*/ 1382751 w 2877014"/>
              <a:gd name="connsiteY16-1854" fmla="*/ 624468 h 2877015"/>
              <a:gd name="connsiteX17-1855" fmla="*/ 1315844 w 2877014"/>
              <a:gd name="connsiteY17-1856" fmla="*/ 680225 h 2877015"/>
              <a:gd name="connsiteX18-1857" fmla="*/ 1182029 w 2877014"/>
              <a:gd name="connsiteY18-1858" fmla="*/ 1003610 h 2877015"/>
              <a:gd name="connsiteX19-1859" fmla="*/ 869795 w 2877014"/>
              <a:gd name="connsiteY19-1860" fmla="*/ 1170878 h 2877015"/>
              <a:gd name="connsiteX20-1861" fmla="*/ 847492 w 2877014"/>
              <a:gd name="connsiteY20-1862" fmla="*/ 1315844 h 2877015"/>
              <a:gd name="connsiteX21-1863" fmla="*/ 769434 w 2877014"/>
              <a:gd name="connsiteY21-1864" fmla="*/ 1427356 h 2877015"/>
              <a:gd name="connsiteX22-1865" fmla="*/ 747131 w 2877014"/>
              <a:gd name="connsiteY22-1866" fmla="*/ 1661532 h 2877015"/>
              <a:gd name="connsiteX23-1867" fmla="*/ 345687 w 2877014"/>
              <a:gd name="connsiteY23-1868" fmla="*/ 1973766 h 2877015"/>
              <a:gd name="connsiteX24-1869" fmla="*/ 457200 w 2877014"/>
              <a:gd name="connsiteY24-1870" fmla="*/ 1906859 h 2877015"/>
              <a:gd name="connsiteX25-1871" fmla="*/ 379141 w 2877014"/>
              <a:gd name="connsiteY25-1872" fmla="*/ 2051825 h 2877015"/>
              <a:gd name="connsiteX26-1873" fmla="*/ 301083 w 2877014"/>
              <a:gd name="connsiteY26-1874" fmla="*/ 2174488 h 2877015"/>
              <a:gd name="connsiteX27-1875" fmla="*/ 301083 w 2877014"/>
              <a:gd name="connsiteY27-1876" fmla="*/ 2174488 h 2877015"/>
              <a:gd name="connsiteX28-1877" fmla="*/ 245327 w 2877014"/>
              <a:gd name="connsiteY28-1878" fmla="*/ 2241395 h 2877015"/>
              <a:gd name="connsiteX29-1879" fmla="*/ 234175 w 2877014"/>
              <a:gd name="connsiteY29-1880" fmla="*/ 2330605 h 2877015"/>
              <a:gd name="connsiteX30-1881" fmla="*/ 234175 w 2877014"/>
              <a:gd name="connsiteY30-1882" fmla="*/ 2330605 h 2877015"/>
              <a:gd name="connsiteX31-1883" fmla="*/ 144966 w 2877014"/>
              <a:gd name="connsiteY31-1884" fmla="*/ 2419815 h 2877015"/>
              <a:gd name="connsiteX32-1885" fmla="*/ 66907 w 2877014"/>
              <a:gd name="connsiteY32-1886" fmla="*/ 2464420 h 2877015"/>
              <a:gd name="connsiteX33-1887" fmla="*/ 55756 w 2877014"/>
              <a:gd name="connsiteY33-1888" fmla="*/ 2553629 h 2877015"/>
              <a:gd name="connsiteX34-1889" fmla="*/ 44605 w 2877014"/>
              <a:gd name="connsiteY34-1890" fmla="*/ 2754351 h 2877015"/>
              <a:gd name="connsiteX0-1891" fmla="*/ 0 w 2821258"/>
              <a:gd name="connsiteY0-1892" fmla="*/ 2877015 h 2877015"/>
              <a:gd name="connsiteX1-1893" fmla="*/ 55756 w 2821258"/>
              <a:gd name="connsiteY1-1894" fmla="*/ 2698595 h 2877015"/>
              <a:gd name="connsiteX2-1895" fmla="*/ 1349297 w 2821258"/>
              <a:gd name="connsiteY2-1896" fmla="*/ 2698595 h 2877015"/>
              <a:gd name="connsiteX3-1897" fmla="*/ 1304692 w 2821258"/>
              <a:gd name="connsiteY3-1898" fmla="*/ 2230244 h 2877015"/>
              <a:gd name="connsiteX4-1899" fmla="*/ 1471961 w 2821258"/>
              <a:gd name="connsiteY4-1900" fmla="*/ 2096429 h 2877015"/>
              <a:gd name="connsiteX5-1901" fmla="*/ 1683834 w 2821258"/>
              <a:gd name="connsiteY5-1902" fmla="*/ 2040673 h 2877015"/>
              <a:gd name="connsiteX6-1903" fmla="*/ 2821258 w 2821258"/>
              <a:gd name="connsiteY6-1904" fmla="*/ 0 h 2877015"/>
              <a:gd name="connsiteX7-1905" fmla="*/ 2821258 w 2821258"/>
              <a:gd name="connsiteY7-1906" fmla="*/ 0 h 2877015"/>
              <a:gd name="connsiteX8-1907" fmla="*/ 2821258 w 2821258"/>
              <a:gd name="connsiteY8-1908" fmla="*/ 156117 h 2877015"/>
              <a:gd name="connsiteX9-1909" fmla="*/ 2687444 w 2821258"/>
              <a:gd name="connsiteY9-1910" fmla="*/ 133815 h 2877015"/>
              <a:gd name="connsiteX10-1911" fmla="*/ 2598234 w 2821258"/>
              <a:gd name="connsiteY10-1912" fmla="*/ 189571 h 2877015"/>
              <a:gd name="connsiteX11-1913" fmla="*/ 2486722 w 2821258"/>
              <a:gd name="connsiteY11-1914" fmla="*/ 223025 h 2877015"/>
              <a:gd name="connsiteX12-1915" fmla="*/ 2430966 w 2821258"/>
              <a:gd name="connsiteY12-1916" fmla="*/ 178420 h 2877015"/>
              <a:gd name="connsiteX13-1917" fmla="*/ 2397512 w 2821258"/>
              <a:gd name="connsiteY13-1918" fmla="*/ 211873 h 2877015"/>
              <a:gd name="connsiteX14-1919" fmla="*/ 1851102 w 2821258"/>
              <a:gd name="connsiteY14-1920" fmla="*/ 501805 h 2877015"/>
              <a:gd name="connsiteX15-1921" fmla="*/ 1382751 w 2821258"/>
              <a:gd name="connsiteY15-1922" fmla="*/ 624468 h 2877015"/>
              <a:gd name="connsiteX16-1923" fmla="*/ 1315844 w 2821258"/>
              <a:gd name="connsiteY16-1924" fmla="*/ 680225 h 2877015"/>
              <a:gd name="connsiteX17-1925" fmla="*/ 1182029 w 2821258"/>
              <a:gd name="connsiteY17-1926" fmla="*/ 1003610 h 2877015"/>
              <a:gd name="connsiteX18-1927" fmla="*/ 869795 w 2821258"/>
              <a:gd name="connsiteY18-1928" fmla="*/ 1170878 h 2877015"/>
              <a:gd name="connsiteX19-1929" fmla="*/ 847492 w 2821258"/>
              <a:gd name="connsiteY19-1930" fmla="*/ 1315844 h 2877015"/>
              <a:gd name="connsiteX20-1931" fmla="*/ 769434 w 2821258"/>
              <a:gd name="connsiteY20-1932" fmla="*/ 1427356 h 2877015"/>
              <a:gd name="connsiteX21-1933" fmla="*/ 747131 w 2821258"/>
              <a:gd name="connsiteY21-1934" fmla="*/ 1661532 h 2877015"/>
              <a:gd name="connsiteX22-1935" fmla="*/ 345687 w 2821258"/>
              <a:gd name="connsiteY22-1936" fmla="*/ 1973766 h 2877015"/>
              <a:gd name="connsiteX23-1937" fmla="*/ 457200 w 2821258"/>
              <a:gd name="connsiteY23-1938" fmla="*/ 1906859 h 2877015"/>
              <a:gd name="connsiteX24-1939" fmla="*/ 379141 w 2821258"/>
              <a:gd name="connsiteY24-1940" fmla="*/ 2051825 h 2877015"/>
              <a:gd name="connsiteX25-1941" fmla="*/ 301083 w 2821258"/>
              <a:gd name="connsiteY25-1942" fmla="*/ 2174488 h 2877015"/>
              <a:gd name="connsiteX26-1943" fmla="*/ 301083 w 2821258"/>
              <a:gd name="connsiteY26-1944" fmla="*/ 2174488 h 2877015"/>
              <a:gd name="connsiteX27-1945" fmla="*/ 245327 w 2821258"/>
              <a:gd name="connsiteY27-1946" fmla="*/ 2241395 h 2877015"/>
              <a:gd name="connsiteX28-1947" fmla="*/ 234175 w 2821258"/>
              <a:gd name="connsiteY28-1948" fmla="*/ 2330605 h 2877015"/>
              <a:gd name="connsiteX29-1949" fmla="*/ 234175 w 2821258"/>
              <a:gd name="connsiteY29-1950" fmla="*/ 2330605 h 2877015"/>
              <a:gd name="connsiteX30-1951" fmla="*/ 144966 w 2821258"/>
              <a:gd name="connsiteY30-1952" fmla="*/ 2419815 h 2877015"/>
              <a:gd name="connsiteX31-1953" fmla="*/ 66907 w 2821258"/>
              <a:gd name="connsiteY31-1954" fmla="*/ 2464420 h 2877015"/>
              <a:gd name="connsiteX32-1955" fmla="*/ 55756 w 2821258"/>
              <a:gd name="connsiteY32-1956" fmla="*/ 2553629 h 2877015"/>
              <a:gd name="connsiteX33-1957" fmla="*/ 44605 w 2821258"/>
              <a:gd name="connsiteY33-1958" fmla="*/ 2754351 h 2877015"/>
              <a:gd name="connsiteX0-1959" fmla="*/ 0 w 2821258"/>
              <a:gd name="connsiteY0-1960" fmla="*/ 2877015 h 2877015"/>
              <a:gd name="connsiteX1-1961" fmla="*/ 55756 w 2821258"/>
              <a:gd name="connsiteY1-1962" fmla="*/ 2698595 h 2877015"/>
              <a:gd name="connsiteX2-1963" fmla="*/ 1349297 w 2821258"/>
              <a:gd name="connsiteY2-1964" fmla="*/ 2698595 h 2877015"/>
              <a:gd name="connsiteX3-1965" fmla="*/ 1304692 w 2821258"/>
              <a:gd name="connsiteY3-1966" fmla="*/ 2230244 h 2877015"/>
              <a:gd name="connsiteX4-1967" fmla="*/ 1471961 w 2821258"/>
              <a:gd name="connsiteY4-1968" fmla="*/ 2096429 h 2877015"/>
              <a:gd name="connsiteX5-1969" fmla="*/ 1683834 w 2821258"/>
              <a:gd name="connsiteY5-1970" fmla="*/ 2040673 h 2877015"/>
              <a:gd name="connsiteX6-1971" fmla="*/ 2821258 w 2821258"/>
              <a:gd name="connsiteY6-1972" fmla="*/ 0 h 2877015"/>
              <a:gd name="connsiteX7-1973" fmla="*/ 2821258 w 2821258"/>
              <a:gd name="connsiteY7-1974" fmla="*/ 156117 h 2877015"/>
              <a:gd name="connsiteX8-1975" fmla="*/ 2687444 w 2821258"/>
              <a:gd name="connsiteY8-1976" fmla="*/ 133815 h 2877015"/>
              <a:gd name="connsiteX9-1977" fmla="*/ 2598234 w 2821258"/>
              <a:gd name="connsiteY9-1978" fmla="*/ 189571 h 2877015"/>
              <a:gd name="connsiteX10-1979" fmla="*/ 2486722 w 2821258"/>
              <a:gd name="connsiteY10-1980" fmla="*/ 223025 h 2877015"/>
              <a:gd name="connsiteX11-1981" fmla="*/ 2430966 w 2821258"/>
              <a:gd name="connsiteY11-1982" fmla="*/ 178420 h 2877015"/>
              <a:gd name="connsiteX12-1983" fmla="*/ 2397512 w 2821258"/>
              <a:gd name="connsiteY12-1984" fmla="*/ 211873 h 2877015"/>
              <a:gd name="connsiteX13-1985" fmla="*/ 1851102 w 2821258"/>
              <a:gd name="connsiteY13-1986" fmla="*/ 501805 h 2877015"/>
              <a:gd name="connsiteX14-1987" fmla="*/ 1382751 w 2821258"/>
              <a:gd name="connsiteY14-1988" fmla="*/ 624468 h 2877015"/>
              <a:gd name="connsiteX15-1989" fmla="*/ 1315844 w 2821258"/>
              <a:gd name="connsiteY15-1990" fmla="*/ 680225 h 2877015"/>
              <a:gd name="connsiteX16-1991" fmla="*/ 1182029 w 2821258"/>
              <a:gd name="connsiteY16-1992" fmla="*/ 1003610 h 2877015"/>
              <a:gd name="connsiteX17-1993" fmla="*/ 869795 w 2821258"/>
              <a:gd name="connsiteY17-1994" fmla="*/ 1170878 h 2877015"/>
              <a:gd name="connsiteX18-1995" fmla="*/ 847492 w 2821258"/>
              <a:gd name="connsiteY18-1996" fmla="*/ 1315844 h 2877015"/>
              <a:gd name="connsiteX19-1997" fmla="*/ 769434 w 2821258"/>
              <a:gd name="connsiteY19-1998" fmla="*/ 1427356 h 2877015"/>
              <a:gd name="connsiteX20-1999" fmla="*/ 747131 w 2821258"/>
              <a:gd name="connsiteY20-2000" fmla="*/ 1661532 h 2877015"/>
              <a:gd name="connsiteX21-2001" fmla="*/ 345687 w 2821258"/>
              <a:gd name="connsiteY21-2002" fmla="*/ 1973766 h 2877015"/>
              <a:gd name="connsiteX22-2003" fmla="*/ 457200 w 2821258"/>
              <a:gd name="connsiteY22-2004" fmla="*/ 1906859 h 2877015"/>
              <a:gd name="connsiteX23-2005" fmla="*/ 379141 w 2821258"/>
              <a:gd name="connsiteY23-2006" fmla="*/ 2051825 h 2877015"/>
              <a:gd name="connsiteX24-2007" fmla="*/ 301083 w 2821258"/>
              <a:gd name="connsiteY24-2008" fmla="*/ 2174488 h 2877015"/>
              <a:gd name="connsiteX25-2009" fmla="*/ 301083 w 2821258"/>
              <a:gd name="connsiteY25-2010" fmla="*/ 2174488 h 2877015"/>
              <a:gd name="connsiteX26-2011" fmla="*/ 245327 w 2821258"/>
              <a:gd name="connsiteY26-2012" fmla="*/ 2241395 h 2877015"/>
              <a:gd name="connsiteX27-2013" fmla="*/ 234175 w 2821258"/>
              <a:gd name="connsiteY27-2014" fmla="*/ 2330605 h 2877015"/>
              <a:gd name="connsiteX28-2015" fmla="*/ 234175 w 2821258"/>
              <a:gd name="connsiteY28-2016" fmla="*/ 2330605 h 2877015"/>
              <a:gd name="connsiteX29-2017" fmla="*/ 144966 w 2821258"/>
              <a:gd name="connsiteY29-2018" fmla="*/ 2419815 h 2877015"/>
              <a:gd name="connsiteX30-2019" fmla="*/ 66907 w 2821258"/>
              <a:gd name="connsiteY30-2020" fmla="*/ 2464420 h 2877015"/>
              <a:gd name="connsiteX31-2021" fmla="*/ 55756 w 2821258"/>
              <a:gd name="connsiteY31-2022" fmla="*/ 2553629 h 2877015"/>
              <a:gd name="connsiteX32-2023" fmla="*/ 44605 w 2821258"/>
              <a:gd name="connsiteY32-2024" fmla="*/ 2754351 h 2877015"/>
              <a:gd name="connsiteX0-2025" fmla="*/ 0 w 2821258"/>
              <a:gd name="connsiteY0-2026" fmla="*/ 2877015 h 2877015"/>
              <a:gd name="connsiteX1-2027" fmla="*/ 55756 w 2821258"/>
              <a:gd name="connsiteY1-2028" fmla="*/ 2698595 h 2877015"/>
              <a:gd name="connsiteX2-2029" fmla="*/ 1349297 w 2821258"/>
              <a:gd name="connsiteY2-2030" fmla="*/ 2698595 h 2877015"/>
              <a:gd name="connsiteX3-2031" fmla="*/ 1304692 w 2821258"/>
              <a:gd name="connsiteY3-2032" fmla="*/ 2230244 h 2877015"/>
              <a:gd name="connsiteX4-2033" fmla="*/ 1471961 w 2821258"/>
              <a:gd name="connsiteY4-2034" fmla="*/ 2096429 h 2877015"/>
              <a:gd name="connsiteX5-2035" fmla="*/ 1683834 w 2821258"/>
              <a:gd name="connsiteY5-2036" fmla="*/ 2040673 h 2877015"/>
              <a:gd name="connsiteX6-2037" fmla="*/ 2821258 w 2821258"/>
              <a:gd name="connsiteY6-2038" fmla="*/ 0 h 2877015"/>
              <a:gd name="connsiteX7-2039" fmla="*/ 2687444 w 2821258"/>
              <a:gd name="connsiteY7-2040" fmla="*/ 133815 h 2877015"/>
              <a:gd name="connsiteX8-2041" fmla="*/ 2598234 w 2821258"/>
              <a:gd name="connsiteY8-2042" fmla="*/ 189571 h 2877015"/>
              <a:gd name="connsiteX9-2043" fmla="*/ 2486722 w 2821258"/>
              <a:gd name="connsiteY9-2044" fmla="*/ 223025 h 2877015"/>
              <a:gd name="connsiteX10-2045" fmla="*/ 2430966 w 2821258"/>
              <a:gd name="connsiteY10-2046" fmla="*/ 178420 h 2877015"/>
              <a:gd name="connsiteX11-2047" fmla="*/ 2397512 w 2821258"/>
              <a:gd name="connsiteY11-2048" fmla="*/ 211873 h 2877015"/>
              <a:gd name="connsiteX12-2049" fmla="*/ 1851102 w 2821258"/>
              <a:gd name="connsiteY12-2050" fmla="*/ 501805 h 2877015"/>
              <a:gd name="connsiteX13-2051" fmla="*/ 1382751 w 2821258"/>
              <a:gd name="connsiteY13-2052" fmla="*/ 624468 h 2877015"/>
              <a:gd name="connsiteX14-2053" fmla="*/ 1315844 w 2821258"/>
              <a:gd name="connsiteY14-2054" fmla="*/ 680225 h 2877015"/>
              <a:gd name="connsiteX15-2055" fmla="*/ 1182029 w 2821258"/>
              <a:gd name="connsiteY15-2056" fmla="*/ 1003610 h 2877015"/>
              <a:gd name="connsiteX16-2057" fmla="*/ 869795 w 2821258"/>
              <a:gd name="connsiteY16-2058" fmla="*/ 1170878 h 2877015"/>
              <a:gd name="connsiteX17-2059" fmla="*/ 847492 w 2821258"/>
              <a:gd name="connsiteY17-2060" fmla="*/ 1315844 h 2877015"/>
              <a:gd name="connsiteX18-2061" fmla="*/ 769434 w 2821258"/>
              <a:gd name="connsiteY18-2062" fmla="*/ 1427356 h 2877015"/>
              <a:gd name="connsiteX19-2063" fmla="*/ 747131 w 2821258"/>
              <a:gd name="connsiteY19-2064" fmla="*/ 1661532 h 2877015"/>
              <a:gd name="connsiteX20-2065" fmla="*/ 345687 w 2821258"/>
              <a:gd name="connsiteY20-2066" fmla="*/ 1973766 h 2877015"/>
              <a:gd name="connsiteX21-2067" fmla="*/ 457200 w 2821258"/>
              <a:gd name="connsiteY21-2068" fmla="*/ 1906859 h 2877015"/>
              <a:gd name="connsiteX22-2069" fmla="*/ 379141 w 2821258"/>
              <a:gd name="connsiteY22-2070" fmla="*/ 2051825 h 2877015"/>
              <a:gd name="connsiteX23-2071" fmla="*/ 301083 w 2821258"/>
              <a:gd name="connsiteY23-2072" fmla="*/ 2174488 h 2877015"/>
              <a:gd name="connsiteX24-2073" fmla="*/ 301083 w 2821258"/>
              <a:gd name="connsiteY24-2074" fmla="*/ 2174488 h 2877015"/>
              <a:gd name="connsiteX25-2075" fmla="*/ 245327 w 2821258"/>
              <a:gd name="connsiteY25-2076" fmla="*/ 2241395 h 2877015"/>
              <a:gd name="connsiteX26-2077" fmla="*/ 234175 w 2821258"/>
              <a:gd name="connsiteY26-2078" fmla="*/ 2330605 h 2877015"/>
              <a:gd name="connsiteX27-2079" fmla="*/ 234175 w 2821258"/>
              <a:gd name="connsiteY27-2080" fmla="*/ 2330605 h 2877015"/>
              <a:gd name="connsiteX28-2081" fmla="*/ 144966 w 2821258"/>
              <a:gd name="connsiteY28-2082" fmla="*/ 2419815 h 2877015"/>
              <a:gd name="connsiteX29-2083" fmla="*/ 66907 w 2821258"/>
              <a:gd name="connsiteY29-2084" fmla="*/ 2464420 h 2877015"/>
              <a:gd name="connsiteX30-2085" fmla="*/ 55756 w 2821258"/>
              <a:gd name="connsiteY30-2086" fmla="*/ 2553629 h 2877015"/>
              <a:gd name="connsiteX31-2087" fmla="*/ 44605 w 2821258"/>
              <a:gd name="connsiteY31-2088" fmla="*/ 2754351 h 2877015"/>
              <a:gd name="connsiteX0-2089" fmla="*/ 0 w 2687444"/>
              <a:gd name="connsiteY0-2090" fmla="*/ 2743200 h 2743200"/>
              <a:gd name="connsiteX1-2091" fmla="*/ 55756 w 2687444"/>
              <a:gd name="connsiteY1-2092" fmla="*/ 2564780 h 2743200"/>
              <a:gd name="connsiteX2-2093" fmla="*/ 1349297 w 2687444"/>
              <a:gd name="connsiteY2-2094" fmla="*/ 2564780 h 2743200"/>
              <a:gd name="connsiteX3-2095" fmla="*/ 1304692 w 2687444"/>
              <a:gd name="connsiteY3-2096" fmla="*/ 2096429 h 2743200"/>
              <a:gd name="connsiteX4-2097" fmla="*/ 1471961 w 2687444"/>
              <a:gd name="connsiteY4-2098" fmla="*/ 1962614 h 2743200"/>
              <a:gd name="connsiteX5-2099" fmla="*/ 1683834 w 2687444"/>
              <a:gd name="connsiteY5-2100" fmla="*/ 1906858 h 2743200"/>
              <a:gd name="connsiteX6-2101" fmla="*/ 2687444 w 2687444"/>
              <a:gd name="connsiteY6-2102" fmla="*/ 0 h 2743200"/>
              <a:gd name="connsiteX7-2103" fmla="*/ 2598234 w 2687444"/>
              <a:gd name="connsiteY7-2104" fmla="*/ 55756 h 2743200"/>
              <a:gd name="connsiteX8-2105" fmla="*/ 2486722 w 2687444"/>
              <a:gd name="connsiteY8-2106" fmla="*/ 89210 h 2743200"/>
              <a:gd name="connsiteX9-2107" fmla="*/ 2430966 w 2687444"/>
              <a:gd name="connsiteY9-2108" fmla="*/ 44605 h 2743200"/>
              <a:gd name="connsiteX10-2109" fmla="*/ 2397512 w 2687444"/>
              <a:gd name="connsiteY10-2110" fmla="*/ 78058 h 2743200"/>
              <a:gd name="connsiteX11-2111" fmla="*/ 1851102 w 2687444"/>
              <a:gd name="connsiteY11-2112" fmla="*/ 367990 h 2743200"/>
              <a:gd name="connsiteX12-2113" fmla="*/ 1382751 w 2687444"/>
              <a:gd name="connsiteY12-2114" fmla="*/ 490653 h 2743200"/>
              <a:gd name="connsiteX13-2115" fmla="*/ 1315844 w 2687444"/>
              <a:gd name="connsiteY13-2116" fmla="*/ 546410 h 2743200"/>
              <a:gd name="connsiteX14-2117" fmla="*/ 1182029 w 2687444"/>
              <a:gd name="connsiteY14-2118" fmla="*/ 869795 h 2743200"/>
              <a:gd name="connsiteX15-2119" fmla="*/ 869795 w 2687444"/>
              <a:gd name="connsiteY15-2120" fmla="*/ 1037063 h 2743200"/>
              <a:gd name="connsiteX16-2121" fmla="*/ 847492 w 2687444"/>
              <a:gd name="connsiteY16-2122" fmla="*/ 1182029 h 2743200"/>
              <a:gd name="connsiteX17-2123" fmla="*/ 769434 w 2687444"/>
              <a:gd name="connsiteY17-2124" fmla="*/ 1293541 h 2743200"/>
              <a:gd name="connsiteX18-2125" fmla="*/ 747131 w 2687444"/>
              <a:gd name="connsiteY18-2126" fmla="*/ 1527717 h 2743200"/>
              <a:gd name="connsiteX19-2127" fmla="*/ 345687 w 2687444"/>
              <a:gd name="connsiteY19-2128" fmla="*/ 1839951 h 2743200"/>
              <a:gd name="connsiteX20-2129" fmla="*/ 457200 w 2687444"/>
              <a:gd name="connsiteY20-2130" fmla="*/ 1773044 h 2743200"/>
              <a:gd name="connsiteX21-2131" fmla="*/ 379141 w 2687444"/>
              <a:gd name="connsiteY21-2132" fmla="*/ 1918010 h 2743200"/>
              <a:gd name="connsiteX22-2133" fmla="*/ 301083 w 2687444"/>
              <a:gd name="connsiteY22-2134" fmla="*/ 2040673 h 2743200"/>
              <a:gd name="connsiteX23-2135" fmla="*/ 301083 w 2687444"/>
              <a:gd name="connsiteY23-2136" fmla="*/ 2040673 h 2743200"/>
              <a:gd name="connsiteX24-2137" fmla="*/ 245327 w 2687444"/>
              <a:gd name="connsiteY24-2138" fmla="*/ 2107580 h 2743200"/>
              <a:gd name="connsiteX25-2139" fmla="*/ 234175 w 2687444"/>
              <a:gd name="connsiteY25-2140" fmla="*/ 2196790 h 2743200"/>
              <a:gd name="connsiteX26-2141" fmla="*/ 234175 w 2687444"/>
              <a:gd name="connsiteY26-2142" fmla="*/ 2196790 h 2743200"/>
              <a:gd name="connsiteX27-2143" fmla="*/ 144966 w 2687444"/>
              <a:gd name="connsiteY27-2144" fmla="*/ 2286000 h 2743200"/>
              <a:gd name="connsiteX28-2145" fmla="*/ 66907 w 2687444"/>
              <a:gd name="connsiteY28-2146" fmla="*/ 2330605 h 2743200"/>
              <a:gd name="connsiteX29-2147" fmla="*/ 55756 w 2687444"/>
              <a:gd name="connsiteY29-2148" fmla="*/ 2419814 h 2743200"/>
              <a:gd name="connsiteX30-2149" fmla="*/ 44605 w 2687444"/>
              <a:gd name="connsiteY30-2150" fmla="*/ 2620536 h 2743200"/>
              <a:gd name="connsiteX0-2151" fmla="*/ 0 w 2598234"/>
              <a:gd name="connsiteY0-2152" fmla="*/ 2698595 h 2698595"/>
              <a:gd name="connsiteX1-2153" fmla="*/ 55756 w 2598234"/>
              <a:gd name="connsiteY1-2154" fmla="*/ 2520175 h 2698595"/>
              <a:gd name="connsiteX2-2155" fmla="*/ 1349297 w 2598234"/>
              <a:gd name="connsiteY2-2156" fmla="*/ 2520175 h 2698595"/>
              <a:gd name="connsiteX3-2157" fmla="*/ 1304692 w 2598234"/>
              <a:gd name="connsiteY3-2158" fmla="*/ 2051824 h 2698595"/>
              <a:gd name="connsiteX4-2159" fmla="*/ 1471961 w 2598234"/>
              <a:gd name="connsiteY4-2160" fmla="*/ 1918009 h 2698595"/>
              <a:gd name="connsiteX5-2161" fmla="*/ 1683834 w 2598234"/>
              <a:gd name="connsiteY5-2162" fmla="*/ 1862253 h 2698595"/>
              <a:gd name="connsiteX6-2163" fmla="*/ 2598234 w 2598234"/>
              <a:gd name="connsiteY6-2164" fmla="*/ 11151 h 2698595"/>
              <a:gd name="connsiteX7-2165" fmla="*/ 2486722 w 2598234"/>
              <a:gd name="connsiteY7-2166" fmla="*/ 44605 h 2698595"/>
              <a:gd name="connsiteX8-2167" fmla="*/ 2430966 w 2598234"/>
              <a:gd name="connsiteY8-2168" fmla="*/ 0 h 2698595"/>
              <a:gd name="connsiteX9-2169" fmla="*/ 2397512 w 2598234"/>
              <a:gd name="connsiteY9-2170" fmla="*/ 33453 h 2698595"/>
              <a:gd name="connsiteX10-2171" fmla="*/ 1851102 w 2598234"/>
              <a:gd name="connsiteY10-2172" fmla="*/ 323385 h 2698595"/>
              <a:gd name="connsiteX11-2173" fmla="*/ 1382751 w 2598234"/>
              <a:gd name="connsiteY11-2174" fmla="*/ 446048 h 2698595"/>
              <a:gd name="connsiteX12-2175" fmla="*/ 1315844 w 2598234"/>
              <a:gd name="connsiteY12-2176" fmla="*/ 501805 h 2698595"/>
              <a:gd name="connsiteX13-2177" fmla="*/ 1182029 w 2598234"/>
              <a:gd name="connsiteY13-2178" fmla="*/ 825190 h 2698595"/>
              <a:gd name="connsiteX14-2179" fmla="*/ 869795 w 2598234"/>
              <a:gd name="connsiteY14-2180" fmla="*/ 992458 h 2698595"/>
              <a:gd name="connsiteX15-2181" fmla="*/ 847492 w 2598234"/>
              <a:gd name="connsiteY15-2182" fmla="*/ 1137424 h 2698595"/>
              <a:gd name="connsiteX16-2183" fmla="*/ 769434 w 2598234"/>
              <a:gd name="connsiteY16-2184" fmla="*/ 1248936 h 2698595"/>
              <a:gd name="connsiteX17-2185" fmla="*/ 747131 w 2598234"/>
              <a:gd name="connsiteY17-2186" fmla="*/ 1483112 h 2698595"/>
              <a:gd name="connsiteX18-2187" fmla="*/ 345687 w 2598234"/>
              <a:gd name="connsiteY18-2188" fmla="*/ 1795346 h 2698595"/>
              <a:gd name="connsiteX19-2189" fmla="*/ 457200 w 2598234"/>
              <a:gd name="connsiteY19-2190" fmla="*/ 1728439 h 2698595"/>
              <a:gd name="connsiteX20-2191" fmla="*/ 379141 w 2598234"/>
              <a:gd name="connsiteY20-2192" fmla="*/ 1873405 h 2698595"/>
              <a:gd name="connsiteX21-2193" fmla="*/ 301083 w 2598234"/>
              <a:gd name="connsiteY21-2194" fmla="*/ 1996068 h 2698595"/>
              <a:gd name="connsiteX22-2195" fmla="*/ 301083 w 2598234"/>
              <a:gd name="connsiteY22-2196" fmla="*/ 1996068 h 2698595"/>
              <a:gd name="connsiteX23-2197" fmla="*/ 245327 w 2598234"/>
              <a:gd name="connsiteY23-2198" fmla="*/ 2062975 h 2698595"/>
              <a:gd name="connsiteX24-2199" fmla="*/ 234175 w 2598234"/>
              <a:gd name="connsiteY24-2200" fmla="*/ 2152185 h 2698595"/>
              <a:gd name="connsiteX25-2201" fmla="*/ 234175 w 2598234"/>
              <a:gd name="connsiteY25-2202" fmla="*/ 2152185 h 2698595"/>
              <a:gd name="connsiteX26-2203" fmla="*/ 144966 w 2598234"/>
              <a:gd name="connsiteY26-2204" fmla="*/ 2241395 h 2698595"/>
              <a:gd name="connsiteX27-2205" fmla="*/ 66907 w 2598234"/>
              <a:gd name="connsiteY27-2206" fmla="*/ 2286000 h 2698595"/>
              <a:gd name="connsiteX28-2207" fmla="*/ 55756 w 2598234"/>
              <a:gd name="connsiteY28-2208" fmla="*/ 2375209 h 2698595"/>
              <a:gd name="connsiteX29-2209" fmla="*/ 44605 w 2598234"/>
              <a:gd name="connsiteY29-2210" fmla="*/ 2575931 h 2698595"/>
              <a:gd name="connsiteX0-2211" fmla="*/ 0 w 2486722"/>
              <a:gd name="connsiteY0-2212" fmla="*/ 2698595 h 2698595"/>
              <a:gd name="connsiteX1-2213" fmla="*/ 55756 w 2486722"/>
              <a:gd name="connsiteY1-2214" fmla="*/ 2520175 h 2698595"/>
              <a:gd name="connsiteX2-2215" fmla="*/ 1349297 w 2486722"/>
              <a:gd name="connsiteY2-2216" fmla="*/ 2520175 h 2698595"/>
              <a:gd name="connsiteX3-2217" fmla="*/ 1304692 w 2486722"/>
              <a:gd name="connsiteY3-2218" fmla="*/ 2051824 h 2698595"/>
              <a:gd name="connsiteX4-2219" fmla="*/ 1471961 w 2486722"/>
              <a:gd name="connsiteY4-2220" fmla="*/ 1918009 h 2698595"/>
              <a:gd name="connsiteX5-2221" fmla="*/ 1683834 w 2486722"/>
              <a:gd name="connsiteY5-2222" fmla="*/ 1862253 h 2698595"/>
              <a:gd name="connsiteX6-2223" fmla="*/ 2486722 w 2486722"/>
              <a:gd name="connsiteY6-2224" fmla="*/ 44605 h 2698595"/>
              <a:gd name="connsiteX7-2225" fmla="*/ 2430966 w 2486722"/>
              <a:gd name="connsiteY7-2226" fmla="*/ 0 h 2698595"/>
              <a:gd name="connsiteX8-2227" fmla="*/ 2397512 w 2486722"/>
              <a:gd name="connsiteY8-2228" fmla="*/ 33453 h 2698595"/>
              <a:gd name="connsiteX9-2229" fmla="*/ 1851102 w 2486722"/>
              <a:gd name="connsiteY9-2230" fmla="*/ 323385 h 2698595"/>
              <a:gd name="connsiteX10-2231" fmla="*/ 1382751 w 2486722"/>
              <a:gd name="connsiteY10-2232" fmla="*/ 446048 h 2698595"/>
              <a:gd name="connsiteX11-2233" fmla="*/ 1315844 w 2486722"/>
              <a:gd name="connsiteY11-2234" fmla="*/ 501805 h 2698595"/>
              <a:gd name="connsiteX12-2235" fmla="*/ 1182029 w 2486722"/>
              <a:gd name="connsiteY12-2236" fmla="*/ 825190 h 2698595"/>
              <a:gd name="connsiteX13-2237" fmla="*/ 869795 w 2486722"/>
              <a:gd name="connsiteY13-2238" fmla="*/ 992458 h 2698595"/>
              <a:gd name="connsiteX14-2239" fmla="*/ 847492 w 2486722"/>
              <a:gd name="connsiteY14-2240" fmla="*/ 1137424 h 2698595"/>
              <a:gd name="connsiteX15-2241" fmla="*/ 769434 w 2486722"/>
              <a:gd name="connsiteY15-2242" fmla="*/ 1248936 h 2698595"/>
              <a:gd name="connsiteX16-2243" fmla="*/ 747131 w 2486722"/>
              <a:gd name="connsiteY16-2244" fmla="*/ 1483112 h 2698595"/>
              <a:gd name="connsiteX17-2245" fmla="*/ 345687 w 2486722"/>
              <a:gd name="connsiteY17-2246" fmla="*/ 1795346 h 2698595"/>
              <a:gd name="connsiteX18-2247" fmla="*/ 457200 w 2486722"/>
              <a:gd name="connsiteY18-2248" fmla="*/ 1728439 h 2698595"/>
              <a:gd name="connsiteX19-2249" fmla="*/ 379141 w 2486722"/>
              <a:gd name="connsiteY19-2250" fmla="*/ 1873405 h 2698595"/>
              <a:gd name="connsiteX20-2251" fmla="*/ 301083 w 2486722"/>
              <a:gd name="connsiteY20-2252" fmla="*/ 1996068 h 2698595"/>
              <a:gd name="connsiteX21-2253" fmla="*/ 301083 w 2486722"/>
              <a:gd name="connsiteY21-2254" fmla="*/ 1996068 h 2698595"/>
              <a:gd name="connsiteX22-2255" fmla="*/ 245327 w 2486722"/>
              <a:gd name="connsiteY22-2256" fmla="*/ 2062975 h 2698595"/>
              <a:gd name="connsiteX23-2257" fmla="*/ 234175 w 2486722"/>
              <a:gd name="connsiteY23-2258" fmla="*/ 2152185 h 2698595"/>
              <a:gd name="connsiteX24-2259" fmla="*/ 234175 w 2486722"/>
              <a:gd name="connsiteY24-2260" fmla="*/ 2152185 h 2698595"/>
              <a:gd name="connsiteX25-2261" fmla="*/ 144966 w 2486722"/>
              <a:gd name="connsiteY25-2262" fmla="*/ 2241395 h 2698595"/>
              <a:gd name="connsiteX26-2263" fmla="*/ 66907 w 2486722"/>
              <a:gd name="connsiteY26-2264" fmla="*/ 2286000 h 2698595"/>
              <a:gd name="connsiteX27-2265" fmla="*/ 55756 w 2486722"/>
              <a:gd name="connsiteY27-2266" fmla="*/ 2375209 h 2698595"/>
              <a:gd name="connsiteX28-2267" fmla="*/ 44605 w 2486722"/>
              <a:gd name="connsiteY28-2268" fmla="*/ 2575931 h 2698595"/>
              <a:gd name="connsiteX0-2269" fmla="*/ 0 w 2430966"/>
              <a:gd name="connsiteY0-2270" fmla="*/ 2698595 h 2698595"/>
              <a:gd name="connsiteX1-2271" fmla="*/ 55756 w 2430966"/>
              <a:gd name="connsiteY1-2272" fmla="*/ 2520175 h 2698595"/>
              <a:gd name="connsiteX2-2273" fmla="*/ 1349297 w 2430966"/>
              <a:gd name="connsiteY2-2274" fmla="*/ 2520175 h 2698595"/>
              <a:gd name="connsiteX3-2275" fmla="*/ 1304692 w 2430966"/>
              <a:gd name="connsiteY3-2276" fmla="*/ 2051824 h 2698595"/>
              <a:gd name="connsiteX4-2277" fmla="*/ 1471961 w 2430966"/>
              <a:gd name="connsiteY4-2278" fmla="*/ 1918009 h 2698595"/>
              <a:gd name="connsiteX5-2279" fmla="*/ 1683834 w 2430966"/>
              <a:gd name="connsiteY5-2280" fmla="*/ 1862253 h 2698595"/>
              <a:gd name="connsiteX6-2281" fmla="*/ 2430966 w 2430966"/>
              <a:gd name="connsiteY6-2282" fmla="*/ 0 h 2698595"/>
              <a:gd name="connsiteX7-2283" fmla="*/ 2397512 w 2430966"/>
              <a:gd name="connsiteY7-2284" fmla="*/ 33453 h 2698595"/>
              <a:gd name="connsiteX8-2285" fmla="*/ 1851102 w 2430966"/>
              <a:gd name="connsiteY8-2286" fmla="*/ 323385 h 2698595"/>
              <a:gd name="connsiteX9-2287" fmla="*/ 1382751 w 2430966"/>
              <a:gd name="connsiteY9-2288" fmla="*/ 446048 h 2698595"/>
              <a:gd name="connsiteX10-2289" fmla="*/ 1315844 w 2430966"/>
              <a:gd name="connsiteY10-2290" fmla="*/ 501805 h 2698595"/>
              <a:gd name="connsiteX11-2291" fmla="*/ 1182029 w 2430966"/>
              <a:gd name="connsiteY11-2292" fmla="*/ 825190 h 2698595"/>
              <a:gd name="connsiteX12-2293" fmla="*/ 869795 w 2430966"/>
              <a:gd name="connsiteY12-2294" fmla="*/ 992458 h 2698595"/>
              <a:gd name="connsiteX13-2295" fmla="*/ 847492 w 2430966"/>
              <a:gd name="connsiteY13-2296" fmla="*/ 1137424 h 2698595"/>
              <a:gd name="connsiteX14-2297" fmla="*/ 769434 w 2430966"/>
              <a:gd name="connsiteY14-2298" fmla="*/ 1248936 h 2698595"/>
              <a:gd name="connsiteX15-2299" fmla="*/ 747131 w 2430966"/>
              <a:gd name="connsiteY15-2300" fmla="*/ 1483112 h 2698595"/>
              <a:gd name="connsiteX16-2301" fmla="*/ 345687 w 2430966"/>
              <a:gd name="connsiteY16-2302" fmla="*/ 1795346 h 2698595"/>
              <a:gd name="connsiteX17-2303" fmla="*/ 457200 w 2430966"/>
              <a:gd name="connsiteY17-2304" fmla="*/ 1728439 h 2698595"/>
              <a:gd name="connsiteX18-2305" fmla="*/ 379141 w 2430966"/>
              <a:gd name="connsiteY18-2306" fmla="*/ 1873405 h 2698595"/>
              <a:gd name="connsiteX19-2307" fmla="*/ 301083 w 2430966"/>
              <a:gd name="connsiteY19-2308" fmla="*/ 1996068 h 2698595"/>
              <a:gd name="connsiteX20-2309" fmla="*/ 301083 w 2430966"/>
              <a:gd name="connsiteY20-2310" fmla="*/ 1996068 h 2698595"/>
              <a:gd name="connsiteX21-2311" fmla="*/ 245327 w 2430966"/>
              <a:gd name="connsiteY21-2312" fmla="*/ 2062975 h 2698595"/>
              <a:gd name="connsiteX22-2313" fmla="*/ 234175 w 2430966"/>
              <a:gd name="connsiteY22-2314" fmla="*/ 2152185 h 2698595"/>
              <a:gd name="connsiteX23-2315" fmla="*/ 234175 w 2430966"/>
              <a:gd name="connsiteY23-2316" fmla="*/ 2152185 h 2698595"/>
              <a:gd name="connsiteX24-2317" fmla="*/ 144966 w 2430966"/>
              <a:gd name="connsiteY24-2318" fmla="*/ 2241395 h 2698595"/>
              <a:gd name="connsiteX25-2319" fmla="*/ 66907 w 2430966"/>
              <a:gd name="connsiteY25-2320" fmla="*/ 2286000 h 2698595"/>
              <a:gd name="connsiteX26-2321" fmla="*/ 55756 w 2430966"/>
              <a:gd name="connsiteY26-2322" fmla="*/ 2375209 h 2698595"/>
              <a:gd name="connsiteX27-2323" fmla="*/ 44605 w 2430966"/>
              <a:gd name="connsiteY27-2324" fmla="*/ 2575931 h 2698595"/>
              <a:gd name="connsiteX0-2325" fmla="*/ 0 w 2430966"/>
              <a:gd name="connsiteY0-2326" fmla="*/ 2698595 h 2698595"/>
              <a:gd name="connsiteX1-2327" fmla="*/ 55756 w 2430966"/>
              <a:gd name="connsiteY1-2328" fmla="*/ 2520175 h 2698595"/>
              <a:gd name="connsiteX2-2329" fmla="*/ 1349297 w 2430966"/>
              <a:gd name="connsiteY2-2330" fmla="*/ 2520175 h 2698595"/>
              <a:gd name="connsiteX3-2331" fmla="*/ 1304692 w 2430966"/>
              <a:gd name="connsiteY3-2332" fmla="*/ 2051824 h 2698595"/>
              <a:gd name="connsiteX4-2333" fmla="*/ 1471961 w 2430966"/>
              <a:gd name="connsiteY4-2334" fmla="*/ 1918009 h 2698595"/>
              <a:gd name="connsiteX5-2335" fmla="*/ 1683834 w 2430966"/>
              <a:gd name="connsiteY5-2336" fmla="*/ 1862253 h 2698595"/>
              <a:gd name="connsiteX6-2337" fmla="*/ 2430966 w 2430966"/>
              <a:gd name="connsiteY6-2338" fmla="*/ 0 h 2698595"/>
              <a:gd name="connsiteX7-2339" fmla="*/ 1851102 w 2430966"/>
              <a:gd name="connsiteY7-2340" fmla="*/ 323385 h 2698595"/>
              <a:gd name="connsiteX8-2341" fmla="*/ 1382751 w 2430966"/>
              <a:gd name="connsiteY8-2342" fmla="*/ 446048 h 2698595"/>
              <a:gd name="connsiteX9-2343" fmla="*/ 1315844 w 2430966"/>
              <a:gd name="connsiteY9-2344" fmla="*/ 501805 h 2698595"/>
              <a:gd name="connsiteX10-2345" fmla="*/ 1182029 w 2430966"/>
              <a:gd name="connsiteY10-2346" fmla="*/ 825190 h 2698595"/>
              <a:gd name="connsiteX11-2347" fmla="*/ 869795 w 2430966"/>
              <a:gd name="connsiteY11-2348" fmla="*/ 992458 h 2698595"/>
              <a:gd name="connsiteX12-2349" fmla="*/ 847492 w 2430966"/>
              <a:gd name="connsiteY12-2350" fmla="*/ 1137424 h 2698595"/>
              <a:gd name="connsiteX13-2351" fmla="*/ 769434 w 2430966"/>
              <a:gd name="connsiteY13-2352" fmla="*/ 1248936 h 2698595"/>
              <a:gd name="connsiteX14-2353" fmla="*/ 747131 w 2430966"/>
              <a:gd name="connsiteY14-2354" fmla="*/ 1483112 h 2698595"/>
              <a:gd name="connsiteX15-2355" fmla="*/ 345687 w 2430966"/>
              <a:gd name="connsiteY15-2356" fmla="*/ 1795346 h 2698595"/>
              <a:gd name="connsiteX16-2357" fmla="*/ 457200 w 2430966"/>
              <a:gd name="connsiteY16-2358" fmla="*/ 1728439 h 2698595"/>
              <a:gd name="connsiteX17-2359" fmla="*/ 379141 w 2430966"/>
              <a:gd name="connsiteY17-2360" fmla="*/ 1873405 h 2698595"/>
              <a:gd name="connsiteX18-2361" fmla="*/ 301083 w 2430966"/>
              <a:gd name="connsiteY18-2362" fmla="*/ 1996068 h 2698595"/>
              <a:gd name="connsiteX19-2363" fmla="*/ 301083 w 2430966"/>
              <a:gd name="connsiteY19-2364" fmla="*/ 1996068 h 2698595"/>
              <a:gd name="connsiteX20-2365" fmla="*/ 245327 w 2430966"/>
              <a:gd name="connsiteY20-2366" fmla="*/ 2062975 h 2698595"/>
              <a:gd name="connsiteX21-2367" fmla="*/ 234175 w 2430966"/>
              <a:gd name="connsiteY21-2368" fmla="*/ 2152185 h 2698595"/>
              <a:gd name="connsiteX22-2369" fmla="*/ 234175 w 2430966"/>
              <a:gd name="connsiteY22-2370" fmla="*/ 2152185 h 2698595"/>
              <a:gd name="connsiteX23-2371" fmla="*/ 144966 w 2430966"/>
              <a:gd name="connsiteY23-2372" fmla="*/ 2241395 h 2698595"/>
              <a:gd name="connsiteX24-2373" fmla="*/ 66907 w 2430966"/>
              <a:gd name="connsiteY24-2374" fmla="*/ 2286000 h 2698595"/>
              <a:gd name="connsiteX25-2375" fmla="*/ 55756 w 2430966"/>
              <a:gd name="connsiteY25-2376" fmla="*/ 2375209 h 2698595"/>
              <a:gd name="connsiteX26-2377" fmla="*/ 44605 w 2430966"/>
              <a:gd name="connsiteY26-2378" fmla="*/ 2575931 h 2698595"/>
              <a:gd name="connsiteX0-2379" fmla="*/ 0 w 1851102"/>
              <a:gd name="connsiteY0-2380" fmla="*/ 2375210 h 2375210"/>
              <a:gd name="connsiteX1-2381" fmla="*/ 55756 w 1851102"/>
              <a:gd name="connsiteY1-2382" fmla="*/ 2196790 h 2375210"/>
              <a:gd name="connsiteX2-2383" fmla="*/ 1349297 w 1851102"/>
              <a:gd name="connsiteY2-2384" fmla="*/ 2196790 h 2375210"/>
              <a:gd name="connsiteX3-2385" fmla="*/ 1304692 w 1851102"/>
              <a:gd name="connsiteY3-2386" fmla="*/ 1728439 h 2375210"/>
              <a:gd name="connsiteX4-2387" fmla="*/ 1471961 w 1851102"/>
              <a:gd name="connsiteY4-2388" fmla="*/ 1594624 h 2375210"/>
              <a:gd name="connsiteX5-2389" fmla="*/ 1683834 w 1851102"/>
              <a:gd name="connsiteY5-2390" fmla="*/ 1538868 h 2375210"/>
              <a:gd name="connsiteX6-2391" fmla="*/ 1851102 w 1851102"/>
              <a:gd name="connsiteY6-2392" fmla="*/ 0 h 2375210"/>
              <a:gd name="connsiteX7-2393" fmla="*/ 1382751 w 1851102"/>
              <a:gd name="connsiteY7-2394" fmla="*/ 122663 h 2375210"/>
              <a:gd name="connsiteX8-2395" fmla="*/ 1315844 w 1851102"/>
              <a:gd name="connsiteY8-2396" fmla="*/ 178420 h 2375210"/>
              <a:gd name="connsiteX9-2397" fmla="*/ 1182029 w 1851102"/>
              <a:gd name="connsiteY9-2398" fmla="*/ 501805 h 2375210"/>
              <a:gd name="connsiteX10-2399" fmla="*/ 869795 w 1851102"/>
              <a:gd name="connsiteY10-2400" fmla="*/ 669073 h 2375210"/>
              <a:gd name="connsiteX11-2401" fmla="*/ 847492 w 1851102"/>
              <a:gd name="connsiteY11-2402" fmla="*/ 814039 h 2375210"/>
              <a:gd name="connsiteX12-2403" fmla="*/ 769434 w 1851102"/>
              <a:gd name="connsiteY12-2404" fmla="*/ 925551 h 2375210"/>
              <a:gd name="connsiteX13-2405" fmla="*/ 747131 w 1851102"/>
              <a:gd name="connsiteY13-2406" fmla="*/ 1159727 h 2375210"/>
              <a:gd name="connsiteX14-2407" fmla="*/ 345687 w 1851102"/>
              <a:gd name="connsiteY14-2408" fmla="*/ 1471961 h 2375210"/>
              <a:gd name="connsiteX15-2409" fmla="*/ 457200 w 1851102"/>
              <a:gd name="connsiteY15-2410" fmla="*/ 1405054 h 2375210"/>
              <a:gd name="connsiteX16-2411" fmla="*/ 379141 w 1851102"/>
              <a:gd name="connsiteY16-2412" fmla="*/ 1550020 h 2375210"/>
              <a:gd name="connsiteX17-2413" fmla="*/ 301083 w 1851102"/>
              <a:gd name="connsiteY17-2414" fmla="*/ 1672683 h 2375210"/>
              <a:gd name="connsiteX18-2415" fmla="*/ 301083 w 1851102"/>
              <a:gd name="connsiteY18-2416" fmla="*/ 1672683 h 2375210"/>
              <a:gd name="connsiteX19-2417" fmla="*/ 245327 w 1851102"/>
              <a:gd name="connsiteY19-2418" fmla="*/ 1739590 h 2375210"/>
              <a:gd name="connsiteX20-2419" fmla="*/ 234175 w 1851102"/>
              <a:gd name="connsiteY20-2420" fmla="*/ 1828800 h 2375210"/>
              <a:gd name="connsiteX21-2421" fmla="*/ 234175 w 1851102"/>
              <a:gd name="connsiteY21-2422" fmla="*/ 1828800 h 2375210"/>
              <a:gd name="connsiteX22-2423" fmla="*/ 144966 w 1851102"/>
              <a:gd name="connsiteY22-2424" fmla="*/ 1918010 h 2375210"/>
              <a:gd name="connsiteX23-2425" fmla="*/ 66907 w 1851102"/>
              <a:gd name="connsiteY23-2426" fmla="*/ 1962615 h 2375210"/>
              <a:gd name="connsiteX24-2427" fmla="*/ 55756 w 1851102"/>
              <a:gd name="connsiteY24-2428" fmla="*/ 2051824 h 2375210"/>
              <a:gd name="connsiteX25-2429" fmla="*/ 44605 w 1851102"/>
              <a:gd name="connsiteY25-2430" fmla="*/ 2252546 h 2375210"/>
              <a:gd name="connsiteX0-2431" fmla="*/ 0 w 1683834"/>
              <a:gd name="connsiteY0-2432" fmla="*/ 2252547 h 2252547"/>
              <a:gd name="connsiteX1-2433" fmla="*/ 55756 w 1683834"/>
              <a:gd name="connsiteY1-2434" fmla="*/ 2074127 h 2252547"/>
              <a:gd name="connsiteX2-2435" fmla="*/ 1349297 w 1683834"/>
              <a:gd name="connsiteY2-2436" fmla="*/ 2074127 h 2252547"/>
              <a:gd name="connsiteX3-2437" fmla="*/ 1304692 w 1683834"/>
              <a:gd name="connsiteY3-2438" fmla="*/ 1605776 h 2252547"/>
              <a:gd name="connsiteX4-2439" fmla="*/ 1471961 w 1683834"/>
              <a:gd name="connsiteY4-2440" fmla="*/ 1471961 h 2252547"/>
              <a:gd name="connsiteX5-2441" fmla="*/ 1683834 w 1683834"/>
              <a:gd name="connsiteY5-2442" fmla="*/ 1416205 h 2252547"/>
              <a:gd name="connsiteX6-2443" fmla="*/ 1382751 w 1683834"/>
              <a:gd name="connsiteY6-2444" fmla="*/ 0 h 2252547"/>
              <a:gd name="connsiteX7-2445" fmla="*/ 1315844 w 1683834"/>
              <a:gd name="connsiteY7-2446" fmla="*/ 55757 h 2252547"/>
              <a:gd name="connsiteX8-2447" fmla="*/ 1182029 w 1683834"/>
              <a:gd name="connsiteY8-2448" fmla="*/ 379142 h 2252547"/>
              <a:gd name="connsiteX9-2449" fmla="*/ 869795 w 1683834"/>
              <a:gd name="connsiteY9-2450" fmla="*/ 546410 h 2252547"/>
              <a:gd name="connsiteX10-2451" fmla="*/ 847492 w 1683834"/>
              <a:gd name="connsiteY10-2452" fmla="*/ 691376 h 2252547"/>
              <a:gd name="connsiteX11-2453" fmla="*/ 769434 w 1683834"/>
              <a:gd name="connsiteY11-2454" fmla="*/ 802888 h 2252547"/>
              <a:gd name="connsiteX12-2455" fmla="*/ 747131 w 1683834"/>
              <a:gd name="connsiteY12-2456" fmla="*/ 1037064 h 2252547"/>
              <a:gd name="connsiteX13-2457" fmla="*/ 345687 w 1683834"/>
              <a:gd name="connsiteY13-2458" fmla="*/ 1349298 h 2252547"/>
              <a:gd name="connsiteX14-2459" fmla="*/ 457200 w 1683834"/>
              <a:gd name="connsiteY14-2460" fmla="*/ 1282391 h 2252547"/>
              <a:gd name="connsiteX15-2461" fmla="*/ 379141 w 1683834"/>
              <a:gd name="connsiteY15-2462" fmla="*/ 1427357 h 2252547"/>
              <a:gd name="connsiteX16-2463" fmla="*/ 301083 w 1683834"/>
              <a:gd name="connsiteY16-2464" fmla="*/ 1550020 h 2252547"/>
              <a:gd name="connsiteX17-2465" fmla="*/ 301083 w 1683834"/>
              <a:gd name="connsiteY17-2466" fmla="*/ 1550020 h 2252547"/>
              <a:gd name="connsiteX18-2467" fmla="*/ 245327 w 1683834"/>
              <a:gd name="connsiteY18-2468" fmla="*/ 1616927 h 2252547"/>
              <a:gd name="connsiteX19-2469" fmla="*/ 234175 w 1683834"/>
              <a:gd name="connsiteY19-2470" fmla="*/ 1706137 h 2252547"/>
              <a:gd name="connsiteX20-2471" fmla="*/ 234175 w 1683834"/>
              <a:gd name="connsiteY20-2472" fmla="*/ 1706137 h 2252547"/>
              <a:gd name="connsiteX21-2473" fmla="*/ 144966 w 1683834"/>
              <a:gd name="connsiteY21-2474" fmla="*/ 1795347 h 2252547"/>
              <a:gd name="connsiteX22-2475" fmla="*/ 66907 w 1683834"/>
              <a:gd name="connsiteY22-2476" fmla="*/ 1839952 h 2252547"/>
              <a:gd name="connsiteX23-2477" fmla="*/ 55756 w 1683834"/>
              <a:gd name="connsiteY23-2478" fmla="*/ 1929161 h 2252547"/>
              <a:gd name="connsiteX24-2479" fmla="*/ 44605 w 1683834"/>
              <a:gd name="connsiteY24-2480" fmla="*/ 2129883 h 2252547"/>
              <a:gd name="connsiteX0-2481" fmla="*/ 0 w 1683834"/>
              <a:gd name="connsiteY0-2482" fmla="*/ 2196790 h 2196790"/>
              <a:gd name="connsiteX1-2483" fmla="*/ 55756 w 1683834"/>
              <a:gd name="connsiteY1-2484" fmla="*/ 2018370 h 2196790"/>
              <a:gd name="connsiteX2-2485" fmla="*/ 1349297 w 1683834"/>
              <a:gd name="connsiteY2-2486" fmla="*/ 2018370 h 2196790"/>
              <a:gd name="connsiteX3-2487" fmla="*/ 1304692 w 1683834"/>
              <a:gd name="connsiteY3-2488" fmla="*/ 1550019 h 2196790"/>
              <a:gd name="connsiteX4-2489" fmla="*/ 1471961 w 1683834"/>
              <a:gd name="connsiteY4-2490" fmla="*/ 1416204 h 2196790"/>
              <a:gd name="connsiteX5-2491" fmla="*/ 1683834 w 1683834"/>
              <a:gd name="connsiteY5-2492" fmla="*/ 1360448 h 2196790"/>
              <a:gd name="connsiteX6-2493" fmla="*/ 1315844 w 1683834"/>
              <a:gd name="connsiteY6-2494" fmla="*/ 0 h 2196790"/>
              <a:gd name="connsiteX7-2495" fmla="*/ 1182029 w 1683834"/>
              <a:gd name="connsiteY7-2496" fmla="*/ 323385 h 2196790"/>
              <a:gd name="connsiteX8-2497" fmla="*/ 869795 w 1683834"/>
              <a:gd name="connsiteY8-2498" fmla="*/ 490653 h 2196790"/>
              <a:gd name="connsiteX9-2499" fmla="*/ 847492 w 1683834"/>
              <a:gd name="connsiteY9-2500" fmla="*/ 635619 h 2196790"/>
              <a:gd name="connsiteX10-2501" fmla="*/ 769434 w 1683834"/>
              <a:gd name="connsiteY10-2502" fmla="*/ 747131 h 2196790"/>
              <a:gd name="connsiteX11-2503" fmla="*/ 747131 w 1683834"/>
              <a:gd name="connsiteY11-2504" fmla="*/ 981307 h 2196790"/>
              <a:gd name="connsiteX12-2505" fmla="*/ 345687 w 1683834"/>
              <a:gd name="connsiteY12-2506" fmla="*/ 1293541 h 2196790"/>
              <a:gd name="connsiteX13-2507" fmla="*/ 457200 w 1683834"/>
              <a:gd name="connsiteY13-2508" fmla="*/ 1226634 h 2196790"/>
              <a:gd name="connsiteX14-2509" fmla="*/ 379141 w 1683834"/>
              <a:gd name="connsiteY14-2510" fmla="*/ 1371600 h 2196790"/>
              <a:gd name="connsiteX15-2511" fmla="*/ 301083 w 1683834"/>
              <a:gd name="connsiteY15-2512" fmla="*/ 1494263 h 2196790"/>
              <a:gd name="connsiteX16-2513" fmla="*/ 301083 w 1683834"/>
              <a:gd name="connsiteY16-2514" fmla="*/ 1494263 h 2196790"/>
              <a:gd name="connsiteX17-2515" fmla="*/ 245327 w 1683834"/>
              <a:gd name="connsiteY17-2516" fmla="*/ 1561170 h 2196790"/>
              <a:gd name="connsiteX18-2517" fmla="*/ 234175 w 1683834"/>
              <a:gd name="connsiteY18-2518" fmla="*/ 1650380 h 2196790"/>
              <a:gd name="connsiteX19-2519" fmla="*/ 234175 w 1683834"/>
              <a:gd name="connsiteY19-2520" fmla="*/ 1650380 h 2196790"/>
              <a:gd name="connsiteX20-2521" fmla="*/ 144966 w 1683834"/>
              <a:gd name="connsiteY20-2522" fmla="*/ 1739590 h 2196790"/>
              <a:gd name="connsiteX21-2523" fmla="*/ 66907 w 1683834"/>
              <a:gd name="connsiteY21-2524" fmla="*/ 1784195 h 2196790"/>
              <a:gd name="connsiteX22-2525" fmla="*/ 55756 w 1683834"/>
              <a:gd name="connsiteY22-2526" fmla="*/ 1873404 h 2196790"/>
              <a:gd name="connsiteX23-2527" fmla="*/ 44605 w 1683834"/>
              <a:gd name="connsiteY23-2528" fmla="*/ 2074126 h 2196790"/>
              <a:gd name="connsiteX0-2529" fmla="*/ 0 w 1683834"/>
              <a:gd name="connsiteY0-2530" fmla="*/ 1873405 h 1873405"/>
              <a:gd name="connsiteX1-2531" fmla="*/ 55756 w 1683834"/>
              <a:gd name="connsiteY1-2532" fmla="*/ 1694985 h 1873405"/>
              <a:gd name="connsiteX2-2533" fmla="*/ 1349297 w 1683834"/>
              <a:gd name="connsiteY2-2534" fmla="*/ 1694985 h 1873405"/>
              <a:gd name="connsiteX3-2535" fmla="*/ 1304692 w 1683834"/>
              <a:gd name="connsiteY3-2536" fmla="*/ 1226634 h 1873405"/>
              <a:gd name="connsiteX4-2537" fmla="*/ 1471961 w 1683834"/>
              <a:gd name="connsiteY4-2538" fmla="*/ 1092819 h 1873405"/>
              <a:gd name="connsiteX5-2539" fmla="*/ 1683834 w 1683834"/>
              <a:gd name="connsiteY5-2540" fmla="*/ 1037063 h 1873405"/>
              <a:gd name="connsiteX6-2541" fmla="*/ 1182029 w 1683834"/>
              <a:gd name="connsiteY6-2542" fmla="*/ 0 h 1873405"/>
              <a:gd name="connsiteX7-2543" fmla="*/ 869795 w 1683834"/>
              <a:gd name="connsiteY7-2544" fmla="*/ 167268 h 1873405"/>
              <a:gd name="connsiteX8-2545" fmla="*/ 847492 w 1683834"/>
              <a:gd name="connsiteY8-2546" fmla="*/ 312234 h 1873405"/>
              <a:gd name="connsiteX9-2547" fmla="*/ 769434 w 1683834"/>
              <a:gd name="connsiteY9-2548" fmla="*/ 423746 h 1873405"/>
              <a:gd name="connsiteX10-2549" fmla="*/ 747131 w 1683834"/>
              <a:gd name="connsiteY10-2550" fmla="*/ 657922 h 1873405"/>
              <a:gd name="connsiteX11-2551" fmla="*/ 345687 w 1683834"/>
              <a:gd name="connsiteY11-2552" fmla="*/ 970156 h 1873405"/>
              <a:gd name="connsiteX12-2553" fmla="*/ 457200 w 1683834"/>
              <a:gd name="connsiteY12-2554" fmla="*/ 903249 h 1873405"/>
              <a:gd name="connsiteX13-2555" fmla="*/ 379141 w 1683834"/>
              <a:gd name="connsiteY13-2556" fmla="*/ 1048215 h 1873405"/>
              <a:gd name="connsiteX14-2557" fmla="*/ 301083 w 1683834"/>
              <a:gd name="connsiteY14-2558" fmla="*/ 1170878 h 1873405"/>
              <a:gd name="connsiteX15-2559" fmla="*/ 301083 w 1683834"/>
              <a:gd name="connsiteY15-2560" fmla="*/ 1170878 h 1873405"/>
              <a:gd name="connsiteX16-2561" fmla="*/ 245327 w 1683834"/>
              <a:gd name="connsiteY16-2562" fmla="*/ 1237785 h 1873405"/>
              <a:gd name="connsiteX17-2563" fmla="*/ 234175 w 1683834"/>
              <a:gd name="connsiteY17-2564" fmla="*/ 1326995 h 1873405"/>
              <a:gd name="connsiteX18-2565" fmla="*/ 234175 w 1683834"/>
              <a:gd name="connsiteY18-2566" fmla="*/ 1326995 h 1873405"/>
              <a:gd name="connsiteX19-2567" fmla="*/ 144966 w 1683834"/>
              <a:gd name="connsiteY19-2568" fmla="*/ 1416205 h 1873405"/>
              <a:gd name="connsiteX20-2569" fmla="*/ 66907 w 1683834"/>
              <a:gd name="connsiteY20-2570" fmla="*/ 1460810 h 1873405"/>
              <a:gd name="connsiteX21-2571" fmla="*/ 55756 w 1683834"/>
              <a:gd name="connsiteY21-2572" fmla="*/ 1550019 h 1873405"/>
              <a:gd name="connsiteX22-2573" fmla="*/ 44605 w 1683834"/>
              <a:gd name="connsiteY22-2574" fmla="*/ 1750741 h 1873405"/>
              <a:gd name="connsiteX0-2575" fmla="*/ 0 w 1683834"/>
              <a:gd name="connsiteY0-2576" fmla="*/ 1706137 h 1706137"/>
              <a:gd name="connsiteX1-2577" fmla="*/ 55756 w 1683834"/>
              <a:gd name="connsiteY1-2578" fmla="*/ 1527717 h 1706137"/>
              <a:gd name="connsiteX2-2579" fmla="*/ 1349297 w 1683834"/>
              <a:gd name="connsiteY2-2580" fmla="*/ 1527717 h 1706137"/>
              <a:gd name="connsiteX3-2581" fmla="*/ 1304692 w 1683834"/>
              <a:gd name="connsiteY3-2582" fmla="*/ 1059366 h 1706137"/>
              <a:gd name="connsiteX4-2583" fmla="*/ 1471961 w 1683834"/>
              <a:gd name="connsiteY4-2584" fmla="*/ 925551 h 1706137"/>
              <a:gd name="connsiteX5-2585" fmla="*/ 1683834 w 1683834"/>
              <a:gd name="connsiteY5-2586" fmla="*/ 869795 h 1706137"/>
              <a:gd name="connsiteX6-2587" fmla="*/ 869795 w 1683834"/>
              <a:gd name="connsiteY6-2588" fmla="*/ 0 h 1706137"/>
              <a:gd name="connsiteX7-2589" fmla="*/ 847492 w 1683834"/>
              <a:gd name="connsiteY7-2590" fmla="*/ 144966 h 1706137"/>
              <a:gd name="connsiteX8-2591" fmla="*/ 769434 w 1683834"/>
              <a:gd name="connsiteY8-2592" fmla="*/ 256478 h 1706137"/>
              <a:gd name="connsiteX9-2593" fmla="*/ 747131 w 1683834"/>
              <a:gd name="connsiteY9-2594" fmla="*/ 490654 h 1706137"/>
              <a:gd name="connsiteX10-2595" fmla="*/ 345687 w 1683834"/>
              <a:gd name="connsiteY10-2596" fmla="*/ 802888 h 1706137"/>
              <a:gd name="connsiteX11-2597" fmla="*/ 457200 w 1683834"/>
              <a:gd name="connsiteY11-2598" fmla="*/ 735981 h 1706137"/>
              <a:gd name="connsiteX12-2599" fmla="*/ 379141 w 1683834"/>
              <a:gd name="connsiteY12-2600" fmla="*/ 880947 h 1706137"/>
              <a:gd name="connsiteX13-2601" fmla="*/ 301083 w 1683834"/>
              <a:gd name="connsiteY13-2602" fmla="*/ 1003610 h 1706137"/>
              <a:gd name="connsiteX14-2603" fmla="*/ 301083 w 1683834"/>
              <a:gd name="connsiteY14-2604" fmla="*/ 1003610 h 1706137"/>
              <a:gd name="connsiteX15-2605" fmla="*/ 245327 w 1683834"/>
              <a:gd name="connsiteY15-2606" fmla="*/ 1070517 h 1706137"/>
              <a:gd name="connsiteX16-2607" fmla="*/ 234175 w 1683834"/>
              <a:gd name="connsiteY16-2608" fmla="*/ 1159727 h 1706137"/>
              <a:gd name="connsiteX17-2609" fmla="*/ 234175 w 1683834"/>
              <a:gd name="connsiteY17-2610" fmla="*/ 1159727 h 1706137"/>
              <a:gd name="connsiteX18-2611" fmla="*/ 144966 w 1683834"/>
              <a:gd name="connsiteY18-2612" fmla="*/ 1248937 h 1706137"/>
              <a:gd name="connsiteX19-2613" fmla="*/ 66907 w 1683834"/>
              <a:gd name="connsiteY19-2614" fmla="*/ 1293542 h 1706137"/>
              <a:gd name="connsiteX20-2615" fmla="*/ 55756 w 1683834"/>
              <a:gd name="connsiteY20-2616" fmla="*/ 1382751 h 1706137"/>
              <a:gd name="connsiteX21-2617" fmla="*/ 44605 w 1683834"/>
              <a:gd name="connsiteY21-2618" fmla="*/ 1583473 h 1706137"/>
              <a:gd name="connsiteX0-2619" fmla="*/ 0 w 1683834"/>
              <a:gd name="connsiteY0-2620" fmla="*/ 1561171 h 1561171"/>
              <a:gd name="connsiteX1-2621" fmla="*/ 55756 w 1683834"/>
              <a:gd name="connsiteY1-2622" fmla="*/ 1382751 h 1561171"/>
              <a:gd name="connsiteX2-2623" fmla="*/ 1349297 w 1683834"/>
              <a:gd name="connsiteY2-2624" fmla="*/ 1382751 h 1561171"/>
              <a:gd name="connsiteX3-2625" fmla="*/ 1304692 w 1683834"/>
              <a:gd name="connsiteY3-2626" fmla="*/ 914400 h 1561171"/>
              <a:gd name="connsiteX4-2627" fmla="*/ 1471961 w 1683834"/>
              <a:gd name="connsiteY4-2628" fmla="*/ 780585 h 1561171"/>
              <a:gd name="connsiteX5-2629" fmla="*/ 1683834 w 1683834"/>
              <a:gd name="connsiteY5-2630" fmla="*/ 724829 h 1561171"/>
              <a:gd name="connsiteX6-2631" fmla="*/ 847492 w 1683834"/>
              <a:gd name="connsiteY6-2632" fmla="*/ 0 h 1561171"/>
              <a:gd name="connsiteX7-2633" fmla="*/ 769434 w 1683834"/>
              <a:gd name="connsiteY7-2634" fmla="*/ 111512 h 1561171"/>
              <a:gd name="connsiteX8-2635" fmla="*/ 747131 w 1683834"/>
              <a:gd name="connsiteY8-2636" fmla="*/ 345688 h 1561171"/>
              <a:gd name="connsiteX9-2637" fmla="*/ 345687 w 1683834"/>
              <a:gd name="connsiteY9-2638" fmla="*/ 657922 h 1561171"/>
              <a:gd name="connsiteX10-2639" fmla="*/ 457200 w 1683834"/>
              <a:gd name="connsiteY10-2640" fmla="*/ 591015 h 1561171"/>
              <a:gd name="connsiteX11-2641" fmla="*/ 379141 w 1683834"/>
              <a:gd name="connsiteY11-2642" fmla="*/ 735981 h 1561171"/>
              <a:gd name="connsiteX12-2643" fmla="*/ 301083 w 1683834"/>
              <a:gd name="connsiteY12-2644" fmla="*/ 858644 h 1561171"/>
              <a:gd name="connsiteX13-2645" fmla="*/ 301083 w 1683834"/>
              <a:gd name="connsiteY13-2646" fmla="*/ 858644 h 1561171"/>
              <a:gd name="connsiteX14-2647" fmla="*/ 245327 w 1683834"/>
              <a:gd name="connsiteY14-2648" fmla="*/ 925551 h 1561171"/>
              <a:gd name="connsiteX15-2649" fmla="*/ 234175 w 1683834"/>
              <a:gd name="connsiteY15-2650" fmla="*/ 1014761 h 1561171"/>
              <a:gd name="connsiteX16-2651" fmla="*/ 234175 w 1683834"/>
              <a:gd name="connsiteY16-2652" fmla="*/ 1014761 h 1561171"/>
              <a:gd name="connsiteX17-2653" fmla="*/ 144966 w 1683834"/>
              <a:gd name="connsiteY17-2654" fmla="*/ 1103971 h 1561171"/>
              <a:gd name="connsiteX18-2655" fmla="*/ 66907 w 1683834"/>
              <a:gd name="connsiteY18-2656" fmla="*/ 1148576 h 1561171"/>
              <a:gd name="connsiteX19-2657" fmla="*/ 55756 w 1683834"/>
              <a:gd name="connsiteY19-2658" fmla="*/ 1237785 h 1561171"/>
              <a:gd name="connsiteX20-2659" fmla="*/ 44605 w 1683834"/>
              <a:gd name="connsiteY20-2660" fmla="*/ 1438507 h 1561171"/>
              <a:gd name="connsiteX0-2661" fmla="*/ 0 w 1683834"/>
              <a:gd name="connsiteY0-2662" fmla="*/ 1449659 h 1449659"/>
              <a:gd name="connsiteX1-2663" fmla="*/ 55756 w 1683834"/>
              <a:gd name="connsiteY1-2664" fmla="*/ 1271239 h 1449659"/>
              <a:gd name="connsiteX2-2665" fmla="*/ 1349297 w 1683834"/>
              <a:gd name="connsiteY2-2666" fmla="*/ 1271239 h 1449659"/>
              <a:gd name="connsiteX3-2667" fmla="*/ 1304692 w 1683834"/>
              <a:gd name="connsiteY3-2668" fmla="*/ 802888 h 1449659"/>
              <a:gd name="connsiteX4-2669" fmla="*/ 1471961 w 1683834"/>
              <a:gd name="connsiteY4-2670" fmla="*/ 669073 h 1449659"/>
              <a:gd name="connsiteX5-2671" fmla="*/ 1683834 w 1683834"/>
              <a:gd name="connsiteY5-2672" fmla="*/ 613317 h 1449659"/>
              <a:gd name="connsiteX6-2673" fmla="*/ 769434 w 1683834"/>
              <a:gd name="connsiteY6-2674" fmla="*/ 0 h 1449659"/>
              <a:gd name="connsiteX7-2675" fmla="*/ 747131 w 1683834"/>
              <a:gd name="connsiteY7-2676" fmla="*/ 234176 h 1449659"/>
              <a:gd name="connsiteX8-2677" fmla="*/ 345687 w 1683834"/>
              <a:gd name="connsiteY8-2678" fmla="*/ 546410 h 1449659"/>
              <a:gd name="connsiteX9-2679" fmla="*/ 457200 w 1683834"/>
              <a:gd name="connsiteY9-2680" fmla="*/ 479503 h 1449659"/>
              <a:gd name="connsiteX10-2681" fmla="*/ 379141 w 1683834"/>
              <a:gd name="connsiteY10-2682" fmla="*/ 624469 h 1449659"/>
              <a:gd name="connsiteX11-2683" fmla="*/ 301083 w 1683834"/>
              <a:gd name="connsiteY11-2684" fmla="*/ 747132 h 1449659"/>
              <a:gd name="connsiteX12-2685" fmla="*/ 301083 w 1683834"/>
              <a:gd name="connsiteY12-2686" fmla="*/ 747132 h 1449659"/>
              <a:gd name="connsiteX13-2687" fmla="*/ 245327 w 1683834"/>
              <a:gd name="connsiteY13-2688" fmla="*/ 814039 h 1449659"/>
              <a:gd name="connsiteX14-2689" fmla="*/ 234175 w 1683834"/>
              <a:gd name="connsiteY14-2690" fmla="*/ 903249 h 1449659"/>
              <a:gd name="connsiteX15-2691" fmla="*/ 234175 w 1683834"/>
              <a:gd name="connsiteY15-2692" fmla="*/ 903249 h 1449659"/>
              <a:gd name="connsiteX16-2693" fmla="*/ 144966 w 1683834"/>
              <a:gd name="connsiteY16-2694" fmla="*/ 992459 h 1449659"/>
              <a:gd name="connsiteX17-2695" fmla="*/ 66907 w 1683834"/>
              <a:gd name="connsiteY17-2696" fmla="*/ 1037064 h 1449659"/>
              <a:gd name="connsiteX18-2697" fmla="*/ 55756 w 1683834"/>
              <a:gd name="connsiteY18-2698" fmla="*/ 1126273 h 1449659"/>
              <a:gd name="connsiteX19-2699" fmla="*/ 44605 w 1683834"/>
              <a:gd name="connsiteY19-2700" fmla="*/ 1326995 h 1449659"/>
              <a:gd name="connsiteX0-2701" fmla="*/ 0 w 1683834"/>
              <a:gd name="connsiteY0-2702" fmla="*/ 1215483 h 1215483"/>
              <a:gd name="connsiteX1-2703" fmla="*/ 55756 w 1683834"/>
              <a:gd name="connsiteY1-2704" fmla="*/ 1037063 h 1215483"/>
              <a:gd name="connsiteX2-2705" fmla="*/ 1349297 w 1683834"/>
              <a:gd name="connsiteY2-2706" fmla="*/ 1037063 h 1215483"/>
              <a:gd name="connsiteX3-2707" fmla="*/ 1304692 w 1683834"/>
              <a:gd name="connsiteY3-2708" fmla="*/ 568712 h 1215483"/>
              <a:gd name="connsiteX4-2709" fmla="*/ 1471961 w 1683834"/>
              <a:gd name="connsiteY4-2710" fmla="*/ 434897 h 1215483"/>
              <a:gd name="connsiteX5-2711" fmla="*/ 1683834 w 1683834"/>
              <a:gd name="connsiteY5-2712" fmla="*/ 379141 h 1215483"/>
              <a:gd name="connsiteX6-2713" fmla="*/ 747131 w 1683834"/>
              <a:gd name="connsiteY6-2714" fmla="*/ 0 h 1215483"/>
              <a:gd name="connsiteX7-2715" fmla="*/ 345687 w 1683834"/>
              <a:gd name="connsiteY7-2716" fmla="*/ 312234 h 1215483"/>
              <a:gd name="connsiteX8-2717" fmla="*/ 457200 w 1683834"/>
              <a:gd name="connsiteY8-2718" fmla="*/ 245327 h 1215483"/>
              <a:gd name="connsiteX9-2719" fmla="*/ 379141 w 1683834"/>
              <a:gd name="connsiteY9-2720" fmla="*/ 390293 h 1215483"/>
              <a:gd name="connsiteX10-2721" fmla="*/ 301083 w 1683834"/>
              <a:gd name="connsiteY10-2722" fmla="*/ 512956 h 1215483"/>
              <a:gd name="connsiteX11-2723" fmla="*/ 301083 w 1683834"/>
              <a:gd name="connsiteY11-2724" fmla="*/ 512956 h 1215483"/>
              <a:gd name="connsiteX12-2725" fmla="*/ 245327 w 1683834"/>
              <a:gd name="connsiteY12-2726" fmla="*/ 579863 h 1215483"/>
              <a:gd name="connsiteX13-2727" fmla="*/ 234175 w 1683834"/>
              <a:gd name="connsiteY13-2728" fmla="*/ 669073 h 1215483"/>
              <a:gd name="connsiteX14-2729" fmla="*/ 234175 w 1683834"/>
              <a:gd name="connsiteY14-2730" fmla="*/ 669073 h 1215483"/>
              <a:gd name="connsiteX15-2731" fmla="*/ 144966 w 1683834"/>
              <a:gd name="connsiteY15-2732" fmla="*/ 758283 h 1215483"/>
              <a:gd name="connsiteX16-2733" fmla="*/ 66907 w 1683834"/>
              <a:gd name="connsiteY16-2734" fmla="*/ 802888 h 1215483"/>
              <a:gd name="connsiteX17-2735" fmla="*/ 55756 w 1683834"/>
              <a:gd name="connsiteY17-2736" fmla="*/ 892097 h 1215483"/>
              <a:gd name="connsiteX18-2737" fmla="*/ 44605 w 1683834"/>
              <a:gd name="connsiteY18-2738" fmla="*/ 1092819 h 1215483"/>
              <a:gd name="connsiteX0-2739" fmla="*/ 0 w 1683834"/>
              <a:gd name="connsiteY0-2740" fmla="*/ 970156 h 970156"/>
              <a:gd name="connsiteX1-2741" fmla="*/ 55756 w 1683834"/>
              <a:gd name="connsiteY1-2742" fmla="*/ 791736 h 970156"/>
              <a:gd name="connsiteX2-2743" fmla="*/ 1349297 w 1683834"/>
              <a:gd name="connsiteY2-2744" fmla="*/ 791736 h 970156"/>
              <a:gd name="connsiteX3-2745" fmla="*/ 1304692 w 1683834"/>
              <a:gd name="connsiteY3-2746" fmla="*/ 323385 h 970156"/>
              <a:gd name="connsiteX4-2747" fmla="*/ 1471961 w 1683834"/>
              <a:gd name="connsiteY4-2748" fmla="*/ 189570 h 970156"/>
              <a:gd name="connsiteX5-2749" fmla="*/ 1683834 w 1683834"/>
              <a:gd name="connsiteY5-2750" fmla="*/ 133814 h 970156"/>
              <a:gd name="connsiteX6-2751" fmla="*/ 345687 w 1683834"/>
              <a:gd name="connsiteY6-2752" fmla="*/ 66907 h 970156"/>
              <a:gd name="connsiteX7-2753" fmla="*/ 457200 w 1683834"/>
              <a:gd name="connsiteY7-2754" fmla="*/ 0 h 970156"/>
              <a:gd name="connsiteX8-2755" fmla="*/ 379141 w 1683834"/>
              <a:gd name="connsiteY8-2756" fmla="*/ 144966 h 970156"/>
              <a:gd name="connsiteX9-2757" fmla="*/ 301083 w 1683834"/>
              <a:gd name="connsiteY9-2758" fmla="*/ 267629 h 970156"/>
              <a:gd name="connsiteX10-2759" fmla="*/ 301083 w 1683834"/>
              <a:gd name="connsiteY10-2760" fmla="*/ 267629 h 970156"/>
              <a:gd name="connsiteX11-2761" fmla="*/ 245327 w 1683834"/>
              <a:gd name="connsiteY11-2762" fmla="*/ 334536 h 970156"/>
              <a:gd name="connsiteX12-2763" fmla="*/ 234175 w 1683834"/>
              <a:gd name="connsiteY12-2764" fmla="*/ 423746 h 970156"/>
              <a:gd name="connsiteX13-2765" fmla="*/ 234175 w 1683834"/>
              <a:gd name="connsiteY13-2766" fmla="*/ 423746 h 970156"/>
              <a:gd name="connsiteX14-2767" fmla="*/ 144966 w 1683834"/>
              <a:gd name="connsiteY14-2768" fmla="*/ 512956 h 970156"/>
              <a:gd name="connsiteX15-2769" fmla="*/ 66907 w 1683834"/>
              <a:gd name="connsiteY15-2770" fmla="*/ 557561 h 970156"/>
              <a:gd name="connsiteX16-2771" fmla="*/ 55756 w 1683834"/>
              <a:gd name="connsiteY16-2772" fmla="*/ 646770 h 970156"/>
              <a:gd name="connsiteX17-2773" fmla="*/ 44605 w 1683834"/>
              <a:gd name="connsiteY17-2774" fmla="*/ 847492 h 970156"/>
              <a:gd name="connsiteX0-2775" fmla="*/ 0 w 1683834"/>
              <a:gd name="connsiteY0-2776" fmla="*/ 970156 h 970156"/>
              <a:gd name="connsiteX1-2777" fmla="*/ 55756 w 1683834"/>
              <a:gd name="connsiteY1-2778" fmla="*/ 791736 h 970156"/>
              <a:gd name="connsiteX2-2779" fmla="*/ 1349297 w 1683834"/>
              <a:gd name="connsiteY2-2780" fmla="*/ 791736 h 970156"/>
              <a:gd name="connsiteX3-2781" fmla="*/ 1304692 w 1683834"/>
              <a:gd name="connsiteY3-2782" fmla="*/ 323385 h 970156"/>
              <a:gd name="connsiteX4-2783" fmla="*/ 1471961 w 1683834"/>
              <a:gd name="connsiteY4-2784" fmla="*/ 189570 h 970156"/>
              <a:gd name="connsiteX5-2785" fmla="*/ 1683834 w 1683834"/>
              <a:gd name="connsiteY5-2786" fmla="*/ 133814 h 970156"/>
              <a:gd name="connsiteX6-2787" fmla="*/ 1166259 w 1683834"/>
              <a:gd name="connsiteY6-2788" fmla="*/ 115752 h 970156"/>
              <a:gd name="connsiteX7-2789" fmla="*/ 345687 w 1683834"/>
              <a:gd name="connsiteY7-2790" fmla="*/ 66907 h 970156"/>
              <a:gd name="connsiteX8-2791" fmla="*/ 457200 w 1683834"/>
              <a:gd name="connsiteY8-2792" fmla="*/ 0 h 970156"/>
              <a:gd name="connsiteX9-2793" fmla="*/ 379141 w 1683834"/>
              <a:gd name="connsiteY9-2794" fmla="*/ 144966 h 970156"/>
              <a:gd name="connsiteX10-2795" fmla="*/ 301083 w 1683834"/>
              <a:gd name="connsiteY10-2796" fmla="*/ 267629 h 970156"/>
              <a:gd name="connsiteX11-2797" fmla="*/ 301083 w 1683834"/>
              <a:gd name="connsiteY11-2798" fmla="*/ 267629 h 970156"/>
              <a:gd name="connsiteX12-2799" fmla="*/ 245327 w 1683834"/>
              <a:gd name="connsiteY12-2800" fmla="*/ 334536 h 970156"/>
              <a:gd name="connsiteX13-2801" fmla="*/ 234175 w 1683834"/>
              <a:gd name="connsiteY13-2802" fmla="*/ 423746 h 970156"/>
              <a:gd name="connsiteX14-2803" fmla="*/ 234175 w 1683834"/>
              <a:gd name="connsiteY14-2804" fmla="*/ 423746 h 970156"/>
              <a:gd name="connsiteX15-2805" fmla="*/ 144966 w 1683834"/>
              <a:gd name="connsiteY15-2806" fmla="*/ 512956 h 970156"/>
              <a:gd name="connsiteX16-2807" fmla="*/ 66907 w 1683834"/>
              <a:gd name="connsiteY16-2808" fmla="*/ 557561 h 970156"/>
              <a:gd name="connsiteX17-2809" fmla="*/ 55756 w 1683834"/>
              <a:gd name="connsiteY17-2810" fmla="*/ 646770 h 970156"/>
              <a:gd name="connsiteX18-2811" fmla="*/ 44605 w 1683834"/>
              <a:gd name="connsiteY18-2812" fmla="*/ 847492 h 970156"/>
              <a:gd name="connsiteX0-2813" fmla="*/ 0 w 1683834"/>
              <a:gd name="connsiteY0-2814" fmla="*/ 970156 h 970156"/>
              <a:gd name="connsiteX1-2815" fmla="*/ 55756 w 1683834"/>
              <a:gd name="connsiteY1-2816" fmla="*/ 791736 h 970156"/>
              <a:gd name="connsiteX2-2817" fmla="*/ 1349297 w 1683834"/>
              <a:gd name="connsiteY2-2818" fmla="*/ 791736 h 970156"/>
              <a:gd name="connsiteX3-2819" fmla="*/ 1304692 w 1683834"/>
              <a:gd name="connsiteY3-2820" fmla="*/ 323385 h 970156"/>
              <a:gd name="connsiteX4-2821" fmla="*/ 1471961 w 1683834"/>
              <a:gd name="connsiteY4-2822" fmla="*/ 189570 h 970156"/>
              <a:gd name="connsiteX5-2823" fmla="*/ 1683834 w 1683834"/>
              <a:gd name="connsiteY5-2824" fmla="*/ 133814 h 970156"/>
              <a:gd name="connsiteX6-2825" fmla="*/ 1166259 w 1683834"/>
              <a:gd name="connsiteY6-2826" fmla="*/ 115752 h 970156"/>
              <a:gd name="connsiteX7-2827" fmla="*/ 345687 w 1683834"/>
              <a:gd name="connsiteY7-2828" fmla="*/ 66907 h 970156"/>
              <a:gd name="connsiteX8-2829" fmla="*/ 457200 w 1683834"/>
              <a:gd name="connsiteY8-2830" fmla="*/ 0 h 970156"/>
              <a:gd name="connsiteX9-2831" fmla="*/ 379141 w 1683834"/>
              <a:gd name="connsiteY9-2832" fmla="*/ 144966 h 970156"/>
              <a:gd name="connsiteX10-2833" fmla="*/ 301083 w 1683834"/>
              <a:gd name="connsiteY10-2834" fmla="*/ 267629 h 970156"/>
              <a:gd name="connsiteX11-2835" fmla="*/ 301083 w 1683834"/>
              <a:gd name="connsiteY11-2836" fmla="*/ 267629 h 970156"/>
              <a:gd name="connsiteX12-2837" fmla="*/ 245327 w 1683834"/>
              <a:gd name="connsiteY12-2838" fmla="*/ 334536 h 970156"/>
              <a:gd name="connsiteX13-2839" fmla="*/ 234175 w 1683834"/>
              <a:gd name="connsiteY13-2840" fmla="*/ 423746 h 970156"/>
              <a:gd name="connsiteX14-2841" fmla="*/ 234175 w 1683834"/>
              <a:gd name="connsiteY14-2842" fmla="*/ 423746 h 970156"/>
              <a:gd name="connsiteX15-2843" fmla="*/ 144966 w 1683834"/>
              <a:gd name="connsiteY15-2844" fmla="*/ 512956 h 970156"/>
              <a:gd name="connsiteX16-2845" fmla="*/ 66907 w 1683834"/>
              <a:gd name="connsiteY16-2846" fmla="*/ 557561 h 970156"/>
              <a:gd name="connsiteX17-2847" fmla="*/ 55756 w 1683834"/>
              <a:gd name="connsiteY17-2848" fmla="*/ 646770 h 970156"/>
              <a:gd name="connsiteX18-2849" fmla="*/ 44605 w 1683834"/>
              <a:gd name="connsiteY18-2850" fmla="*/ 847492 h 970156"/>
              <a:gd name="connsiteX0-2851" fmla="*/ 0 w 1683834"/>
              <a:gd name="connsiteY0-2852" fmla="*/ 1140152 h 1140152"/>
              <a:gd name="connsiteX1-2853" fmla="*/ 55756 w 1683834"/>
              <a:gd name="connsiteY1-2854" fmla="*/ 961732 h 1140152"/>
              <a:gd name="connsiteX2-2855" fmla="*/ 1349297 w 1683834"/>
              <a:gd name="connsiteY2-2856" fmla="*/ 961732 h 1140152"/>
              <a:gd name="connsiteX3-2857" fmla="*/ 1304692 w 1683834"/>
              <a:gd name="connsiteY3-2858" fmla="*/ 493381 h 1140152"/>
              <a:gd name="connsiteX4-2859" fmla="*/ 1471961 w 1683834"/>
              <a:gd name="connsiteY4-2860" fmla="*/ 359566 h 1140152"/>
              <a:gd name="connsiteX5-2861" fmla="*/ 1683834 w 1683834"/>
              <a:gd name="connsiteY5-2862" fmla="*/ 303810 h 1140152"/>
              <a:gd name="connsiteX6-2863" fmla="*/ 1666111 w 1683834"/>
              <a:gd name="connsiteY6-2864" fmla="*/ 0 h 1140152"/>
              <a:gd name="connsiteX7-2865" fmla="*/ 345687 w 1683834"/>
              <a:gd name="connsiteY7-2866" fmla="*/ 236903 h 1140152"/>
              <a:gd name="connsiteX8-2867" fmla="*/ 457200 w 1683834"/>
              <a:gd name="connsiteY8-2868" fmla="*/ 169996 h 1140152"/>
              <a:gd name="connsiteX9-2869" fmla="*/ 379141 w 1683834"/>
              <a:gd name="connsiteY9-2870" fmla="*/ 314962 h 1140152"/>
              <a:gd name="connsiteX10-2871" fmla="*/ 301083 w 1683834"/>
              <a:gd name="connsiteY10-2872" fmla="*/ 437625 h 1140152"/>
              <a:gd name="connsiteX11-2873" fmla="*/ 301083 w 1683834"/>
              <a:gd name="connsiteY11-2874" fmla="*/ 437625 h 1140152"/>
              <a:gd name="connsiteX12-2875" fmla="*/ 245327 w 1683834"/>
              <a:gd name="connsiteY12-2876" fmla="*/ 504532 h 1140152"/>
              <a:gd name="connsiteX13-2877" fmla="*/ 234175 w 1683834"/>
              <a:gd name="connsiteY13-2878" fmla="*/ 593742 h 1140152"/>
              <a:gd name="connsiteX14-2879" fmla="*/ 234175 w 1683834"/>
              <a:gd name="connsiteY14-2880" fmla="*/ 593742 h 1140152"/>
              <a:gd name="connsiteX15-2881" fmla="*/ 144966 w 1683834"/>
              <a:gd name="connsiteY15-2882" fmla="*/ 682952 h 1140152"/>
              <a:gd name="connsiteX16-2883" fmla="*/ 66907 w 1683834"/>
              <a:gd name="connsiteY16-2884" fmla="*/ 727557 h 1140152"/>
              <a:gd name="connsiteX17-2885" fmla="*/ 55756 w 1683834"/>
              <a:gd name="connsiteY17-2886" fmla="*/ 816766 h 1140152"/>
              <a:gd name="connsiteX18-2887" fmla="*/ 44605 w 1683834"/>
              <a:gd name="connsiteY18-2888" fmla="*/ 1017488 h 1140152"/>
              <a:gd name="connsiteX0-2889" fmla="*/ 0 w 1683834"/>
              <a:gd name="connsiteY0-2890" fmla="*/ 1206290 h 1206290"/>
              <a:gd name="connsiteX1-2891" fmla="*/ 55756 w 1683834"/>
              <a:gd name="connsiteY1-2892" fmla="*/ 1027870 h 1206290"/>
              <a:gd name="connsiteX2-2893" fmla="*/ 1349297 w 1683834"/>
              <a:gd name="connsiteY2-2894" fmla="*/ 1027870 h 1206290"/>
              <a:gd name="connsiteX3-2895" fmla="*/ 1304692 w 1683834"/>
              <a:gd name="connsiteY3-2896" fmla="*/ 559519 h 1206290"/>
              <a:gd name="connsiteX4-2897" fmla="*/ 1471961 w 1683834"/>
              <a:gd name="connsiteY4-2898" fmla="*/ 425704 h 1206290"/>
              <a:gd name="connsiteX5-2899" fmla="*/ 1683834 w 1683834"/>
              <a:gd name="connsiteY5-2900" fmla="*/ 369948 h 1206290"/>
              <a:gd name="connsiteX6-2901" fmla="*/ 1666111 w 1683834"/>
              <a:gd name="connsiteY6-2902" fmla="*/ 66138 h 1206290"/>
              <a:gd name="connsiteX7-2903" fmla="*/ 345687 w 1683834"/>
              <a:gd name="connsiteY7-2904" fmla="*/ 303041 h 1206290"/>
              <a:gd name="connsiteX8-2905" fmla="*/ 457200 w 1683834"/>
              <a:gd name="connsiteY8-2906" fmla="*/ 236134 h 1206290"/>
              <a:gd name="connsiteX9-2907" fmla="*/ 379141 w 1683834"/>
              <a:gd name="connsiteY9-2908" fmla="*/ 381100 h 1206290"/>
              <a:gd name="connsiteX10-2909" fmla="*/ 301083 w 1683834"/>
              <a:gd name="connsiteY10-2910" fmla="*/ 503763 h 1206290"/>
              <a:gd name="connsiteX11-2911" fmla="*/ 301083 w 1683834"/>
              <a:gd name="connsiteY11-2912" fmla="*/ 503763 h 1206290"/>
              <a:gd name="connsiteX12-2913" fmla="*/ 245327 w 1683834"/>
              <a:gd name="connsiteY12-2914" fmla="*/ 570670 h 1206290"/>
              <a:gd name="connsiteX13-2915" fmla="*/ 234175 w 1683834"/>
              <a:gd name="connsiteY13-2916" fmla="*/ 659880 h 1206290"/>
              <a:gd name="connsiteX14-2917" fmla="*/ 234175 w 1683834"/>
              <a:gd name="connsiteY14-2918" fmla="*/ 659880 h 1206290"/>
              <a:gd name="connsiteX15-2919" fmla="*/ 144966 w 1683834"/>
              <a:gd name="connsiteY15-2920" fmla="*/ 749090 h 1206290"/>
              <a:gd name="connsiteX16-2921" fmla="*/ 66907 w 1683834"/>
              <a:gd name="connsiteY16-2922" fmla="*/ 793695 h 1206290"/>
              <a:gd name="connsiteX17-2923" fmla="*/ 55756 w 1683834"/>
              <a:gd name="connsiteY17-2924" fmla="*/ 882904 h 1206290"/>
              <a:gd name="connsiteX18-2925" fmla="*/ 44605 w 1683834"/>
              <a:gd name="connsiteY18-2926" fmla="*/ 1083626 h 1206290"/>
              <a:gd name="connsiteX0-2927" fmla="*/ 0 w 1683834"/>
              <a:gd name="connsiteY0-2928" fmla="*/ 1140152 h 1140152"/>
              <a:gd name="connsiteX1-2929" fmla="*/ 55756 w 1683834"/>
              <a:gd name="connsiteY1-2930" fmla="*/ 961732 h 1140152"/>
              <a:gd name="connsiteX2-2931" fmla="*/ 1349297 w 1683834"/>
              <a:gd name="connsiteY2-2932" fmla="*/ 961732 h 1140152"/>
              <a:gd name="connsiteX3-2933" fmla="*/ 1304692 w 1683834"/>
              <a:gd name="connsiteY3-2934" fmla="*/ 493381 h 1140152"/>
              <a:gd name="connsiteX4-2935" fmla="*/ 1471961 w 1683834"/>
              <a:gd name="connsiteY4-2936" fmla="*/ 359566 h 1140152"/>
              <a:gd name="connsiteX5-2937" fmla="*/ 1683834 w 1683834"/>
              <a:gd name="connsiteY5-2938" fmla="*/ 303810 h 1140152"/>
              <a:gd name="connsiteX6-2939" fmla="*/ 1666111 w 1683834"/>
              <a:gd name="connsiteY6-2940" fmla="*/ 0 h 1140152"/>
              <a:gd name="connsiteX7-2941" fmla="*/ 345687 w 1683834"/>
              <a:gd name="connsiteY7-2942" fmla="*/ 236903 h 1140152"/>
              <a:gd name="connsiteX8-2943" fmla="*/ 457200 w 1683834"/>
              <a:gd name="connsiteY8-2944" fmla="*/ 169996 h 1140152"/>
              <a:gd name="connsiteX9-2945" fmla="*/ 379141 w 1683834"/>
              <a:gd name="connsiteY9-2946" fmla="*/ 314962 h 1140152"/>
              <a:gd name="connsiteX10-2947" fmla="*/ 301083 w 1683834"/>
              <a:gd name="connsiteY10-2948" fmla="*/ 437625 h 1140152"/>
              <a:gd name="connsiteX11-2949" fmla="*/ 301083 w 1683834"/>
              <a:gd name="connsiteY11-2950" fmla="*/ 437625 h 1140152"/>
              <a:gd name="connsiteX12-2951" fmla="*/ 245327 w 1683834"/>
              <a:gd name="connsiteY12-2952" fmla="*/ 504532 h 1140152"/>
              <a:gd name="connsiteX13-2953" fmla="*/ 234175 w 1683834"/>
              <a:gd name="connsiteY13-2954" fmla="*/ 593742 h 1140152"/>
              <a:gd name="connsiteX14-2955" fmla="*/ 234175 w 1683834"/>
              <a:gd name="connsiteY14-2956" fmla="*/ 593742 h 1140152"/>
              <a:gd name="connsiteX15-2957" fmla="*/ 144966 w 1683834"/>
              <a:gd name="connsiteY15-2958" fmla="*/ 682952 h 1140152"/>
              <a:gd name="connsiteX16-2959" fmla="*/ 66907 w 1683834"/>
              <a:gd name="connsiteY16-2960" fmla="*/ 727557 h 1140152"/>
              <a:gd name="connsiteX17-2961" fmla="*/ 55756 w 1683834"/>
              <a:gd name="connsiteY17-2962" fmla="*/ 816766 h 1140152"/>
              <a:gd name="connsiteX18-2963" fmla="*/ 44605 w 1683834"/>
              <a:gd name="connsiteY18-2964" fmla="*/ 1017488 h 1140152"/>
              <a:gd name="connsiteX0-2965" fmla="*/ 0 w 1683834"/>
              <a:gd name="connsiteY0-2966" fmla="*/ 1140152 h 1140152"/>
              <a:gd name="connsiteX1-2967" fmla="*/ 55756 w 1683834"/>
              <a:gd name="connsiteY1-2968" fmla="*/ 961732 h 1140152"/>
              <a:gd name="connsiteX2-2969" fmla="*/ 1349297 w 1683834"/>
              <a:gd name="connsiteY2-2970" fmla="*/ 961732 h 1140152"/>
              <a:gd name="connsiteX3-2971" fmla="*/ 1304692 w 1683834"/>
              <a:gd name="connsiteY3-2972" fmla="*/ 493381 h 1140152"/>
              <a:gd name="connsiteX4-2973" fmla="*/ 1471961 w 1683834"/>
              <a:gd name="connsiteY4-2974" fmla="*/ 359566 h 1140152"/>
              <a:gd name="connsiteX5-2975" fmla="*/ 1683834 w 1683834"/>
              <a:gd name="connsiteY5-2976" fmla="*/ 303810 h 1140152"/>
              <a:gd name="connsiteX6-2977" fmla="*/ 1666111 w 1683834"/>
              <a:gd name="connsiteY6-2978" fmla="*/ 0 h 1140152"/>
              <a:gd name="connsiteX7-2979" fmla="*/ 827849 w 1683834"/>
              <a:gd name="connsiteY7-2980" fmla="*/ 143267 h 1140152"/>
              <a:gd name="connsiteX8-2981" fmla="*/ 345687 w 1683834"/>
              <a:gd name="connsiteY8-2982" fmla="*/ 236903 h 1140152"/>
              <a:gd name="connsiteX9-2983" fmla="*/ 457200 w 1683834"/>
              <a:gd name="connsiteY9-2984" fmla="*/ 169996 h 1140152"/>
              <a:gd name="connsiteX10-2985" fmla="*/ 379141 w 1683834"/>
              <a:gd name="connsiteY10-2986" fmla="*/ 314962 h 1140152"/>
              <a:gd name="connsiteX11-2987" fmla="*/ 301083 w 1683834"/>
              <a:gd name="connsiteY11-2988" fmla="*/ 437625 h 1140152"/>
              <a:gd name="connsiteX12-2989" fmla="*/ 301083 w 1683834"/>
              <a:gd name="connsiteY12-2990" fmla="*/ 437625 h 1140152"/>
              <a:gd name="connsiteX13-2991" fmla="*/ 245327 w 1683834"/>
              <a:gd name="connsiteY13-2992" fmla="*/ 504532 h 1140152"/>
              <a:gd name="connsiteX14-2993" fmla="*/ 234175 w 1683834"/>
              <a:gd name="connsiteY14-2994" fmla="*/ 593742 h 1140152"/>
              <a:gd name="connsiteX15-2995" fmla="*/ 234175 w 1683834"/>
              <a:gd name="connsiteY15-2996" fmla="*/ 593742 h 1140152"/>
              <a:gd name="connsiteX16-2997" fmla="*/ 144966 w 1683834"/>
              <a:gd name="connsiteY16-2998" fmla="*/ 682952 h 1140152"/>
              <a:gd name="connsiteX17-2999" fmla="*/ 66907 w 1683834"/>
              <a:gd name="connsiteY17-3000" fmla="*/ 727557 h 1140152"/>
              <a:gd name="connsiteX18-3001" fmla="*/ 55756 w 1683834"/>
              <a:gd name="connsiteY18-3002" fmla="*/ 816766 h 1140152"/>
              <a:gd name="connsiteX19-3003" fmla="*/ 44605 w 1683834"/>
              <a:gd name="connsiteY19-3004" fmla="*/ 1017488 h 1140152"/>
              <a:gd name="connsiteX0-3005" fmla="*/ 0 w 1683834"/>
              <a:gd name="connsiteY0-3006" fmla="*/ 1140152 h 1140152"/>
              <a:gd name="connsiteX1-3007" fmla="*/ 55756 w 1683834"/>
              <a:gd name="connsiteY1-3008" fmla="*/ 961732 h 1140152"/>
              <a:gd name="connsiteX2-3009" fmla="*/ 1349297 w 1683834"/>
              <a:gd name="connsiteY2-3010" fmla="*/ 961732 h 1140152"/>
              <a:gd name="connsiteX3-3011" fmla="*/ 1304692 w 1683834"/>
              <a:gd name="connsiteY3-3012" fmla="*/ 493381 h 1140152"/>
              <a:gd name="connsiteX4-3013" fmla="*/ 1471961 w 1683834"/>
              <a:gd name="connsiteY4-3014" fmla="*/ 359566 h 1140152"/>
              <a:gd name="connsiteX5-3015" fmla="*/ 1683834 w 1683834"/>
              <a:gd name="connsiteY5-3016" fmla="*/ 303810 h 1140152"/>
              <a:gd name="connsiteX6-3017" fmla="*/ 1666111 w 1683834"/>
              <a:gd name="connsiteY6-3018" fmla="*/ 0 h 1140152"/>
              <a:gd name="connsiteX7-3019" fmla="*/ 970587 w 1683834"/>
              <a:gd name="connsiteY7-3020" fmla="*/ 367 h 1140152"/>
              <a:gd name="connsiteX8-3021" fmla="*/ 345687 w 1683834"/>
              <a:gd name="connsiteY8-3022" fmla="*/ 236903 h 1140152"/>
              <a:gd name="connsiteX9-3023" fmla="*/ 457200 w 1683834"/>
              <a:gd name="connsiteY9-3024" fmla="*/ 169996 h 1140152"/>
              <a:gd name="connsiteX10-3025" fmla="*/ 379141 w 1683834"/>
              <a:gd name="connsiteY10-3026" fmla="*/ 314962 h 1140152"/>
              <a:gd name="connsiteX11-3027" fmla="*/ 301083 w 1683834"/>
              <a:gd name="connsiteY11-3028" fmla="*/ 437625 h 1140152"/>
              <a:gd name="connsiteX12-3029" fmla="*/ 301083 w 1683834"/>
              <a:gd name="connsiteY12-3030" fmla="*/ 437625 h 1140152"/>
              <a:gd name="connsiteX13-3031" fmla="*/ 245327 w 1683834"/>
              <a:gd name="connsiteY13-3032" fmla="*/ 504532 h 1140152"/>
              <a:gd name="connsiteX14-3033" fmla="*/ 234175 w 1683834"/>
              <a:gd name="connsiteY14-3034" fmla="*/ 593742 h 1140152"/>
              <a:gd name="connsiteX15-3035" fmla="*/ 234175 w 1683834"/>
              <a:gd name="connsiteY15-3036" fmla="*/ 593742 h 1140152"/>
              <a:gd name="connsiteX16-3037" fmla="*/ 144966 w 1683834"/>
              <a:gd name="connsiteY16-3038" fmla="*/ 682952 h 1140152"/>
              <a:gd name="connsiteX17-3039" fmla="*/ 66907 w 1683834"/>
              <a:gd name="connsiteY17-3040" fmla="*/ 727557 h 1140152"/>
              <a:gd name="connsiteX18-3041" fmla="*/ 55756 w 1683834"/>
              <a:gd name="connsiteY18-3042" fmla="*/ 816766 h 1140152"/>
              <a:gd name="connsiteX19-3043" fmla="*/ 44605 w 1683834"/>
              <a:gd name="connsiteY19-3044" fmla="*/ 1017488 h 1140152"/>
              <a:gd name="connsiteX0-3045" fmla="*/ 0 w 1683834"/>
              <a:gd name="connsiteY0-3046" fmla="*/ 1360400 h 1360400"/>
              <a:gd name="connsiteX1-3047" fmla="*/ 55756 w 1683834"/>
              <a:gd name="connsiteY1-3048" fmla="*/ 1181980 h 1360400"/>
              <a:gd name="connsiteX2-3049" fmla="*/ 1349297 w 1683834"/>
              <a:gd name="connsiteY2-3050" fmla="*/ 1181980 h 1360400"/>
              <a:gd name="connsiteX3-3051" fmla="*/ 1304692 w 1683834"/>
              <a:gd name="connsiteY3-3052" fmla="*/ 713629 h 1360400"/>
              <a:gd name="connsiteX4-3053" fmla="*/ 1471961 w 1683834"/>
              <a:gd name="connsiteY4-3054" fmla="*/ 579814 h 1360400"/>
              <a:gd name="connsiteX5-3055" fmla="*/ 1683834 w 1683834"/>
              <a:gd name="connsiteY5-3056" fmla="*/ 524058 h 1360400"/>
              <a:gd name="connsiteX6-3057" fmla="*/ 1666111 w 1683834"/>
              <a:gd name="connsiteY6-3058" fmla="*/ 220248 h 1360400"/>
              <a:gd name="connsiteX7-3059" fmla="*/ 970587 w 1683834"/>
              <a:gd name="connsiteY7-3060" fmla="*/ 220615 h 1360400"/>
              <a:gd name="connsiteX8-3061" fmla="*/ 345687 w 1683834"/>
              <a:gd name="connsiteY8-3062" fmla="*/ 457151 h 1360400"/>
              <a:gd name="connsiteX9-3063" fmla="*/ 457200 w 1683834"/>
              <a:gd name="connsiteY9-3064" fmla="*/ 390244 h 1360400"/>
              <a:gd name="connsiteX10-3065" fmla="*/ 379141 w 1683834"/>
              <a:gd name="connsiteY10-3066" fmla="*/ 535210 h 1360400"/>
              <a:gd name="connsiteX11-3067" fmla="*/ 301083 w 1683834"/>
              <a:gd name="connsiteY11-3068" fmla="*/ 657873 h 1360400"/>
              <a:gd name="connsiteX12-3069" fmla="*/ 301083 w 1683834"/>
              <a:gd name="connsiteY12-3070" fmla="*/ 657873 h 1360400"/>
              <a:gd name="connsiteX13-3071" fmla="*/ 245327 w 1683834"/>
              <a:gd name="connsiteY13-3072" fmla="*/ 724780 h 1360400"/>
              <a:gd name="connsiteX14-3073" fmla="*/ 234175 w 1683834"/>
              <a:gd name="connsiteY14-3074" fmla="*/ 813990 h 1360400"/>
              <a:gd name="connsiteX15-3075" fmla="*/ 234175 w 1683834"/>
              <a:gd name="connsiteY15-3076" fmla="*/ 813990 h 1360400"/>
              <a:gd name="connsiteX16-3077" fmla="*/ 144966 w 1683834"/>
              <a:gd name="connsiteY16-3078" fmla="*/ 903200 h 1360400"/>
              <a:gd name="connsiteX17-3079" fmla="*/ 66907 w 1683834"/>
              <a:gd name="connsiteY17-3080" fmla="*/ 947805 h 1360400"/>
              <a:gd name="connsiteX18-3081" fmla="*/ 55756 w 1683834"/>
              <a:gd name="connsiteY18-3082" fmla="*/ 1037014 h 1360400"/>
              <a:gd name="connsiteX19-3083" fmla="*/ 44605 w 1683834"/>
              <a:gd name="connsiteY19-3084" fmla="*/ 1237736 h 1360400"/>
              <a:gd name="connsiteX0-3085" fmla="*/ 0 w 1683834"/>
              <a:gd name="connsiteY0-3086" fmla="*/ 1360436 h 1360436"/>
              <a:gd name="connsiteX1-3087" fmla="*/ 55756 w 1683834"/>
              <a:gd name="connsiteY1-3088" fmla="*/ 1182016 h 1360436"/>
              <a:gd name="connsiteX2-3089" fmla="*/ 1349297 w 1683834"/>
              <a:gd name="connsiteY2-3090" fmla="*/ 1182016 h 1360436"/>
              <a:gd name="connsiteX3-3091" fmla="*/ 1304692 w 1683834"/>
              <a:gd name="connsiteY3-3092" fmla="*/ 713665 h 1360436"/>
              <a:gd name="connsiteX4-3093" fmla="*/ 1471961 w 1683834"/>
              <a:gd name="connsiteY4-3094" fmla="*/ 579850 h 1360436"/>
              <a:gd name="connsiteX5-3095" fmla="*/ 1683834 w 1683834"/>
              <a:gd name="connsiteY5-3096" fmla="*/ 524094 h 1360436"/>
              <a:gd name="connsiteX6-3097" fmla="*/ 1666111 w 1683834"/>
              <a:gd name="connsiteY6-3098" fmla="*/ 220284 h 1360436"/>
              <a:gd name="connsiteX7-3099" fmla="*/ 970481 w 1683834"/>
              <a:gd name="connsiteY7-3100" fmla="*/ 220615 h 1360436"/>
              <a:gd name="connsiteX8-3101" fmla="*/ 345687 w 1683834"/>
              <a:gd name="connsiteY8-3102" fmla="*/ 457187 h 1360436"/>
              <a:gd name="connsiteX9-3103" fmla="*/ 457200 w 1683834"/>
              <a:gd name="connsiteY9-3104" fmla="*/ 390280 h 1360436"/>
              <a:gd name="connsiteX10-3105" fmla="*/ 379141 w 1683834"/>
              <a:gd name="connsiteY10-3106" fmla="*/ 535246 h 1360436"/>
              <a:gd name="connsiteX11-3107" fmla="*/ 301083 w 1683834"/>
              <a:gd name="connsiteY11-3108" fmla="*/ 657909 h 1360436"/>
              <a:gd name="connsiteX12-3109" fmla="*/ 301083 w 1683834"/>
              <a:gd name="connsiteY12-3110" fmla="*/ 657909 h 1360436"/>
              <a:gd name="connsiteX13-3111" fmla="*/ 245327 w 1683834"/>
              <a:gd name="connsiteY13-3112" fmla="*/ 724816 h 1360436"/>
              <a:gd name="connsiteX14-3113" fmla="*/ 234175 w 1683834"/>
              <a:gd name="connsiteY14-3114" fmla="*/ 814026 h 1360436"/>
              <a:gd name="connsiteX15-3115" fmla="*/ 234175 w 1683834"/>
              <a:gd name="connsiteY15-3116" fmla="*/ 814026 h 1360436"/>
              <a:gd name="connsiteX16-3117" fmla="*/ 144966 w 1683834"/>
              <a:gd name="connsiteY16-3118" fmla="*/ 903236 h 1360436"/>
              <a:gd name="connsiteX17-3119" fmla="*/ 66907 w 1683834"/>
              <a:gd name="connsiteY17-3120" fmla="*/ 947841 h 1360436"/>
              <a:gd name="connsiteX18-3121" fmla="*/ 55756 w 1683834"/>
              <a:gd name="connsiteY18-3122" fmla="*/ 1037050 h 1360436"/>
              <a:gd name="connsiteX19-3123" fmla="*/ 44605 w 1683834"/>
              <a:gd name="connsiteY19-3124" fmla="*/ 1237772 h 1360436"/>
              <a:gd name="connsiteX0-3125" fmla="*/ 0 w 1683834"/>
              <a:gd name="connsiteY0-3126" fmla="*/ 1360436 h 1360436"/>
              <a:gd name="connsiteX1-3127" fmla="*/ 55756 w 1683834"/>
              <a:gd name="connsiteY1-3128" fmla="*/ 1182016 h 1360436"/>
              <a:gd name="connsiteX2-3129" fmla="*/ 1349297 w 1683834"/>
              <a:gd name="connsiteY2-3130" fmla="*/ 1182016 h 1360436"/>
              <a:gd name="connsiteX3-3131" fmla="*/ 1304692 w 1683834"/>
              <a:gd name="connsiteY3-3132" fmla="*/ 713665 h 1360436"/>
              <a:gd name="connsiteX4-3133" fmla="*/ 1471961 w 1683834"/>
              <a:gd name="connsiteY4-3134" fmla="*/ 579850 h 1360436"/>
              <a:gd name="connsiteX5-3135" fmla="*/ 1683834 w 1683834"/>
              <a:gd name="connsiteY5-3136" fmla="*/ 524094 h 1360436"/>
              <a:gd name="connsiteX6-3137" fmla="*/ 1666111 w 1683834"/>
              <a:gd name="connsiteY6-3138" fmla="*/ 220284 h 1360436"/>
              <a:gd name="connsiteX7-3139" fmla="*/ 970481 w 1683834"/>
              <a:gd name="connsiteY7-3140" fmla="*/ 220615 h 1360436"/>
              <a:gd name="connsiteX8-3141" fmla="*/ 345687 w 1683834"/>
              <a:gd name="connsiteY8-3142" fmla="*/ 457187 h 1360436"/>
              <a:gd name="connsiteX9-3143" fmla="*/ 457200 w 1683834"/>
              <a:gd name="connsiteY9-3144" fmla="*/ 390280 h 1360436"/>
              <a:gd name="connsiteX10-3145" fmla="*/ 379141 w 1683834"/>
              <a:gd name="connsiteY10-3146" fmla="*/ 535246 h 1360436"/>
              <a:gd name="connsiteX11-3147" fmla="*/ 301083 w 1683834"/>
              <a:gd name="connsiteY11-3148" fmla="*/ 657909 h 1360436"/>
              <a:gd name="connsiteX12-3149" fmla="*/ 301083 w 1683834"/>
              <a:gd name="connsiteY12-3150" fmla="*/ 657909 h 1360436"/>
              <a:gd name="connsiteX13-3151" fmla="*/ 245327 w 1683834"/>
              <a:gd name="connsiteY13-3152" fmla="*/ 724816 h 1360436"/>
              <a:gd name="connsiteX14-3153" fmla="*/ 234175 w 1683834"/>
              <a:gd name="connsiteY14-3154" fmla="*/ 814026 h 1360436"/>
              <a:gd name="connsiteX15-3155" fmla="*/ 234175 w 1683834"/>
              <a:gd name="connsiteY15-3156" fmla="*/ 814026 h 1360436"/>
              <a:gd name="connsiteX16-3157" fmla="*/ 144966 w 1683834"/>
              <a:gd name="connsiteY16-3158" fmla="*/ 903236 h 1360436"/>
              <a:gd name="connsiteX17-3159" fmla="*/ 66907 w 1683834"/>
              <a:gd name="connsiteY17-3160" fmla="*/ 947841 h 1360436"/>
              <a:gd name="connsiteX18-3161" fmla="*/ 55756 w 1683834"/>
              <a:gd name="connsiteY18-3162" fmla="*/ 1037050 h 1360436"/>
              <a:gd name="connsiteX19-3163" fmla="*/ 44605 w 1683834"/>
              <a:gd name="connsiteY19-3164" fmla="*/ 1237772 h 1360436"/>
              <a:gd name="connsiteX20-3165" fmla="*/ 0 w 1683834"/>
              <a:gd name="connsiteY20-3166" fmla="*/ 1360436 h 1360436"/>
              <a:gd name="connsiteX0-3167" fmla="*/ 0 w 1683834"/>
              <a:gd name="connsiteY0-3168" fmla="*/ 1360472 h 1360472"/>
              <a:gd name="connsiteX1-3169" fmla="*/ 55756 w 1683834"/>
              <a:gd name="connsiteY1-3170" fmla="*/ 1182052 h 1360472"/>
              <a:gd name="connsiteX2-3171" fmla="*/ 1349297 w 1683834"/>
              <a:gd name="connsiteY2-3172" fmla="*/ 1182052 h 1360472"/>
              <a:gd name="connsiteX3-3173" fmla="*/ 1304692 w 1683834"/>
              <a:gd name="connsiteY3-3174" fmla="*/ 713701 h 1360472"/>
              <a:gd name="connsiteX4-3175" fmla="*/ 1471961 w 1683834"/>
              <a:gd name="connsiteY4-3176" fmla="*/ 579886 h 1360472"/>
              <a:gd name="connsiteX5-3177" fmla="*/ 1683834 w 1683834"/>
              <a:gd name="connsiteY5-3178" fmla="*/ 524130 h 1360472"/>
              <a:gd name="connsiteX6-3179" fmla="*/ 1666111 w 1683834"/>
              <a:gd name="connsiteY6-3180" fmla="*/ 220320 h 1360472"/>
              <a:gd name="connsiteX7-3181" fmla="*/ 970375 w 1683834"/>
              <a:gd name="connsiteY7-3182" fmla="*/ 220615 h 1360472"/>
              <a:gd name="connsiteX8-3183" fmla="*/ 345687 w 1683834"/>
              <a:gd name="connsiteY8-3184" fmla="*/ 457223 h 1360472"/>
              <a:gd name="connsiteX9-3185" fmla="*/ 457200 w 1683834"/>
              <a:gd name="connsiteY9-3186" fmla="*/ 390316 h 1360472"/>
              <a:gd name="connsiteX10-3187" fmla="*/ 379141 w 1683834"/>
              <a:gd name="connsiteY10-3188" fmla="*/ 535282 h 1360472"/>
              <a:gd name="connsiteX11-3189" fmla="*/ 301083 w 1683834"/>
              <a:gd name="connsiteY11-3190" fmla="*/ 657945 h 1360472"/>
              <a:gd name="connsiteX12-3191" fmla="*/ 301083 w 1683834"/>
              <a:gd name="connsiteY12-3192" fmla="*/ 657945 h 1360472"/>
              <a:gd name="connsiteX13-3193" fmla="*/ 245327 w 1683834"/>
              <a:gd name="connsiteY13-3194" fmla="*/ 724852 h 1360472"/>
              <a:gd name="connsiteX14-3195" fmla="*/ 234175 w 1683834"/>
              <a:gd name="connsiteY14-3196" fmla="*/ 814062 h 1360472"/>
              <a:gd name="connsiteX15-3197" fmla="*/ 234175 w 1683834"/>
              <a:gd name="connsiteY15-3198" fmla="*/ 814062 h 1360472"/>
              <a:gd name="connsiteX16-3199" fmla="*/ 144966 w 1683834"/>
              <a:gd name="connsiteY16-3200" fmla="*/ 903272 h 1360472"/>
              <a:gd name="connsiteX17-3201" fmla="*/ 66907 w 1683834"/>
              <a:gd name="connsiteY17-3202" fmla="*/ 947877 h 1360472"/>
              <a:gd name="connsiteX18-3203" fmla="*/ 55756 w 1683834"/>
              <a:gd name="connsiteY18-3204" fmla="*/ 1037086 h 1360472"/>
              <a:gd name="connsiteX19-3205" fmla="*/ 44605 w 1683834"/>
              <a:gd name="connsiteY19-3206" fmla="*/ 1237808 h 1360472"/>
              <a:gd name="connsiteX20-3207" fmla="*/ 0 w 1683834"/>
              <a:gd name="connsiteY20-3208" fmla="*/ 1360472 h 1360472"/>
              <a:gd name="connsiteX0-3209" fmla="*/ 0 w 1683834"/>
              <a:gd name="connsiteY0-3210" fmla="*/ 1360472 h 1360472"/>
              <a:gd name="connsiteX1-3211" fmla="*/ 55756 w 1683834"/>
              <a:gd name="connsiteY1-3212" fmla="*/ 1182052 h 1360472"/>
              <a:gd name="connsiteX2-3213" fmla="*/ 1349297 w 1683834"/>
              <a:gd name="connsiteY2-3214" fmla="*/ 1182052 h 1360472"/>
              <a:gd name="connsiteX3-3215" fmla="*/ 1304692 w 1683834"/>
              <a:gd name="connsiteY3-3216" fmla="*/ 713701 h 1360472"/>
              <a:gd name="connsiteX4-3217" fmla="*/ 1471961 w 1683834"/>
              <a:gd name="connsiteY4-3218" fmla="*/ 579886 h 1360472"/>
              <a:gd name="connsiteX5-3219" fmla="*/ 1683834 w 1683834"/>
              <a:gd name="connsiteY5-3220" fmla="*/ 524130 h 1360472"/>
              <a:gd name="connsiteX6-3221" fmla="*/ 1666111 w 1683834"/>
              <a:gd name="connsiteY6-3222" fmla="*/ 220320 h 1360472"/>
              <a:gd name="connsiteX7-3223" fmla="*/ 970375 w 1683834"/>
              <a:gd name="connsiteY7-3224" fmla="*/ 220615 h 1360472"/>
              <a:gd name="connsiteX8-3225" fmla="*/ 345687 w 1683834"/>
              <a:gd name="connsiteY8-3226" fmla="*/ 457223 h 1360472"/>
              <a:gd name="connsiteX9-3227" fmla="*/ 457200 w 1683834"/>
              <a:gd name="connsiteY9-3228" fmla="*/ 390316 h 1360472"/>
              <a:gd name="connsiteX10-3229" fmla="*/ 379141 w 1683834"/>
              <a:gd name="connsiteY10-3230" fmla="*/ 535282 h 1360472"/>
              <a:gd name="connsiteX11-3231" fmla="*/ 301083 w 1683834"/>
              <a:gd name="connsiteY11-3232" fmla="*/ 657945 h 1360472"/>
              <a:gd name="connsiteX12-3233" fmla="*/ 301083 w 1683834"/>
              <a:gd name="connsiteY12-3234" fmla="*/ 657945 h 1360472"/>
              <a:gd name="connsiteX13-3235" fmla="*/ 245327 w 1683834"/>
              <a:gd name="connsiteY13-3236" fmla="*/ 724852 h 1360472"/>
              <a:gd name="connsiteX14-3237" fmla="*/ 234175 w 1683834"/>
              <a:gd name="connsiteY14-3238" fmla="*/ 814062 h 1360472"/>
              <a:gd name="connsiteX15-3239" fmla="*/ 234175 w 1683834"/>
              <a:gd name="connsiteY15-3240" fmla="*/ 814062 h 1360472"/>
              <a:gd name="connsiteX16-3241" fmla="*/ 144966 w 1683834"/>
              <a:gd name="connsiteY16-3242" fmla="*/ 903272 h 1360472"/>
              <a:gd name="connsiteX17-3243" fmla="*/ 66907 w 1683834"/>
              <a:gd name="connsiteY17-3244" fmla="*/ 947877 h 1360472"/>
              <a:gd name="connsiteX18-3245" fmla="*/ 55756 w 1683834"/>
              <a:gd name="connsiteY18-3246" fmla="*/ 1037086 h 1360472"/>
              <a:gd name="connsiteX19-3247" fmla="*/ 44605 w 1683834"/>
              <a:gd name="connsiteY19-3248" fmla="*/ 1237808 h 1360472"/>
              <a:gd name="connsiteX20-3249" fmla="*/ 0 w 1683834"/>
              <a:gd name="connsiteY20-3250" fmla="*/ 1360472 h 1360472"/>
              <a:gd name="connsiteX0-3251" fmla="*/ 0 w 1639229"/>
              <a:gd name="connsiteY0-3252" fmla="*/ 1237808 h 1237808"/>
              <a:gd name="connsiteX1-3253" fmla="*/ 11151 w 1639229"/>
              <a:gd name="connsiteY1-3254" fmla="*/ 1182052 h 1237808"/>
              <a:gd name="connsiteX2-3255" fmla="*/ 1304692 w 1639229"/>
              <a:gd name="connsiteY2-3256" fmla="*/ 1182052 h 1237808"/>
              <a:gd name="connsiteX3-3257" fmla="*/ 1260087 w 1639229"/>
              <a:gd name="connsiteY3-3258" fmla="*/ 713701 h 1237808"/>
              <a:gd name="connsiteX4-3259" fmla="*/ 1427356 w 1639229"/>
              <a:gd name="connsiteY4-3260" fmla="*/ 579886 h 1237808"/>
              <a:gd name="connsiteX5-3261" fmla="*/ 1639229 w 1639229"/>
              <a:gd name="connsiteY5-3262" fmla="*/ 524130 h 1237808"/>
              <a:gd name="connsiteX6-3263" fmla="*/ 1621506 w 1639229"/>
              <a:gd name="connsiteY6-3264" fmla="*/ 220320 h 1237808"/>
              <a:gd name="connsiteX7-3265" fmla="*/ 925770 w 1639229"/>
              <a:gd name="connsiteY7-3266" fmla="*/ 220615 h 1237808"/>
              <a:gd name="connsiteX8-3267" fmla="*/ 301082 w 1639229"/>
              <a:gd name="connsiteY8-3268" fmla="*/ 457223 h 1237808"/>
              <a:gd name="connsiteX9-3269" fmla="*/ 412595 w 1639229"/>
              <a:gd name="connsiteY9-3270" fmla="*/ 390316 h 1237808"/>
              <a:gd name="connsiteX10-3271" fmla="*/ 334536 w 1639229"/>
              <a:gd name="connsiteY10-3272" fmla="*/ 535282 h 1237808"/>
              <a:gd name="connsiteX11-3273" fmla="*/ 256478 w 1639229"/>
              <a:gd name="connsiteY11-3274" fmla="*/ 657945 h 1237808"/>
              <a:gd name="connsiteX12-3275" fmla="*/ 256478 w 1639229"/>
              <a:gd name="connsiteY12-3276" fmla="*/ 657945 h 1237808"/>
              <a:gd name="connsiteX13-3277" fmla="*/ 200722 w 1639229"/>
              <a:gd name="connsiteY13-3278" fmla="*/ 724852 h 1237808"/>
              <a:gd name="connsiteX14-3279" fmla="*/ 189570 w 1639229"/>
              <a:gd name="connsiteY14-3280" fmla="*/ 814062 h 1237808"/>
              <a:gd name="connsiteX15-3281" fmla="*/ 189570 w 1639229"/>
              <a:gd name="connsiteY15-3282" fmla="*/ 814062 h 1237808"/>
              <a:gd name="connsiteX16-3283" fmla="*/ 100361 w 1639229"/>
              <a:gd name="connsiteY16-3284" fmla="*/ 903272 h 1237808"/>
              <a:gd name="connsiteX17-3285" fmla="*/ 22302 w 1639229"/>
              <a:gd name="connsiteY17-3286" fmla="*/ 947877 h 1237808"/>
              <a:gd name="connsiteX18-3287" fmla="*/ 11151 w 1639229"/>
              <a:gd name="connsiteY18-3288" fmla="*/ 1037086 h 1237808"/>
              <a:gd name="connsiteX19-3289" fmla="*/ 0 w 1639229"/>
              <a:gd name="connsiteY19-3290" fmla="*/ 1237808 h 1237808"/>
              <a:gd name="connsiteX0-3291" fmla="*/ 1196 w 1640425"/>
              <a:gd name="connsiteY0-3292" fmla="*/ 1237808 h 1270860"/>
              <a:gd name="connsiteX1-3293" fmla="*/ 12347 w 1640425"/>
              <a:gd name="connsiteY1-3294" fmla="*/ 1182052 h 1270860"/>
              <a:gd name="connsiteX2-3295" fmla="*/ 1305888 w 1640425"/>
              <a:gd name="connsiteY2-3296" fmla="*/ 1182052 h 1270860"/>
              <a:gd name="connsiteX3-3297" fmla="*/ 1261283 w 1640425"/>
              <a:gd name="connsiteY3-3298" fmla="*/ 713701 h 1270860"/>
              <a:gd name="connsiteX4-3299" fmla="*/ 1428552 w 1640425"/>
              <a:gd name="connsiteY4-3300" fmla="*/ 579886 h 1270860"/>
              <a:gd name="connsiteX5-3301" fmla="*/ 1640425 w 1640425"/>
              <a:gd name="connsiteY5-3302" fmla="*/ 524130 h 1270860"/>
              <a:gd name="connsiteX6-3303" fmla="*/ 1622702 w 1640425"/>
              <a:gd name="connsiteY6-3304" fmla="*/ 220320 h 1270860"/>
              <a:gd name="connsiteX7-3305" fmla="*/ 926966 w 1640425"/>
              <a:gd name="connsiteY7-3306" fmla="*/ 220615 h 1270860"/>
              <a:gd name="connsiteX8-3307" fmla="*/ 302278 w 1640425"/>
              <a:gd name="connsiteY8-3308" fmla="*/ 457223 h 1270860"/>
              <a:gd name="connsiteX9-3309" fmla="*/ 413791 w 1640425"/>
              <a:gd name="connsiteY9-3310" fmla="*/ 390316 h 1270860"/>
              <a:gd name="connsiteX10-3311" fmla="*/ 335732 w 1640425"/>
              <a:gd name="connsiteY10-3312" fmla="*/ 535282 h 1270860"/>
              <a:gd name="connsiteX11-3313" fmla="*/ 257674 w 1640425"/>
              <a:gd name="connsiteY11-3314" fmla="*/ 657945 h 1270860"/>
              <a:gd name="connsiteX12-3315" fmla="*/ 257674 w 1640425"/>
              <a:gd name="connsiteY12-3316" fmla="*/ 657945 h 1270860"/>
              <a:gd name="connsiteX13-3317" fmla="*/ 201918 w 1640425"/>
              <a:gd name="connsiteY13-3318" fmla="*/ 724852 h 1270860"/>
              <a:gd name="connsiteX14-3319" fmla="*/ 190766 w 1640425"/>
              <a:gd name="connsiteY14-3320" fmla="*/ 814062 h 1270860"/>
              <a:gd name="connsiteX15-3321" fmla="*/ 190766 w 1640425"/>
              <a:gd name="connsiteY15-3322" fmla="*/ 814062 h 1270860"/>
              <a:gd name="connsiteX16-3323" fmla="*/ 101557 w 1640425"/>
              <a:gd name="connsiteY16-3324" fmla="*/ 903272 h 1270860"/>
              <a:gd name="connsiteX17-3325" fmla="*/ 23498 w 1640425"/>
              <a:gd name="connsiteY17-3326" fmla="*/ 947877 h 1270860"/>
              <a:gd name="connsiteX18-3327" fmla="*/ 12347 w 1640425"/>
              <a:gd name="connsiteY18-3328" fmla="*/ 1037086 h 1270860"/>
              <a:gd name="connsiteX19-3329" fmla="*/ 1196 w 1640425"/>
              <a:gd name="connsiteY19-3330" fmla="*/ 1237808 h 1270860"/>
              <a:gd name="connsiteX20-3331" fmla="*/ 5169 w 1640425"/>
              <a:gd name="connsiteY20-3332" fmla="*/ 1235397 h 1270860"/>
              <a:gd name="connsiteX0-3333" fmla="*/ 5169 w 1640425"/>
              <a:gd name="connsiteY0-3334" fmla="*/ 1235397 h 1270860"/>
              <a:gd name="connsiteX1-3335" fmla="*/ 12347 w 1640425"/>
              <a:gd name="connsiteY1-3336" fmla="*/ 1182052 h 1270860"/>
              <a:gd name="connsiteX2-3337" fmla="*/ 1305888 w 1640425"/>
              <a:gd name="connsiteY2-3338" fmla="*/ 1182052 h 1270860"/>
              <a:gd name="connsiteX3-3339" fmla="*/ 1261283 w 1640425"/>
              <a:gd name="connsiteY3-3340" fmla="*/ 713701 h 1270860"/>
              <a:gd name="connsiteX4-3341" fmla="*/ 1428552 w 1640425"/>
              <a:gd name="connsiteY4-3342" fmla="*/ 579886 h 1270860"/>
              <a:gd name="connsiteX5-3343" fmla="*/ 1640425 w 1640425"/>
              <a:gd name="connsiteY5-3344" fmla="*/ 524130 h 1270860"/>
              <a:gd name="connsiteX6-3345" fmla="*/ 1622702 w 1640425"/>
              <a:gd name="connsiteY6-3346" fmla="*/ 220320 h 1270860"/>
              <a:gd name="connsiteX7-3347" fmla="*/ 926966 w 1640425"/>
              <a:gd name="connsiteY7-3348" fmla="*/ 220615 h 1270860"/>
              <a:gd name="connsiteX8-3349" fmla="*/ 302278 w 1640425"/>
              <a:gd name="connsiteY8-3350" fmla="*/ 457223 h 1270860"/>
              <a:gd name="connsiteX9-3351" fmla="*/ 413791 w 1640425"/>
              <a:gd name="connsiteY9-3352" fmla="*/ 390316 h 1270860"/>
              <a:gd name="connsiteX10-3353" fmla="*/ 335732 w 1640425"/>
              <a:gd name="connsiteY10-3354" fmla="*/ 535282 h 1270860"/>
              <a:gd name="connsiteX11-3355" fmla="*/ 257674 w 1640425"/>
              <a:gd name="connsiteY11-3356" fmla="*/ 657945 h 1270860"/>
              <a:gd name="connsiteX12-3357" fmla="*/ 257674 w 1640425"/>
              <a:gd name="connsiteY12-3358" fmla="*/ 657945 h 1270860"/>
              <a:gd name="connsiteX13-3359" fmla="*/ 201918 w 1640425"/>
              <a:gd name="connsiteY13-3360" fmla="*/ 724852 h 1270860"/>
              <a:gd name="connsiteX14-3361" fmla="*/ 190766 w 1640425"/>
              <a:gd name="connsiteY14-3362" fmla="*/ 814062 h 1270860"/>
              <a:gd name="connsiteX15-3363" fmla="*/ 190766 w 1640425"/>
              <a:gd name="connsiteY15-3364" fmla="*/ 814062 h 1270860"/>
              <a:gd name="connsiteX16-3365" fmla="*/ 101557 w 1640425"/>
              <a:gd name="connsiteY16-3366" fmla="*/ 903272 h 1270860"/>
              <a:gd name="connsiteX17-3367" fmla="*/ 23498 w 1640425"/>
              <a:gd name="connsiteY17-3368" fmla="*/ 947877 h 1270860"/>
              <a:gd name="connsiteX18-3369" fmla="*/ 12347 w 1640425"/>
              <a:gd name="connsiteY18-3370" fmla="*/ 1037086 h 1270860"/>
              <a:gd name="connsiteX19-3371" fmla="*/ 1196 w 1640425"/>
              <a:gd name="connsiteY19-3372" fmla="*/ 1237808 h 1270860"/>
              <a:gd name="connsiteX20-3373" fmla="*/ 5169 w 1640425"/>
              <a:gd name="connsiteY20-3374" fmla="*/ 1235397 h 1270860"/>
              <a:gd name="connsiteX0-3375" fmla="*/ 206298 w 1845527"/>
              <a:gd name="connsiteY0-3376" fmla="*/ 1237808 h 1261969"/>
              <a:gd name="connsiteX1-3377" fmla="*/ 217449 w 1845527"/>
              <a:gd name="connsiteY1-3378" fmla="*/ 1182052 h 1261969"/>
              <a:gd name="connsiteX2-3379" fmla="*/ 1510990 w 1845527"/>
              <a:gd name="connsiteY2-3380" fmla="*/ 1182052 h 1261969"/>
              <a:gd name="connsiteX3-3381" fmla="*/ 1466385 w 1845527"/>
              <a:gd name="connsiteY3-3382" fmla="*/ 713701 h 1261969"/>
              <a:gd name="connsiteX4-3383" fmla="*/ 1633654 w 1845527"/>
              <a:gd name="connsiteY4-3384" fmla="*/ 579886 h 1261969"/>
              <a:gd name="connsiteX5-3385" fmla="*/ 1845527 w 1845527"/>
              <a:gd name="connsiteY5-3386" fmla="*/ 524130 h 1261969"/>
              <a:gd name="connsiteX6-3387" fmla="*/ 1827804 w 1845527"/>
              <a:gd name="connsiteY6-3388" fmla="*/ 220320 h 1261969"/>
              <a:gd name="connsiteX7-3389" fmla="*/ 1132068 w 1845527"/>
              <a:gd name="connsiteY7-3390" fmla="*/ 220615 h 1261969"/>
              <a:gd name="connsiteX8-3391" fmla="*/ 507380 w 1845527"/>
              <a:gd name="connsiteY8-3392" fmla="*/ 457223 h 1261969"/>
              <a:gd name="connsiteX9-3393" fmla="*/ 618893 w 1845527"/>
              <a:gd name="connsiteY9-3394" fmla="*/ 390316 h 1261969"/>
              <a:gd name="connsiteX10-3395" fmla="*/ 540834 w 1845527"/>
              <a:gd name="connsiteY10-3396" fmla="*/ 535282 h 1261969"/>
              <a:gd name="connsiteX11-3397" fmla="*/ 462776 w 1845527"/>
              <a:gd name="connsiteY11-3398" fmla="*/ 657945 h 1261969"/>
              <a:gd name="connsiteX12-3399" fmla="*/ 462776 w 1845527"/>
              <a:gd name="connsiteY12-3400" fmla="*/ 657945 h 1261969"/>
              <a:gd name="connsiteX13-3401" fmla="*/ 407020 w 1845527"/>
              <a:gd name="connsiteY13-3402" fmla="*/ 724852 h 1261969"/>
              <a:gd name="connsiteX14-3403" fmla="*/ 395868 w 1845527"/>
              <a:gd name="connsiteY14-3404" fmla="*/ 814062 h 1261969"/>
              <a:gd name="connsiteX15-3405" fmla="*/ 395868 w 1845527"/>
              <a:gd name="connsiteY15-3406" fmla="*/ 814062 h 1261969"/>
              <a:gd name="connsiteX16-3407" fmla="*/ 306659 w 1845527"/>
              <a:gd name="connsiteY16-3408" fmla="*/ 903272 h 1261969"/>
              <a:gd name="connsiteX17-3409" fmla="*/ 228600 w 1845527"/>
              <a:gd name="connsiteY17-3410" fmla="*/ 947877 h 1261969"/>
              <a:gd name="connsiteX18-3411" fmla="*/ 217449 w 1845527"/>
              <a:gd name="connsiteY18-3412" fmla="*/ 1037086 h 1261969"/>
              <a:gd name="connsiteX19-3413" fmla="*/ 206298 w 1845527"/>
              <a:gd name="connsiteY19-3414" fmla="*/ 1237808 h 1261969"/>
              <a:gd name="connsiteX0-3415" fmla="*/ 0 w 1628078"/>
              <a:gd name="connsiteY0-3416" fmla="*/ 1037086 h 1182052"/>
              <a:gd name="connsiteX1-3417" fmla="*/ 0 w 1628078"/>
              <a:gd name="connsiteY1-3418" fmla="*/ 1182052 h 1182052"/>
              <a:gd name="connsiteX2-3419" fmla="*/ 1293541 w 1628078"/>
              <a:gd name="connsiteY2-3420" fmla="*/ 1182052 h 1182052"/>
              <a:gd name="connsiteX3-3421" fmla="*/ 1248936 w 1628078"/>
              <a:gd name="connsiteY3-3422" fmla="*/ 713701 h 1182052"/>
              <a:gd name="connsiteX4-3423" fmla="*/ 1416205 w 1628078"/>
              <a:gd name="connsiteY4-3424" fmla="*/ 579886 h 1182052"/>
              <a:gd name="connsiteX5-3425" fmla="*/ 1628078 w 1628078"/>
              <a:gd name="connsiteY5-3426" fmla="*/ 524130 h 1182052"/>
              <a:gd name="connsiteX6-3427" fmla="*/ 1610355 w 1628078"/>
              <a:gd name="connsiteY6-3428" fmla="*/ 220320 h 1182052"/>
              <a:gd name="connsiteX7-3429" fmla="*/ 914619 w 1628078"/>
              <a:gd name="connsiteY7-3430" fmla="*/ 220615 h 1182052"/>
              <a:gd name="connsiteX8-3431" fmla="*/ 289931 w 1628078"/>
              <a:gd name="connsiteY8-3432" fmla="*/ 457223 h 1182052"/>
              <a:gd name="connsiteX9-3433" fmla="*/ 401444 w 1628078"/>
              <a:gd name="connsiteY9-3434" fmla="*/ 390316 h 1182052"/>
              <a:gd name="connsiteX10-3435" fmla="*/ 323385 w 1628078"/>
              <a:gd name="connsiteY10-3436" fmla="*/ 535282 h 1182052"/>
              <a:gd name="connsiteX11-3437" fmla="*/ 245327 w 1628078"/>
              <a:gd name="connsiteY11-3438" fmla="*/ 657945 h 1182052"/>
              <a:gd name="connsiteX12-3439" fmla="*/ 245327 w 1628078"/>
              <a:gd name="connsiteY12-3440" fmla="*/ 657945 h 1182052"/>
              <a:gd name="connsiteX13-3441" fmla="*/ 189571 w 1628078"/>
              <a:gd name="connsiteY13-3442" fmla="*/ 724852 h 1182052"/>
              <a:gd name="connsiteX14-3443" fmla="*/ 178419 w 1628078"/>
              <a:gd name="connsiteY14-3444" fmla="*/ 814062 h 1182052"/>
              <a:gd name="connsiteX15-3445" fmla="*/ 178419 w 1628078"/>
              <a:gd name="connsiteY15-3446" fmla="*/ 814062 h 1182052"/>
              <a:gd name="connsiteX16-3447" fmla="*/ 89210 w 1628078"/>
              <a:gd name="connsiteY16-3448" fmla="*/ 903272 h 1182052"/>
              <a:gd name="connsiteX17-3449" fmla="*/ 11151 w 1628078"/>
              <a:gd name="connsiteY17-3450" fmla="*/ 947877 h 1182052"/>
              <a:gd name="connsiteX18-3451" fmla="*/ 0 w 1628078"/>
              <a:gd name="connsiteY18-3452" fmla="*/ 1037086 h 1182052"/>
              <a:gd name="connsiteX0-3453" fmla="*/ 0 w 1628078"/>
              <a:gd name="connsiteY0-3454" fmla="*/ 816766 h 961732"/>
              <a:gd name="connsiteX1-3455" fmla="*/ 0 w 1628078"/>
              <a:gd name="connsiteY1-3456" fmla="*/ 961732 h 961732"/>
              <a:gd name="connsiteX2-3457" fmla="*/ 1293541 w 1628078"/>
              <a:gd name="connsiteY2-3458" fmla="*/ 961732 h 961732"/>
              <a:gd name="connsiteX3-3459" fmla="*/ 1248936 w 1628078"/>
              <a:gd name="connsiteY3-3460" fmla="*/ 493381 h 961732"/>
              <a:gd name="connsiteX4-3461" fmla="*/ 1416205 w 1628078"/>
              <a:gd name="connsiteY4-3462" fmla="*/ 359566 h 961732"/>
              <a:gd name="connsiteX5-3463" fmla="*/ 1628078 w 1628078"/>
              <a:gd name="connsiteY5-3464" fmla="*/ 303810 h 961732"/>
              <a:gd name="connsiteX6-3465" fmla="*/ 1610355 w 1628078"/>
              <a:gd name="connsiteY6-3466" fmla="*/ 0 h 961732"/>
              <a:gd name="connsiteX7-3467" fmla="*/ 914619 w 1628078"/>
              <a:gd name="connsiteY7-3468" fmla="*/ 295 h 961732"/>
              <a:gd name="connsiteX8-3469" fmla="*/ 401444 w 1628078"/>
              <a:gd name="connsiteY8-3470" fmla="*/ 169996 h 961732"/>
              <a:gd name="connsiteX9-3471" fmla="*/ 323385 w 1628078"/>
              <a:gd name="connsiteY9-3472" fmla="*/ 314962 h 961732"/>
              <a:gd name="connsiteX10-3473" fmla="*/ 245327 w 1628078"/>
              <a:gd name="connsiteY10-3474" fmla="*/ 437625 h 961732"/>
              <a:gd name="connsiteX11-3475" fmla="*/ 245327 w 1628078"/>
              <a:gd name="connsiteY11-3476" fmla="*/ 437625 h 961732"/>
              <a:gd name="connsiteX12-3477" fmla="*/ 189571 w 1628078"/>
              <a:gd name="connsiteY12-3478" fmla="*/ 504532 h 961732"/>
              <a:gd name="connsiteX13-3479" fmla="*/ 178419 w 1628078"/>
              <a:gd name="connsiteY13-3480" fmla="*/ 593742 h 961732"/>
              <a:gd name="connsiteX14-3481" fmla="*/ 178419 w 1628078"/>
              <a:gd name="connsiteY14-3482" fmla="*/ 593742 h 961732"/>
              <a:gd name="connsiteX15-3483" fmla="*/ 89210 w 1628078"/>
              <a:gd name="connsiteY15-3484" fmla="*/ 682952 h 961732"/>
              <a:gd name="connsiteX16-3485" fmla="*/ 11151 w 1628078"/>
              <a:gd name="connsiteY16-3486" fmla="*/ 727557 h 961732"/>
              <a:gd name="connsiteX17-3487" fmla="*/ 0 w 1628078"/>
              <a:gd name="connsiteY17-3488" fmla="*/ 816766 h 961732"/>
              <a:gd name="connsiteX0-3489" fmla="*/ 0 w 1628078"/>
              <a:gd name="connsiteY0-3490" fmla="*/ 1046187 h 1191153"/>
              <a:gd name="connsiteX1-3491" fmla="*/ 0 w 1628078"/>
              <a:gd name="connsiteY1-3492" fmla="*/ 1191153 h 1191153"/>
              <a:gd name="connsiteX2-3493" fmla="*/ 1293541 w 1628078"/>
              <a:gd name="connsiteY2-3494" fmla="*/ 1191153 h 1191153"/>
              <a:gd name="connsiteX3-3495" fmla="*/ 1248936 w 1628078"/>
              <a:gd name="connsiteY3-3496" fmla="*/ 722802 h 1191153"/>
              <a:gd name="connsiteX4-3497" fmla="*/ 1416205 w 1628078"/>
              <a:gd name="connsiteY4-3498" fmla="*/ 588987 h 1191153"/>
              <a:gd name="connsiteX5-3499" fmla="*/ 1628078 w 1628078"/>
              <a:gd name="connsiteY5-3500" fmla="*/ 533231 h 1191153"/>
              <a:gd name="connsiteX6-3501" fmla="*/ 1610355 w 1628078"/>
              <a:gd name="connsiteY6-3502" fmla="*/ 229421 h 1191153"/>
              <a:gd name="connsiteX7-3503" fmla="*/ 914619 w 1628078"/>
              <a:gd name="connsiteY7-3504" fmla="*/ 229716 h 1191153"/>
              <a:gd name="connsiteX8-3505" fmla="*/ 401444 w 1628078"/>
              <a:gd name="connsiteY8-3506" fmla="*/ 399417 h 1191153"/>
              <a:gd name="connsiteX9-3507" fmla="*/ 323385 w 1628078"/>
              <a:gd name="connsiteY9-3508" fmla="*/ 544383 h 1191153"/>
              <a:gd name="connsiteX10-3509" fmla="*/ 245327 w 1628078"/>
              <a:gd name="connsiteY10-3510" fmla="*/ 667046 h 1191153"/>
              <a:gd name="connsiteX11-3511" fmla="*/ 245327 w 1628078"/>
              <a:gd name="connsiteY11-3512" fmla="*/ 667046 h 1191153"/>
              <a:gd name="connsiteX12-3513" fmla="*/ 189571 w 1628078"/>
              <a:gd name="connsiteY12-3514" fmla="*/ 733953 h 1191153"/>
              <a:gd name="connsiteX13-3515" fmla="*/ 178419 w 1628078"/>
              <a:gd name="connsiteY13-3516" fmla="*/ 823163 h 1191153"/>
              <a:gd name="connsiteX14-3517" fmla="*/ 178419 w 1628078"/>
              <a:gd name="connsiteY14-3518" fmla="*/ 823163 h 1191153"/>
              <a:gd name="connsiteX15-3519" fmla="*/ 89210 w 1628078"/>
              <a:gd name="connsiteY15-3520" fmla="*/ 912373 h 1191153"/>
              <a:gd name="connsiteX16-3521" fmla="*/ 11151 w 1628078"/>
              <a:gd name="connsiteY16-3522" fmla="*/ 956978 h 1191153"/>
              <a:gd name="connsiteX17-3523" fmla="*/ 0 w 1628078"/>
              <a:gd name="connsiteY17-3524" fmla="*/ 1046187 h 1191153"/>
              <a:gd name="connsiteX0-3525" fmla="*/ 0 w 1628078"/>
              <a:gd name="connsiteY0-3526" fmla="*/ 1046187 h 1191153"/>
              <a:gd name="connsiteX1-3527" fmla="*/ 0 w 1628078"/>
              <a:gd name="connsiteY1-3528" fmla="*/ 1191153 h 1191153"/>
              <a:gd name="connsiteX2-3529" fmla="*/ 1293541 w 1628078"/>
              <a:gd name="connsiteY2-3530" fmla="*/ 1191153 h 1191153"/>
              <a:gd name="connsiteX3-3531" fmla="*/ 1248936 w 1628078"/>
              <a:gd name="connsiteY3-3532" fmla="*/ 722802 h 1191153"/>
              <a:gd name="connsiteX4-3533" fmla="*/ 1416205 w 1628078"/>
              <a:gd name="connsiteY4-3534" fmla="*/ 588987 h 1191153"/>
              <a:gd name="connsiteX5-3535" fmla="*/ 1628078 w 1628078"/>
              <a:gd name="connsiteY5-3536" fmla="*/ 533231 h 1191153"/>
              <a:gd name="connsiteX6-3537" fmla="*/ 1625607 w 1628078"/>
              <a:gd name="connsiteY6-3538" fmla="*/ 207392 h 1191153"/>
              <a:gd name="connsiteX7-3539" fmla="*/ 914619 w 1628078"/>
              <a:gd name="connsiteY7-3540" fmla="*/ 229716 h 1191153"/>
              <a:gd name="connsiteX8-3541" fmla="*/ 401444 w 1628078"/>
              <a:gd name="connsiteY8-3542" fmla="*/ 399417 h 1191153"/>
              <a:gd name="connsiteX9-3543" fmla="*/ 323385 w 1628078"/>
              <a:gd name="connsiteY9-3544" fmla="*/ 544383 h 1191153"/>
              <a:gd name="connsiteX10-3545" fmla="*/ 245327 w 1628078"/>
              <a:gd name="connsiteY10-3546" fmla="*/ 667046 h 1191153"/>
              <a:gd name="connsiteX11-3547" fmla="*/ 245327 w 1628078"/>
              <a:gd name="connsiteY11-3548" fmla="*/ 667046 h 1191153"/>
              <a:gd name="connsiteX12-3549" fmla="*/ 189571 w 1628078"/>
              <a:gd name="connsiteY12-3550" fmla="*/ 733953 h 1191153"/>
              <a:gd name="connsiteX13-3551" fmla="*/ 178419 w 1628078"/>
              <a:gd name="connsiteY13-3552" fmla="*/ 823163 h 1191153"/>
              <a:gd name="connsiteX14-3553" fmla="*/ 178419 w 1628078"/>
              <a:gd name="connsiteY14-3554" fmla="*/ 823163 h 1191153"/>
              <a:gd name="connsiteX15-3555" fmla="*/ 89210 w 1628078"/>
              <a:gd name="connsiteY15-3556" fmla="*/ 912373 h 1191153"/>
              <a:gd name="connsiteX16-3557" fmla="*/ 11151 w 1628078"/>
              <a:gd name="connsiteY16-3558" fmla="*/ 956978 h 1191153"/>
              <a:gd name="connsiteX17-3559" fmla="*/ 0 w 1628078"/>
              <a:gd name="connsiteY17-3560" fmla="*/ 1046187 h 119115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Lst>
            <a:rect l="l" t="t" r="r" b="b"/>
            <a:pathLst>
              <a:path w="1628078" h="1191153">
                <a:moveTo>
                  <a:pt x="0" y="1046187"/>
                </a:moveTo>
                <a:lnTo>
                  <a:pt x="0" y="1191153"/>
                </a:lnTo>
                <a:lnTo>
                  <a:pt x="1293541" y="1191153"/>
                </a:lnTo>
                <a:lnTo>
                  <a:pt x="1248936" y="722802"/>
                </a:lnTo>
                <a:lnTo>
                  <a:pt x="1416205" y="588987"/>
                </a:lnTo>
                <a:lnTo>
                  <a:pt x="1628078" y="533231"/>
                </a:lnTo>
                <a:cubicBezTo>
                  <a:pt x="1627254" y="424618"/>
                  <a:pt x="1626431" y="316005"/>
                  <a:pt x="1625607" y="207392"/>
                </a:cubicBezTo>
                <a:lnTo>
                  <a:pt x="914619" y="229716"/>
                </a:lnTo>
                <a:cubicBezTo>
                  <a:pt x="713134" y="258049"/>
                  <a:pt x="738938" y="0"/>
                  <a:pt x="401444" y="399417"/>
                </a:cubicBezTo>
                <a:lnTo>
                  <a:pt x="323385" y="544383"/>
                </a:lnTo>
                <a:lnTo>
                  <a:pt x="245327" y="667046"/>
                </a:lnTo>
                <a:lnTo>
                  <a:pt x="245327" y="667046"/>
                </a:lnTo>
                <a:lnTo>
                  <a:pt x="189571" y="733953"/>
                </a:lnTo>
                <a:lnTo>
                  <a:pt x="178419" y="823163"/>
                </a:lnTo>
                <a:lnTo>
                  <a:pt x="178419" y="823163"/>
                </a:lnTo>
                <a:lnTo>
                  <a:pt x="89210" y="912373"/>
                </a:lnTo>
                <a:lnTo>
                  <a:pt x="11151" y="956978"/>
                </a:lnTo>
                <a:lnTo>
                  <a:pt x="0" y="1046187"/>
                </a:lnTo>
                <a:close/>
              </a:path>
            </a:pathLst>
          </a:custGeom>
        </p:spPr>
        <p:style>
          <a:lnRef idx="1">
            <a:schemeClr val="accent3"/>
          </a:lnRef>
          <a:fillRef idx="2">
            <a:schemeClr val="accent3"/>
          </a:fillRef>
          <a:effectRef idx="1">
            <a:schemeClr val="accent3"/>
          </a:effectRef>
          <a:fontRef idx="minor">
            <a:schemeClr val="dk1"/>
          </a:fontRef>
        </p:style>
        <p:txBody>
          <a:bodyPr lIns="45710" tIns="45710" rIns="45710" bIns="45710" anchor="ctr"/>
          <a:lstStyle/>
          <a:p>
            <a:pPr algn="ctr">
              <a:spcBef>
                <a:spcPts val="400"/>
              </a:spcBef>
              <a:defRPr/>
            </a:pPr>
            <a:endParaRPr lang="en-US" sz="1200" kern="0">
              <a:solidFill>
                <a:srgbClr val="FFFFFF"/>
              </a:solidFill>
              <a:latin typeface="+mj-lt"/>
              <a:cs typeface="Arial" panose="020B0604020202020204" pitchFamily="34" charset="0"/>
            </a:endParaRPr>
          </a:p>
        </p:txBody>
      </p:sp>
      <p:sp>
        <p:nvSpPr>
          <p:cNvPr id="17" name="Freeform 40"/>
          <p:cNvSpPr/>
          <p:nvPr>
            <p:custDataLst>
              <p:tags r:id="rId11"/>
            </p:custDataLst>
          </p:nvPr>
        </p:nvSpPr>
        <p:spPr bwMode="gray">
          <a:xfrm>
            <a:off x="6345525" y="1492982"/>
            <a:ext cx="601662" cy="423863"/>
          </a:xfrm>
          <a:custGeom>
            <a:avLst/>
            <a:gdLst>
              <a:gd name="connsiteX0" fmla="*/ 78059 w 602166"/>
              <a:gd name="connsiteY0" fmla="*/ 33454 h 423747"/>
              <a:gd name="connsiteX1" fmla="*/ 0 w 602166"/>
              <a:gd name="connsiteY1" fmla="*/ 256478 h 423747"/>
              <a:gd name="connsiteX2" fmla="*/ 323386 w 602166"/>
              <a:gd name="connsiteY2" fmla="*/ 423747 h 423747"/>
              <a:gd name="connsiteX3" fmla="*/ 334537 w 602166"/>
              <a:gd name="connsiteY3" fmla="*/ 379142 h 423747"/>
              <a:gd name="connsiteX4" fmla="*/ 446049 w 602166"/>
              <a:gd name="connsiteY4" fmla="*/ 334537 h 423747"/>
              <a:gd name="connsiteX5" fmla="*/ 602166 w 602166"/>
              <a:gd name="connsiteY5" fmla="*/ 256478 h 423747"/>
              <a:gd name="connsiteX6" fmla="*/ 379142 w 602166"/>
              <a:gd name="connsiteY6" fmla="*/ 200722 h 423747"/>
              <a:gd name="connsiteX7" fmla="*/ 267630 w 602166"/>
              <a:gd name="connsiteY7" fmla="*/ 78059 h 423747"/>
              <a:gd name="connsiteX8" fmla="*/ 267630 w 602166"/>
              <a:gd name="connsiteY8" fmla="*/ 0 h 423747"/>
              <a:gd name="connsiteX9" fmla="*/ 189571 w 602166"/>
              <a:gd name="connsiteY9" fmla="*/ 44605 h 423747"/>
              <a:gd name="connsiteX10" fmla="*/ 78059 w 602166"/>
              <a:gd name="connsiteY10" fmla="*/ 33454 h 42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2166" h="423747">
                <a:moveTo>
                  <a:pt x="78059" y="33454"/>
                </a:moveTo>
                <a:lnTo>
                  <a:pt x="0" y="256478"/>
                </a:lnTo>
                <a:lnTo>
                  <a:pt x="323386" y="423747"/>
                </a:lnTo>
                <a:lnTo>
                  <a:pt x="334537" y="379142"/>
                </a:lnTo>
                <a:lnTo>
                  <a:pt x="446049" y="334537"/>
                </a:lnTo>
                <a:lnTo>
                  <a:pt x="602166" y="256478"/>
                </a:lnTo>
                <a:lnTo>
                  <a:pt x="379142" y="200722"/>
                </a:lnTo>
                <a:lnTo>
                  <a:pt x="267630" y="78059"/>
                </a:lnTo>
                <a:lnTo>
                  <a:pt x="267630" y="0"/>
                </a:lnTo>
                <a:lnTo>
                  <a:pt x="189571" y="44605"/>
                </a:lnTo>
                <a:lnTo>
                  <a:pt x="78059" y="33454"/>
                </a:lnTo>
                <a:close/>
              </a:path>
            </a:pathLst>
          </a:custGeom>
        </p:spPr>
        <p:style>
          <a:lnRef idx="1">
            <a:schemeClr val="accent6"/>
          </a:lnRef>
          <a:fillRef idx="2">
            <a:schemeClr val="accent6"/>
          </a:fillRef>
          <a:effectRef idx="1">
            <a:schemeClr val="accent6"/>
          </a:effectRef>
          <a:fontRef idx="minor">
            <a:schemeClr val="dk1"/>
          </a:fontRef>
        </p:style>
        <p:txBody>
          <a:bodyPr lIns="45710" tIns="45710" rIns="45710" bIns="45710" anchor="ctr"/>
          <a:lstStyle/>
          <a:p>
            <a:pPr algn="ctr">
              <a:spcBef>
                <a:spcPts val="400"/>
              </a:spcBef>
              <a:defRPr/>
            </a:pPr>
            <a:endParaRPr lang="en-US" sz="1200" kern="0">
              <a:solidFill>
                <a:srgbClr val="003366"/>
              </a:solidFill>
              <a:latin typeface="+mj-lt"/>
              <a:cs typeface="Arial" panose="020B0604020202020204" pitchFamily="34" charset="0"/>
            </a:endParaRPr>
          </a:p>
        </p:txBody>
      </p:sp>
      <p:sp>
        <p:nvSpPr>
          <p:cNvPr id="23" name="TextBox 22"/>
          <p:cNvSpPr txBox="1"/>
          <p:nvPr>
            <p:custDataLst>
              <p:tags r:id="rId12"/>
            </p:custDataLst>
          </p:nvPr>
        </p:nvSpPr>
        <p:spPr bwMode="gray">
          <a:xfrm>
            <a:off x="5364088" y="2041704"/>
            <a:ext cx="1296865" cy="523200"/>
          </a:xfrm>
          <a:prstGeom prst="rect">
            <a:avLst/>
          </a:prstGeom>
          <a:noFill/>
          <a:ln>
            <a:noFill/>
          </a:ln>
          <a:effectLst/>
        </p:spPr>
        <p:txBody>
          <a:bodyPr wrap="square" lIns="91420" tIns="45710" rIns="91420" bIns="45710">
            <a:spAutoFit/>
          </a:bodyPr>
          <a:lstStyle>
            <a:defPPr>
              <a:defRPr lang="fr-FR"/>
            </a:defPPr>
            <a:lvl1pPr algn="ctr">
              <a:defRPr sz="1400" i="1" kern="0">
                <a:latin typeface="+mj-lt"/>
              </a:defRPr>
            </a:lvl1pPr>
          </a:lstStyle>
          <a:p>
            <a:r>
              <a:rPr lang="en-US" dirty="0"/>
              <a:t>Central Atlantic</a:t>
            </a:r>
          </a:p>
        </p:txBody>
      </p:sp>
      <p:sp>
        <p:nvSpPr>
          <p:cNvPr id="25" name="TextBox 24"/>
          <p:cNvSpPr txBox="1"/>
          <p:nvPr>
            <p:custDataLst>
              <p:tags r:id="rId13"/>
            </p:custDataLst>
          </p:nvPr>
        </p:nvSpPr>
        <p:spPr bwMode="gray">
          <a:xfrm>
            <a:off x="4067944" y="4242594"/>
            <a:ext cx="1295400" cy="307756"/>
          </a:xfrm>
          <a:prstGeom prst="rect">
            <a:avLst/>
          </a:prstGeom>
          <a:noFill/>
          <a:ln>
            <a:noFill/>
          </a:ln>
          <a:effectLst/>
        </p:spPr>
        <p:txBody>
          <a:bodyPr lIns="91420" tIns="45710" rIns="91420" bIns="45710">
            <a:spAutoFit/>
          </a:bodyPr>
          <a:lstStyle/>
          <a:p>
            <a:pPr algn="ctr">
              <a:defRPr/>
            </a:pPr>
            <a:r>
              <a:rPr lang="en-US" sz="1400" i="1" kern="0" dirty="0" err="1" smtClean="0">
                <a:latin typeface="+mj-lt"/>
              </a:rPr>
              <a:t>Souss</a:t>
            </a:r>
            <a:r>
              <a:rPr lang="en-US" sz="1400" i="1" kern="0" dirty="0" smtClean="0">
                <a:latin typeface="+mj-lt"/>
              </a:rPr>
              <a:t> Sahara</a:t>
            </a:r>
            <a:endParaRPr lang="en-US" sz="1400" i="1" kern="0" dirty="0">
              <a:latin typeface="+mj-lt"/>
            </a:endParaRPr>
          </a:p>
        </p:txBody>
      </p:sp>
      <p:sp>
        <p:nvSpPr>
          <p:cNvPr id="26" name="TextBox 25"/>
          <p:cNvSpPr txBox="1"/>
          <p:nvPr>
            <p:custDataLst>
              <p:tags r:id="rId14"/>
            </p:custDataLst>
          </p:nvPr>
        </p:nvSpPr>
        <p:spPr bwMode="gray">
          <a:xfrm>
            <a:off x="2843808" y="5552129"/>
            <a:ext cx="1295400" cy="307756"/>
          </a:xfrm>
          <a:prstGeom prst="rect">
            <a:avLst/>
          </a:prstGeom>
          <a:noFill/>
          <a:ln>
            <a:noFill/>
          </a:ln>
          <a:effectLst/>
        </p:spPr>
        <p:txBody>
          <a:bodyPr lIns="91420" tIns="45710" rIns="91420" bIns="45710">
            <a:spAutoFit/>
          </a:bodyPr>
          <a:lstStyle>
            <a:defPPr>
              <a:defRPr lang="fr-FR"/>
            </a:defPPr>
            <a:lvl1pPr algn="ctr">
              <a:defRPr sz="1600" i="1" kern="0">
                <a:latin typeface="+mj-lt"/>
              </a:defRPr>
            </a:lvl1pPr>
          </a:lstStyle>
          <a:p>
            <a:r>
              <a:rPr lang="en-US" sz="1400" dirty="0"/>
              <a:t>Great South</a:t>
            </a:r>
          </a:p>
        </p:txBody>
      </p:sp>
      <p:sp>
        <p:nvSpPr>
          <p:cNvPr id="27" name="TextBox 26"/>
          <p:cNvSpPr txBox="1"/>
          <p:nvPr>
            <p:custDataLst>
              <p:tags r:id="rId15"/>
            </p:custDataLst>
          </p:nvPr>
        </p:nvSpPr>
        <p:spPr bwMode="gray">
          <a:xfrm>
            <a:off x="251520" y="2132856"/>
            <a:ext cx="3110652" cy="1892826"/>
          </a:xfrm>
          <a:prstGeom prst="rect">
            <a:avLst/>
          </a:prstGeom>
          <a:noFill/>
          <a:ln w="12700">
            <a:solidFill>
              <a:schemeClr val="tx2"/>
            </a:solidFill>
            <a:prstDash val="sysDash"/>
          </a:ln>
        </p:spPr>
        <p:txBody>
          <a:bodyPr wrap="square" rtlCol="0">
            <a:spAutoFit/>
          </a:bodyPr>
          <a:lstStyle/>
          <a:p>
            <a:pPr marL="88900" indent="-88900">
              <a:lnSpc>
                <a:spcPct val="130000"/>
              </a:lnSpc>
              <a:buFont typeface="Wingdings" panose="05000000000000000000" pitchFamily="2" charset="2"/>
              <a:buChar char="§"/>
            </a:pPr>
            <a:r>
              <a:rPr lang="en-US" b="1" dirty="0" smtClean="0">
                <a:solidFill>
                  <a:srgbClr val="438086">
                    <a:lumMod val="75000"/>
                  </a:srgbClr>
                </a:solidFill>
                <a:latin typeface="+mj-lt"/>
              </a:rPr>
              <a:t> 8</a:t>
            </a:r>
            <a:r>
              <a:rPr lang="zh-CN" altLang="en-US" b="1" dirty="0" smtClean="0">
                <a:solidFill>
                  <a:srgbClr val="438086">
                    <a:lumMod val="75000"/>
                  </a:srgbClr>
                </a:solidFill>
                <a:latin typeface="+mj-lt"/>
              </a:rPr>
              <a:t>个独特的目的地</a:t>
            </a:r>
            <a:endParaRPr lang="en-US" b="1" dirty="0" smtClean="0">
              <a:solidFill>
                <a:srgbClr val="438086">
                  <a:lumMod val="75000"/>
                </a:srgbClr>
              </a:solidFill>
              <a:latin typeface="+mj-lt"/>
            </a:endParaRPr>
          </a:p>
          <a:p>
            <a:pPr marL="88900" indent="-88900">
              <a:lnSpc>
                <a:spcPct val="130000"/>
              </a:lnSpc>
              <a:buFont typeface="Wingdings" panose="05000000000000000000" pitchFamily="2" charset="2"/>
              <a:buChar char="§"/>
            </a:pPr>
            <a:endParaRPr lang="en-US" b="1" dirty="0" smtClean="0">
              <a:solidFill>
                <a:srgbClr val="438086">
                  <a:lumMod val="75000"/>
                </a:srgbClr>
              </a:solidFill>
              <a:latin typeface="+mj-lt"/>
            </a:endParaRPr>
          </a:p>
          <a:p>
            <a:pPr marL="88900" indent="-88900">
              <a:lnSpc>
                <a:spcPct val="130000"/>
              </a:lnSpc>
              <a:buFont typeface="Wingdings" panose="05000000000000000000" pitchFamily="2" charset="2"/>
              <a:buChar char="§"/>
            </a:pPr>
            <a:r>
              <a:rPr lang="en-US" b="1" dirty="0" smtClean="0">
                <a:solidFill>
                  <a:srgbClr val="438086">
                    <a:lumMod val="75000"/>
                  </a:srgbClr>
                </a:solidFill>
                <a:latin typeface="+mj-lt"/>
              </a:rPr>
              <a:t> 3</a:t>
            </a:r>
            <a:r>
              <a:rPr lang="zh-CN" altLang="en-US" b="1" dirty="0" smtClean="0">
                <a:solidFill>
                  <a:srgbClr val="438086">
                    <a:lumMod val="75000"/>
                  </a:srgbClr>
                </a:solidFill>
                <a:latin typeface="+mj-lt"/>
              </a:rPr>
              <a:t>种相关的定位</a:t>
            </a:r>
            <a:endParaRPr lang="en-US" b="1" dirty="0" smtClean="0">
              <a:solidFill>
                <a:srgbClr val="438086">
                  <a:lumMod val="75000"/>
                </a:srgbClr>
              </a:solidFill>
              <a:latin typeface="+mj-lt"/>
            </a:endParaRPr>
          </a:p>
          <a:p>
            <a:pPr marL="88900" indent="-88900">
              <a:lnSpc>
                <a:spcPct val="130000"/>
              </a:lnSpc>
              <a:buFont typeface="Wingdings" panose="05000000000000000000" pitchFamily="2" charset="2"/>
              <a:buChar char="§"/>
            </a:pPr>
            <a:endParaRPr lang="en-US" b="1" dirty="0" smtClean="0">
              <a:solidFill>
                <a:srgbClr val="438086">
                  <a:lumMod val="75000"/>
                </a:srgbClr>
              </a:solidFill>
              <a:latin typeface="+mj-lt"/>
            </a:endParaRPr>
          </a:p>
          <a:p>
            <a:pPr marL="88900" indent="-88900">
              <a:lnSpc>
                <a:spcPct val="130000"/>
              </a:lnSpc>
              <a:buFont typeface="Wingdings" panose="05000000000000000000" pitchFamily="2" charset="2"/>
              <a:buChar char="§"/>
            </a:pPr>
            <a:r>
              <a:rPr lang="en-US" b="1" dirty="0" smtClean="0">
                <a:solidFill>
                  <a:srgbClr val="438086">
                    <a:lumMod val="75000"/>
                  </a:srgbClr>
                </a:solidFill>
                <a:latin typeface="+mj-lt"/>
              </a:rPr>
              <a:t> </a:t>
            </a:r>
            <a:r>
              <a:rPr lang="zh-CN" altLang="en-US" b="1" dirty="0" smtClean="0">
                <a:solidFill>
                  <a:srgbClr val="438086">
                    <a:lumMod val="75000"/>
                  </a:srgbClr>
                </a:solidFill>
                <a:latin typeface="+mj-lt"/>
              </a:rPr>
              <a:t>每个地区</a:t>
            </a:r>
            <a:r>
              <a:rPr lang="en-US" altLang="zh-CN" b="1" dirty="0" smtClean="0">
                <a:solidFill>
                  <a:srgbClr val="438086">
                    <a:lumMod val="75000"/>
                  </a:srgbClr>
                </a:solidFill>
                <a:latin typeface="+mj-lt"/>
              </a:rPr>
              <a:t>1</a:t>
            </a:r>
            <a:r>
              <a:rPr lang="zh-CN" altLang="en-US" b="1" dirty="0" smtClean="0">
                <a:solidFill>
                  <a:srgbClr val="438086">
                    <a:lumMod val="75000"/>
                  </a:srgbClr>
                </a:solidFill>
                <a:latin typeface="+mj-lt"/>
              </a:rPr>
              <a:t>个主要定位</a:t>
            </a:r>
            <a:endParaRPr lang="en-US" b="1" dirty="0">
              <a:solidFill>
                <a:srgbClr val="438086">
                  <a:lumMod val="75000"/>
                </a:srgbClr>
              </a:solidFill>
              <a:latin typeface="+mj-lt"/>
            </a:endParaRPr>
          </a:p>
        </p:txBody>
      </p:sp>
      <p:sp>
        <p:nvSpPr>
          <p:cNvPr id="2" name="Ellipse 1"/>
          <p:cNvSpPr/>
          <p:nvPr/>
        </p:nvSpPr>
        <p:spPr>
          <a:xfrm>
            <a:off x="5110517" y="3293675"/>
            <a:ext cx="144035" cy="1353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TextBox 24"/>
          <p:cNvSpPr txBox="1"/>
          <p:nvPr>
            <p:custDataLst>
              <p:tags r:id="rId16"/>
            </p:custDataLst>
          </p:nvPr>
        </p:nvSpPr>
        <p:spPr bwMode="gray">
          <a:xfrm>
            <a:off x="3505156" y="3168264"/>
            <a:ext cx="1578065" cy="338534"/>
          </a:xfrm>
          <a:prstGeom prst="rect">
            <a:avLst/>
          </a:prstGeom>
          <a:noFill/>
          <a:ln>
            <a:noFill/>
          </a:ln>
          <a:effectLst/>
        </p:spPr>
        <p:txBody>
          <a:bodyPr wrap="square" lIns="91420" tIns="45710" rIns="91420" bIns="45710">
            <a:spAutoFit/>
          </a:bodyPr>
          <a:lstStyle/>
          <a:p>
            <a:pPr algn="r">
              <a:defRPr/>
            </a:pPr>
            <a:r>
              <a:rPr lang="en-US" sz="1600" b="1" kern="0" dirty="0" err="1" smtClean="0">
                <a:solidFill>
                  <a:schemeClr val="tx2">
                    <a:lumMod val="60000"/>
                    <a:lumOff val="40000"/>
                  </a:schemeClr>
                </a:solidFill>
                <a:latin typeface="+mj-lt"/>
              </a:rPr>
              <a:t>Taghazout</a:t>
            </a:r>
            <a:r>
              <a:rPr lang="en-US" sz="1600" b="1" kern="0" dirty="0" smtClean="0">
                <a:solidFill>
                  <a:schemeClr val="tx2">
                    <a:lumMod val="60000"/>
                    <a:lumOff val="40000"/>
                  </a:schemeClr>
                </a:solidFill>
                <a:latin typeface="+mj-lt"/>
              </a:rPr>
              <a:t> Bay</a:t>
            </a:r>
            <a:endParaRPr lang="en-US" sz="1600" b="1" kern="0" dirty="0">
              <a:solidFill>
                <a:schemeClr val="tx2">
                  <a:lumMod val="60000"/>
                  <a:lumOff val="40000"/>
                </a:schemeClr>
              </a:solidFill>
              <a:latin typeface="+mj-lt"/>
            </a:endParaRPr>
          </a:p>
        </p:txBody>
      </p:sp>
      <p:sp>
        <p:nvSpPr>
          <p:cNvPr id="30" name="Ellipse 29"/>
          <p:cNvSpPr/>
          <p:nvPr/>
        </p:nvSpPr>
        <p:spPr>
          <a:xfrm>
            <a:off x="4486325" y="3842443"/>
            <a:ext cx="144035" cy="1353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TextBox 24"/>
          <p:cNvSpPr txBox="1"/>
          <p:nvPr>
            <p:custDataLst>
              <p:tags r:id="rId17"/>
            </p:custDataLst>
          </p:nvPr>
        </p:nvSpPr>
        <p:spPr bwMode="gray">
          <a:xfrm>
            <a:off x="4587532" y="3726576"/>
            <a:ext cx="1578065" cy="338534"/>
          </a:xfrm>
          <a:prstGeom prst="rect">
            <a:avLst/>
          </a:prstGeom>
          <a:noFill/>
          <a:ln>
            <a:noFill/>
          </a:ln>
          <a:effectLst/>
        </p:spPr>
        <p:txBody>
          <a:bodyPr wrap="square" lIns="91420" tIns="45710" rIns="91420" bIns="45710">
            <a:spAutoFit/>
          </a:bodyPr>
          <a:lstStyle/>
          <a:p>
            <a:pPr>
              <a:defRPr/>
            </a:pPr>
            <a:r>
              <a:rPr lang="en-US" sz="1600" b="1" kern="0" dirty="0" err="1" smtClean="0">
                <a:solidFill>
                  <a:schemeClr val="tx2">
                    <a:lumMod val="60000"/>
                    <a:lumOff val="40000"/>
                  </a:schemeClr>
                </a:solidFill>
                <a:latin typeface="+mj-lt"/>
              </a:rPr>
              <a:t>Oued</a:t>
            </a:r>
            <a:r>
              <a:rPr lang="en-US" sz="1600" b="1" kern="0" dirty="0" smtClean="0">
                <a:solidFill>
                  <a:schemeClr val="tx2">
                    <a:lumMod val="60000"/>
                    <a:lumOff val="40000"/>
                  </a:schemeClr>
                </a:solidFill>
                <a:latin typeface="+mj-lt"/>
              </a:rPr>
              <a:t> </a:t>
            </a:r>
            <a:r>
              <a:rPr lang="en-US" sz="1600" b="1" kern="0" dirty="0" err="1" smtClean="0">
                <a:solidFill>
                  <a:schemeClr val="tx2">
                    <a:lumMod val="60000"/>
                    <a:lumOff val="40000"/>
                  </a:schemeClr>
                </a:solidFill>
                <a:latin typeface="+mj-lt"/>
              </a:rPr>
              <a:t>Chbika</a:t>
            </a:r>
            <a:endParaRPr lang="en-US" sz="1600" b="1" kern="0" dirty="0">
              <a:solidFill>
                <a:schemeClr val="tx2">
                  <a:lumMod val="60000"/>
                  <a:lumOff val="40000"/>
                </a:schemeClr>
              </a:solidFill>
              <a:latin typeface="+mj-lt"/>
            </a:endParaRPr>
          </a:p>
        </p:txBody>
      </p:sp>
      <p:sp>
        <p:nvSpPr>
          <p:cNvPr id="32" name="Ellipse 31"/>
          <p:cNvSpPr/>
          <p:nvPr/>
        </p:nvSpPr>
        <p:spPr>
          <a:xfrm>
            <a:off x="6596502" y="1525523"/>
            <a:ext cx="144035" cy="1353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extBox 24"/>
          <p:cNvSpPr txBox="1"/>
          <p:nvPr>
            <p:custDataLst>
              <p:tags r:id="rId18"/>
            </p:custDataLst>
          </p:nvPr>
        </p:nvSpPr>
        <p:spPr bwMode="gray">
          <a:xfrm>
            <a:off x="6444208" y="1196752"/>
            <a:ext cx="1578065" cy="338534"/>
          </a:xfrm>
          <a:prstGeom prst="rect">
            <a:avLst/>
          </a:prstGeom>
          <a:noFill/>
          <a:ln>
            <a:noFill/>
          </a:ln>
          <a:effectLst/>
        </p:spPr>
        <p:txBody>
          <a:bodyPr wrap="square" lIns="91420" tIns="45710" rIns="91420" bIns="45710">
            <a:spAutoFit/>
          </a:bodyPr>
          <a:lstStyle/>
          <a:p>
            <a:pPr>
              <a:defRPr/>
            </a:pPr>
            <a:r>
              <a:rPr lang="en-US" sz="1600" b="1" kern="0" dirty="0" err="1" smtClean="0">
                <a:solidFill>
                  <a:schemeClr val="tx2">
                    <a:lumMod val="60000"/>
                    <a:lumOff val="40000"/>
                  </a:schemeClr>
                </a:solidFill>
                <a:latin typeface="+mj-lt"/>
              </a:rPr>
              <a:t>Tamuda</a:t>
            </a:r>
            <a:r>
              <a:rPr lang="en-US" sz="1600" b="1" kern="0" dirty="0" smtClean="0">
                <a:solidFill>
                  <a:schemeClr val="tx2">
                    <a:lumMod val="60000"/>
                    <a:lumOff val="40000"/>
                  </a:schemeClr>
                </a:solidFill>
                <a:latin typeface="+mj-lt"/>
              </a:rPr>
              <a:t> Bay</a:t>
            </a:r>
            <a:endParaRPr lang="en-US" sz="1600" b="1" kern="0" dirty="0">
              <a:solidFill>
                <a:schemeClr val="tx2">
                  <a:lumMod val="60000"/>
                  <a:lumOff val="40000"/>
                </a:schemeClr>
              </a:solidFill>
              <a:latin typeface="+mj-lt"/>
            </a:endParaRPr>
          </a:p>
        </p:txBody>
      </p:sp>
      <p:sp>
        <p:nvSpPr>
          <p:cNvPr id="34" name="Ellipse 33"/>
          <p:cNvSpPr/>
          <p:nvPr/>
        </p:nvSpPr>
        <p:spPr>
          <a:xfrm>
            <a:off x="7645558" y="1669539"/>
            <a:ext cx="144035" cy="1353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TextBox 24"/>
          <p:cNvSpPr txBox="1"/>
          <p:nvPr>
            <p:custDataLst>
              <p:tags r:id="rId19"/>
            </p:custDataLst>
          </p:nvPr>
        </p:nvSpPr>
        <p:spPr bwMode="gray">
          <a:xfrm>
            <a:off x="7778864" y="1533586"/>
            <a:ext cx="1185624" cy="338534"/>
          </a:xfrm>
          <a:prstGeom prst="rect">
            <a:avLst/>
          </a:prstGeom>
          <a:noFill/>
          <a:ln>
            <a:noFill/>
          </a:ln>
          <a:effectLst/>
        </p:spPr>
        <p:txBody>
          <a:bodyPr wrap="square" lIns="91420" tIns="45710" rIns="91420" bIns="45710">
            <a:spAutoFit/>
          </a:bodyPr>
          <a:lstStyle/>
          <a:p>
            <a:pPr>
              <a:defRPr/>
            </a:pPr>
            <a:r>
              <a:rPr lang="en-US" sz="1600" b="1" kern="0" dirty="0" err="1" smtClean="0">
                <a:solidFill>
                  <a:schemeClr val="tx2">
                    <a:lumMod val="60000"/>
                    <a:lumOff val="40000"/>
                  </a:schemeClr>
                </a:solidFill>
                <a:latin typeface="+mj-lt"/>
              </a:rPr>
              <a:t>Saidia</a:t>
            </a:r>
            <a:r>
              <a:rPr lang="en-US" sz="1600" b="1" kern="0" dirty="0" smtClean="0">
                <a:solidFill>
                  <a:schemeClr val="tx2">
                    <a:lumMod val="60000"/>
                    <a:lumOff val="40000"/>
                  </a:schemeClr>
                </a:solidFill>
                <a:latin typeface="+mj-lt"/>
              </a:rPr>
              <a:t> Med</a:t>
            </a:r>
            <a:endParaRPr lang="en-US" sz="1600" b="1" kern="0" dirty="0">
              <a:solidFill>
                <a:schemeClr val="tx2">
                  <a:lumMod val="60000"/>
                  <a:lumOff val="40000"/>
                </a:schemeClr>
              </a:solidFill>
              <a:latin typeface="+mj-lt"/>
            </a:endParaRPr>
          </a:p>
        </p:txBody>
      </p:sp>
      <p:sp>
        <p:nvSpPr>
          <p:cNvPr id="36" name="Ellipse 35"/>
          <p:cNvSpPr/>
          <p:nvPr/>
        </p:nvSpPr>
        <p:spPr>
          <a:xfrm>
            <a:off x="5467141" y="2299211"/>
            <a:ext cx="144035" cy="1353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TextBox 24"/>
          <p:cNvSpPr txBox="1"/>
          <p:nvPr>
            <p:custDataLst>
              <p:tags r:id="rId20"/>
            </p:custDataLst>
          </p:nvPr>
        </p:nvSpPr>
        <p:spPr bwMode="gray">
          <a:xfrm>
            <a:off x="3834484" y="2160152"/>
            <a:ext cx="1578065" cy="338534"/>
          </a:xfrm>
          <a:prstGeom prst="rect">
            <a:avLst/>
          </a:prstGeom>
          <a:noFill/>
          <a:ln>
            <a:noFill/>
          </a:ln>
          <a:effectLst/>
        </p:spPr>
        <p:txBody>
          <a:bodyPr wrap="square" lIns="91420" tIns="45710" rIns="91420" bIns="45710">
            <a:spAutoFit/>
          </a:bodyPr>
          <a:lstStyle/>
          <a:p>
            <a:pPr algn="r">
              <a:defRPr/>
            </a:pPr>
            <a:r>
              <a:rPr lang="en-US" sz="1600" b="1" kern="0" dirty="0" err="1" smtClean="0">
                <a:solidFill>
                  <a:schemeClr val="tx2">
                    <a:lumMod val="60000"/>
                    <a:lumOff val="40000"/>
                  </a:schemeClr>
                </a:solidFill>
                <a:latin typeface="+mj-lt"/>
              </a:rPr>
              <a:t>Mazagan</a:t>
            </a:r>
            <a:endParaRPr lang="en-US" sz="1600" b="1" kern="0" dirty="0">
              <a:solidFill>
                <a:schemeClr val="tx2">
                  <a:lumMod val="60000"/>
                  <a:lumOff val="40000"/>
                </a:schemeClr>
              </a:solidFill>
              <a:latin typeface="+mj-lt"/>
            </a:endParaRPr>
          </a:p>
        </p:txBody>
      </p:sp>
      <p:sp>
        <p:nvSpPr>
          <p:cNvPr id="38" name="Ellipse 37"/>
          <p:cNvSpPr/>
          <p:nvPr/>
        </p:nvSpPr>
        <p:spPr>
          <a:xfrm>
            <a:off x="5089685" y="2883133"/>
            <a:ext cx="144035" cy="1353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TextBox 24"/>
          <p:cNvSpPr txBox="1"/>
          <p:nvPr>
            <p:custDataLst>
              <p:tags r:id="rId21"/>
            </p:custDataLst>
          </p:nvPr>
        </p:nvSpPr>
        <p:spPr bwMode="gray">
          <a:xfrm>
            <a:off x="3457028" y="2744074"/>
            <a:ext cx="1578065" cy="338534"/>
          </a:xfrm>
          <a:prstGeom prst="rect">
            <a:avLst/>
          </a:prstGeom>
          <a:noFill/>
          <a:ln>
            <a:noFill/>
          </a:ln>
          <a:effectLst/>
        </p:spPr>
        <p:txBody>
          <a:bodyPr wrap="square" lIns="91420" tIns="45710" rIns="91420" bIns="45710">
            <a:spAutoFit/>
          </a:bodyPr>
          <a:lstStyle/>
          <a:p>
            <a:pPr algn="r">
              <a:defRPr/>
            </a:pPr>
            <a:r>
              <a:rPr lang="en-US" sz="1600" b="1" kern="0" dirty="0" smtClean="0">
                <a:solidFill>
                  <a:schemeClr val="tx2">
                    <a:lumMod val="60000"/>
                    <a:lumOff val="40000"/>
                  </a:schemeClr>
                </a:solidFill>
                <a:latin typeface="+mj-lt"/>
              </a:rPr>
              <a:t>Mogador</a:t>
            </a:r>
            <a:endParaRPr lang="en-US" sz="1600" b="1" kern="0" dirty="0">
              <a:solidFill>
                <a:schemeClr val="tx2">
                  <a:lumMod val="60000"/>
                  <a:lumOff val="40000"/>
                </a:schemeClr>
              </a:solidFill>
              <a:latin typeface="+mj-lt"/>
            </a:endParaRPr>
          </a:p>
        </p:txBody>
      </p:sp>
      <p:sp>
        <p:nvSpPr>
          <p:cNvPr id="40" name="Ellipse 39"/>
          <p:cNvSpPr/>
          <p:nvPr/>
        </p:nvSpPr>
        <p:spPr>
          <a:xfrm>
            <a:off x="6300173" y="1695851"/>
            <a:ext cx="144035" cy="1353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TextBox 24"/>
          <p:cNvSpPr txBox="1"/>
          <p:nvPr>
            <p:custDataLst>
              <p:tags r:id="rId22"/>
            </p:custDataLst>
          </p:nvPr>
        </p:nvSpPr>
        <p:spPr bwMode="gray">
          <a:xfrm>
            <a:off x="4667516" y="1556792"/>
            <a:ext cx="1578065" cy="338534"/>
          </a:xfrm>
          <a:prstGeom prst="rect">
            <a:avLst/>
          </a:prstGeom>
          <a:noFill/>
          <a:ln>
            <a:noFill/>
          </a:ln>
          <a:effectLst/>
        </p:spPr>
        <p:txBody>
          <a:bodyPr wrap="square" lIns="91420" tIns="45710" rIns="91420" bIns="45710">
            <a:spAutoFit/>
          </a:bodyPr>
          <a:lstStyle/>
          <a:p>
            <a:pPr algn="r">
              <a:defRPr/>
            </a:pPr>
            <a:r>
              <a:rPr lang="en-US" sz="1600" b="1" kern="0" dirty="0" err="1" smtClean="0">
                <a:solidFill>
                  <a:schemeClr val="tx2">
                    <a:lumMod val="60000"/>
                    <a:lumOff val="40000"/>
                  </a:schemeClr>
                </a:solidFill>
                <a:latin typeface="+mj-lt"/>
              </a:rPr>
              <a:t>Lixus</a:t>
            </a:r>
            <a:endParaRPr lang="en-US" sz="1600" b="1" kern="0" dirty="0">
              <a:solidFill>
                <a:schemeClr val="tx2">
                  <a:lumMod val="60000"/>
                  <a:lumOff val="40000"/>
                </a:schemeClr>
              </a:solidFill>
              <a:latin typeface="+mj-lt"/>
            </a:endParaRPr>
          </a:p>
        </p:txBody>
      </p:sp>
      <p:sp>
        <p:nvSpPr>
          <p:cNvPr id="42" name="TextBox 24"/>
          <p:cNvSpPr txBox="1"/>
          <p:nvPr>
            <p:custDataLst>
              <p:tags r:id="rId23"/>
            </p:custDataLst>
          </p:nvPr>
        </p:nvSpPr>
        <p:spPr bwMode="gray">
          <a:xfrm>
            <a:off x="6228184" y="2636912"/>
            <a:ext cx="1295400" cy="307756"/>
          </a:xfrm>
          <a:prstGeom prst="rect">
            <a:avLst/>
          </a:prstGeom>
          <a:noFill/>
          <a:ln>
            <a:noFill/>
          </a:ln>
          <a:effectLst/>
        </p:spPr>
        <p:txBody>
          <a:bodyPr lIns="91420" tIns="45710" rIns="91420" bIns="45710">
            <a:spAutoFit/>
          </a:bodyPr>
          <a:lstStyle/>
          <a:p>
            <a:pPr algn="ctr">
              <a:defRPr/>
            </a:pPr>
            <a:r>
              <a:rPr lang="en-US" sz="1400" i="1" kern="0" dirty="0" smtClean="0">
                <a:latin typeface="+mj-lt"/>
              </a:rPr>
              <a:t>Atlas &amp; </a:t>
            </a:r>
            <a:r>
              <a:rPr lang="en-US" sz="1400" i="1" kern="0" dirty="0" err="1" smtClean="0">
                <a:latin typeface="+mj-lt"/>
              </a:rPr>
              <a:t>Valeys</a:t>
            </a:r>
            <a:endParaRPr lang="en-US" sz="1400" i="1" kern="0" dirty="0">
              <a:latin typeface="+mj-lt"/>
            </a:endParaRPr>
          </a:p>
        </p:txBody>
      </p:sp>
      <p:sp>
        <p:nvSpPr>
          <p:cNvPr id="43" name="TextBox 24"/>
          <p:cNvSpPr txBox="1"/>
          <p:nvPr>
            <p:custDataLst>
              <p:tags r:id="rId24"/>
            </p:custDataLst>
          </p:nvPr>
        </p:nvSpPr>
        <p:spPr bwMode="gray">
          <a:xfrm>
            <a:off x="6423902" y="2060848"/>
            <a:ext cx="956410" cy="307756"/>
          </a:xfrm>
          <a:prstGeom prst="rect">
            <a:avLst/>
          </a:prstGeom>
          <a:noFill/>
          <a:ln>
            <a:noFill/>
          </a:ln>
          <a:effectLst/>
        </p:spPr>
        <p:txBody>
          <a:bodyPr wrap="square" lIns="91420" tIns="45710" rIns="91420" bIns="45710">
            <a:spAutoFit/>
          </a:bodyPr>
          <a:lstStyle/>
          <a:p>
            <a:pPr algn="ctr">
              <a:defRPr/>
            </a:pPr>
            <a:r>
              <a:rPr lang="en-US" sz="1400" i="1" kern="0" dirty="0" smtClean="0">
                <a:latin typeface="+mj-lt"/>
              </a:rPr>
              <a:t>Central</a:t>
            </a:r>
            <a:endParaRPr lang="en-US" sz="1400" i="1" kern="0" dirty="0">
              <a:latin typeface="+mj-lt"/>
            </a:endParaRPr>
          </a:p>
        </p:txBody>
      </p:sp>
      <p:sp>
        <p:nvSpPr>
          <p:cNvPr id="44" name="TextBox 24"/>
          <p:cNvSpPr txBox="1"/>
          <p:nvPr>
            <p:custDataLst>
              <p:tags r:id="rId25"/>
            </p:custDataLst>
          </p:nvPr>
        </p:nvSpPr>
        <p:spPr bwMode="gray">
          <a:xfrm>
            <a:off x="7308304" y="1844824"/>
            <a:ext cx="1469569" cy="307756"/>
          </a:xfrm>
          <a:prstGeom prst="rect">
            <a:avLst/>
          </a:prstGeom>
          <a:noFill/>
          <a:ln>
            <a:noFill/>
          </a:ln>
          <a:effectLst/>
        </p:spPr>
        <p:txBody>
          <a:bodyPr wrap="square" lIns="91420" tIns="45710" rIns="91420" bIns="45710">
            <a:spAutoFit/>
          </a:bodyPr>
          <a:lstStyle/>
          <a:p>
            <a:pPr algn="ctr">
              <a:defRPr/>
            </a:pPr>
            <a:r>
              <a:rPr lang="en-US" sz="1400" i="1" kern="0" dirty="0" smtClean="0">
                <a:latin typeface="+mj-lt"/>
              </a:rPr>
              <a:t>Mediterranean</a:t>
            </a:r>
            <a:endParaRPr lang="en-US" sz="1400" i="1" kern="0" dirty="0">
              <a:latin typeface="+mj-lt"/>
            </a:endParaRPr>
          </a:p>
        </p:txBody>
      </p:sp>
      <p:sp>
        <p:nvSpPr>
          <p:cNvPr id="45" name="TextBox 24"/>
          <p:cNvSpPr txBox="1"/>
          <p:nvPr>
            <p:custDataLst>
              <p:tags r:id="rId26"/>
            </p:custDataLst>
          </p:nvPr>
        </p:nvSpPr>
        <p:spPr bwMode="gray">
          <a:xfrm>
            <a:off x="5148064" y="1340768"/>
            <a:ext cx="1469569" cy="307756"/>
          </a:xfrm>
          <a:prstGeom prst="rect">
            <a:avLst/>
          </a:prstGeom>
          <a:noFill/>
          <a:ln>
            <a:noFill/>
          </a:ln>
          <a:effectLst/>
        </p:spPr>
        <p:txBody>
          <a:bodyPr wrap="square" lIns="91420" tIns="45710" rIns="91420" bIns="45710">
            <a:spAutoFit/>
          </a:bodyPr>
          <a:lstStyle/>
          <a:p>
            <a:pPr algn="ctr">
              <a:defRPr/>
            </a:pPr>
            <a:r>
              <a:rPr lang="en-US" sz="1400" i="1" kern="0" dirty="0" smtClean="0">
                <a:latin typeface="+mj-lt"/>
              </a:rPr>
              <a:t>North Cape</a:t>
            </a:r>
            <a:endParaRPr lang="en-US" sz="1400" i="1" kern="0" dirty="0">
              <a:latin typeface="+mj-lt"/>
            </a:endParaRPr>
          </a:p>
        </p:txBody>
      </p:sp>
      <p:sp>
        <p:nvSpPr>
          <p:cNvPr id="46" name="TextBox 24"/>
          <p:cNvSpPr txBox="1"/>
          <p:nvPr>
            <p:custDataLst>
              <p:tags r:id="rId27"/>
            </p:custDataLst>
          </p:nvPr>
        </p:nvSpPr>
        <p:spPr bwMode="gray">
          <a:xfrm>
            <a:off x="5046647" y="2636912"/>
            <a:ext cx="1469569" cy="307756"/>
          </a:xfrm>
          <a:prstGeom prst="rect">
            <a:avLst/>
          </a:prstGeom>
          <a:noFill/>
          <a:ln>
            <a:noFill/>
          </a:ln>
          <a:effectLst/>
        </p:spPr>
        <p:txBody>
          <a:bodyPr wrap="square" lIns="91420" tIns="45710" rIns="91420" bIns="45710">
            <a:spAutoFit/>
          </a:bodyPr>
          <a:lstStyle/>
          <a:p>
            <a:pPr algn="ctr">
              <a:defRPr/>
            </a:pPr>
            <a:r>
              <a:rPr lang="en-US" sz="1400" i="1" kern="0" dirty="0" smtClean="0">
                <a:latin typeface="+mj-lt"/>
              </a:rPr>
              <a:t>Marrakesh</a:t>
            </a:r>
            <a:endParaRPr lang="en-US" sz="1400" i="1" kern="0" dirty="0">
              <a:latin typeface="+mj-lt"/>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10"/>
          <p:cNvSpPr txBox="1"/>
          <p:nvPr/>
        </p:nvSpPr>
        <p:spPr>
          <a:xfrm>
            <a:off x="323528" y="67271"/>
            <a:ext cx="8748464" cy="769441"/>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altLang="en-US" dirty="0" smtClean="0"/>
              <a:t>有什么激励措施？</a:t>
            </a:r>
            <a:endParaRPr dirty="0"/>
          </a:p>
          <a:p>
            <a:r>
              <a:rPr lang="zh-CN" altLang="en-US" sz="2000" dirty="0" smtClean="0"/>
              <a:t>其他财政支持</a:t>
            </a:r>
            <a:endParaRPr lang="en-US" sz="2000" dirty="0"/>
          </a:p>
        </p:txBody>
      </p:sp>
      <p:sp>
        <p:nvSpPr>
          <p:cNvPr id="9" name="object 7"/>
          <p:cNvSpPr/>
          <p:nvPr/>
        </p:nvSpPr>
        <p:spPr>
          <a:xfrm>
            <a:off x="138568" y="926136"/>
            <a:ext cx="8897928" cy="5611986"/>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15" name="object 11"/>
          <p:cNvSpPr txBox="1"/>
          <p:nvPr/>
        </p:nvSpPr>
        <p:spPr>
          <a:xfrm>
            <a:off x="243623" y="1065219"/>
            <a:ext cx="8635191" cy="4431983"/>
          </a:xfrm>
          <a:prstGeom prst="rect">
            <a:avLst/>
          </a:prstGeom>
        </p:spPr>
        <p:txBody>
          <a:bodyPr vert="horz" wrap="square" lIns="0" tIns="0" rIns="0" bIns="0" rtlCol="0">
            <a:spAutoFit/>
          </a:bodyPr>
          <a:lstStyle/>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对优质地段的地块提供具有吸引力的价格。</a:t>
            </a:r>
            <a:endParaRPr lang="en-US" b="1" dirty="0" smtClean="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b="1"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中央担保基金（</a:t>
            </a:r>
            <a:r>
              <a:rPr lang="en-US" altLang="zh-CN" b="1" dirty="0" smtClean="0">
                <a:cs typeface="Bookman Old Style" panose="02050604050505020204"/>
              </a:rPr>
              <a:t> Central Guaranty Fund </a:t>
            </a:r>
            <a:r>
              <a:rPr lang="zh-CN" altLang="en-US" b="1" dirty="0" smtClean="0">
                <a:latin typeface="+mj-lt"/>
                <a:cs typeface="Bookman Old Style" panose="02050604050505020204"/>
              </a:rPr>
              <a:t>）：</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范围：该基金的目的是为提供给酒店和其他旅游住宿企业和</a:t>
            </a:r>
            <a:r>
              <a:rPr lang="en-US" altLang="zh-CN" dirty="0" smtClean="0">
                <a:latin typeface="+mj-lt"/>
                <a:cs typeface="Bookman Old Style" panose="02050604050505020204"/>
              </a:rPr>
              <a:t>/</a:t>
            </a:r>
            <a:r>
              <a:rPr lang="zh-CN" altLang="en-US" dirty="0" smtClean="0">
                <a:latin typeface="+mj-lt"/>
                <a:cs typeface="Bookman Old Style" panose="02050604050505020204"/>
              </a:rPr>
              <a:t>或休闲项目的中长期银行贷款进行担保。</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担保：高达贷款本金的</a:t>
            </a:r>
            <a:r>
              <a:rPr lang="en-US" altLang="zh-CN" dirty="0" smtClean="0">
                <a:latin typeface="+mj-lt"/>
                <a:cs typeface="Bookman Old Style" panose="02050604050505020204"/>
              </a:rPr>
              <a:t>50%</a:t>
            </a:r>
            <a:r>
              <a:rPr lang="zh-CN" altLang="en-US" dirty="0" smtClean="0">
                <a:latin typeface="+mj-lt"/>
                <a:cs typeface="Bookman Old Style" panose="02050604050505020204"/>
              </a:rPr>
              <a:t>，每个项目最多可获</a:t>
            </a:r>
            <a:r>
              <a:rPr lang="en-US" altLang="zh-CN" dirty="0" smtClean="0">
                <a:latin typeface="+mj-lt"/>
                <a:cs typeface="Bookman Old Style" panose="02050604050505020204"/>
              </a:rPr>
              <a:t>5000</a:t>
            </a:r>
            <a:r>
              <a:rPr lang="zh-CN" altLang="en-US" dirty="0" smtClean="0">
                <a:latin typeface="+mj-lt"/>
                <a:cs typeface="Bookman Old Style" panose="02050604050505020204"/>
              </a:rPr>
              <a:t>万摩洛哥迪拉姆的担保。</a:t>
            </a:r>
            <a:endParaRPr lang="en-US" dirty="0" smtClean="0">
              <a:latin typeface="+mj-lt"/>
              <a:cs typeface="Bookman Old Style" panose="02050604050505020204"/>
            </a:endParaRPr>
          </a:p>
          <a:p>
            <a:pPr marL="12700" algn="just">
              <a:lnSpc>
                <a:spcPct val="100000"/>
              </a:lnSpc>
              <a:tabLst>
                <a:tab pos="299085" algn="l"/>
                <a:tab pos="299720" algn="l"/>
              </a:tabLst>
            </a:pPr>
            <a:endParaRPr lang="en-US" dirty="0" smtClean="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en-US" b="1" dirty="0" smtClean="0">
                <a:cs typeface="Bookman Old Style" panose="02050604050505020204"/>
              </a:rPr>
              <a:t>Renovotel </a:t>
            </a:r>
            <a:r>
              <a:rPr lang="zh-CN" altLang="en-US" b="1" dirty="0" smtClean="0">
                <a:cs typeface="Bookman Old Style" panose="02050604050505020204"/>
              </a:rPr>
              <a:t>基金：</a:t>
            </a:r>
            <a:r>
              <a:rPr lang="en-US" b="1" dirty="0" smtClean="0">
                <a:cs typeface="Bookman Old Style" panose="02050604050505020204"/>
              </a:rPr>
              <a:t> </a:t>
            </a:r>
            <a:endParaRPr lang="en-US" b="1" dirty="0">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范围：该基金的目的是为提供给酒店和其他住宿企业翻新项目的中长期银行贷款进行担保。</a:t>
            </a:r>
            <a:endParaRPr lang="en-US" dirty="0">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担保：高达贷款本金的</a:t>
            </a:r>
            <a:r>
              <a:rPr lang="en-US" altLang="zh-CN" dirty="0" smtClean="0">
                <a:cs typeface="Bookman Old Style" panose="02050604050505020204"/>
              </a:rPr>
              <a:t>60%</a:t>
            </a:r>
            <a:r>
              <a:rPr lang="zh-CN" altLang="en-US" dirty="0" smtClean="0">
                <a:cs typeface="Bookman Old Style" panose="02050604050505020204"/>
              </a:rPr>
              <a:t>，每个项目最多可获</a:t>
            </a:r>
            <a:r>
              <a:rPr lang="en-US" altLang="zh-CN" dirty="0" smtClean="0">
                <a:cs typeface="Bookman Old Style" panose="02050604050505020204"/>
              </a:rPr>
              <a:t>2000</a:t>
            </a:r>
            <a:r>
              <a:rPr lang="zh-CN" altLang="en-US" dirty="0" smtClean="0">
                <a:cs typeface="Bookman Old Style" panose="02050604050505020204"/>
              </a:rPr>
              <a:t>万摩洛哥迪拉姆的担保。</a:t>
            </a:r>
            <a:endParaRPr lang="en-US" dirty="0">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b="1"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en-US" b="1" dirty="0" smtClean="0">
                <a:cs typeface="Bookman Old Style" panose="02050604050505020204"/>
              </a:rPr>
              <a:t>Moussanadat assiyaha</a:t>
            </a:r>
            <a:r>
              <a:rPr lang="zh-CN" altLang="en-US" b="1" dirty="0" smtClean="0">
                <a:cs typeface="Bookman Old Style" panose="02050604050505020204"/>
              </a:rPr>
              <a:t>基金：</a:t>
            </a:r>
            <a:r>
              <a:rPr lang="en-US" b="1" dirty="0" smtClean="0">
                <a:cs typeface="Bookman Old Style" panose="02050604050505020204"/>
              </a:rPr>
              <a:t> </a:t>
            </a:r>
            <a:endParaRPr lang="en-US" b="1" dirty="0">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范围：为中小企业提供资金，用作启动资金和人员招聘成本。</a:t>
            </a:r>
            <a:endParaRPr lang="en-US" dirty="0">
              <a:cs typeface="Bookman Old Style" panose="02050604050505020204"/>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10"/>
          <p:cNvSpPr txBox="1"/>
          <p:nvPr/>
        </p:nvSpPr>
        <p:spPr>
          <a:xfrm>
            <a:off x="467544" y="188640"/>
            <a:ext cx="8352928" cy="461665"/>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altLang="en-US" dirty="0" smtClean="0"/>
              <a:t>商业友好型环境</a:t>
            </a:r>
            <a:endParaRPr lang="en-US" sz="2000" dirty="0"/>
          </a:p>
        </p:txBody>
      </p:sp>
      <p:sp>
        <p:nvSpPr>
          <p:cNvPr id="9" name="object 7"/>
          <p:cNvSpPr/>
          <p:nvPr/>
        </p:nvSpPr>
        <p:spPr>
          <a:xfrm>
            <a:off x="138568" y="926136"/>
            <a:ext cx="8897928" cy="5611986"/>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15" name="object 11"/>
          <p:cNvSpPr txBox="1"/>
          <p:nvPr/>
        </p:nvSpPr>
        <p:spPr>
          <a:xfrm>
            <a:off x="261039" y="980728"/>
            <a:ext cx="8617793" cy="4708981"/>
          </a:xfrm>
          <a:prstGeom prst="rect">
            <a:avLst/>
          </a:prstGeom>
        </p:spPr>
        <p:txBody>
          <a:bodyPr vert="horz" wrap="square" lIns="0" tIns="0" rIns="0" bIns="0" rtlCol="0">
            <a:spAutoFit/>
          </a:bodyPr>
          <a:lstStyle/>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轻松创办企业：</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组成一家公司需要不到</a:t>
            </a:r>
            <a:r>
              <a:rPr lang="en-US" altLang="zh-CN" dirty="0" smtClean="0">
                <a:latin typeface="+mj-lt"/>
                <a:cs typeface="Bookman Old Style" panose="02050604050505020204"/>
              </a:rPr>
              <a:t>10</a:t>
            </a:r>
            <a:r>
              <a:rPr lang="zh-CN" altLang="en-US" dirty="0" smtClean="0">
                <a:latin typeface="+mj-lt"/>
                <a:cs typeface="Bookman Old Style" panose="02050604050505020204"/>
              </a:rPr>
              <a:t>天的时间。</a:t>
            </a:r>
            <a:endParaRPr lang="en-US" dirty="0" smtClean="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b="1"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对资本投资没有限制：</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在摩洛哥，非居民实体或个人可拥有自己企业的</a:t>
            </a:r>
            <a:r>
              <a:rPr lang="en-US" altLang="zh-CN" dirty="0" smtClean="0">
                <a:latin typeface="+mj-lt"/>
                <a:cs typeface="Bookman Old Style" panose="02050604050505020204"/>
              </a:rPr>
              <a:t>100%</a:t>
            </a:r>
            <a:r>
              <a:rPr lang="zh-CN" altLang="en-US" dirty="0" smtClean="0">
                <a:latin typeface="+mj-lt"/>
                <a:cs typeface="Bookman Old Style" panose="02050604050505020204"/>
              </a:rPr>
              <a:t>的资本。</a:t>
            </a:r>
            <a:endParaRPr lang="en-US" dirty="0" smtClean="0">
              <a:latin typeface="+mj-lt"/>
              <a:cs typeface="Bookman Old Style" panose="02050604050505020204"/>
            </a:endParaRPr>
          </a:p>
          <a:p>
            <a:pPr marL="12700" algn="just">
              <a:lnSpc>
                <a:spcPct val="100000"/>
              </a:lnSpc>
              <a:tabLst>
                <a:tab pos="299085" algn="l"/>
                <a:tab pos="299720" algn="l"/>
              </a:tabLst>
            </a:pP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资本和利润自由汇回：</a:t>
            </a:r>
            <a:endParaRPr lang="en-US"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非居民实体或个人可将在撤资、利润和股息上获得的资本收益</a:t>
            </a:r>
            <a:r>
              <a:rPr lang="en-US" altLang="zh-CN" dirty="0" smtClean="0">
                <a:cs typeface="Bookman Old Style" panose="02050604050505020204"/>
              </a:rPr>
              <a:t>100%</a:t>
            </a:r>
            <a:r>
              <a:rPr lang="zh-CN" altLang="en-US" dirty="0" smtClean="0">
                <a:cs typeface="Bookman Old Style" panose="02050604050505020204"/>
              </a:rPr>
              <a:t>转移。</a:t>
            </a:r>
            <a:endParaRPr lang="en-US" dirty="0">
              <a:cs typeface="Bookman Old Style" panose="02050604050505020204"/>
            </a:endParaRPr>
          </a:p>
          <a:p>
            <a:pPr marL="927100" lvl="2" algn="just">
              <a:tabLst>
                <a:tab pos="299085" algn="l"/>
                <a:tab pos="299720" algn="l"/>
              </a:tabLst>
            </a:pP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对土地所有权没有限制：</a:t>
            </a:r>
            <a:endParaRPr lang="en-US" b="1" dirty="0" smtClean="0">
              <a:latin typeface="+mj-lt"/>
              <a:cs typeface="Bookman Old Style" panose="02050604050505020204"/>
            </a:endParaRPr>
          </a:p>
          <a:p>
            <a:pPr marL="1213485" lvl="2" indent="-286385" algn="just">
              <a:buFont typeface="Wingdings" panose="05000000000000000000" pitchFamily="2" charset="2"/>
              <a:buChar char="ü"/>
              <a:tabLst>
                <a:tab pos="299085" algn="l"/>
                <a:tab pos="299720" algn="l"/>
              </a:tabLst>
            </a:pPr>
            <a:r>
              <a:rPr lang="zh-CN" altLang="en-US" dirty="0" smtClean="0">
                <a:latin typeface="+mj-lt"/>
                <a:cs typeface="Bookman Old Style" panose="02050604050505020204"/>
              </a:rPr>
              <a:t>除农业用地外，非居民实体和个人可拥有</a:t>
            </a:r>
            <a:r>
              <a:rPr lang="en-US" altLang="zh-CN" dirty="0" smtClean="0">
                <a:latin typeface="+mj-lt"/>
                <a:cs typeface="Bookman Old Style" panose="02050604050505020204"/>
              </a:rPr>
              <a:t>100%</a:t>
            </a:r>
            <a:r>
              <a:rPr lang="zh-CN" altLang="en-US" dirty="0" smtClean="0">
                <a:latin typeface="+mj-lt"/>
                <a:cs typeface="Bookman Old Style" panose="02050604050505020204"/>
              </a:rPr>
              <a:t>的土地所有权。</a:t>
            </a:r>
            <a:endParaRPr lang="en-US"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b="1" dirty="0">
              <a:latin typeface="+mj-lt"/>
              <a:cs typeface="Bookman Old Style" panose="02050604050505020204"/>
            </a:endParaRPr>
          </a:p>
          <a:p>
            <a:pPr marL="299085" indent="-286385" algn="just">
              <a:lnSpc>
                <a:spcPct val="100000"/>
              </a:lnSpc>
              <a:buFont typeface="Arial" panose="020B0604020202020204"/>
              <a:buChar char="•"/>
              <a:tabLst>
                <a:tab pos="299085" algn="l"/>
                <a:tab pos="299720" algn="l"/>
              </a:tabLst>
            </a:pPr>
            <a:r>
              <a:rPr lang="zh-CN" altLang="en-US" b="1" dirty="0" smtClean="0">
                <a:latin typeface="+mj-lt"/>
                <a:cs typeface="Bookman Old Style" panose="02050604050505020204"/>
              </a:rPr>
              <a:t>在员工招聘方面没有限制：</a:t>
            </a:r>
            <a:endParaRPr lang="en-US" b="1" dirty="0" smtClean="0">
              <a:latin typeface="+mj-lt"/>
              <a:cs typeface="Bookman Old Style" panose="02050604050505020204"/>
            </a:endParaRPr>
          </a:p>
          <a:p>
            <a:pPr marL="1213485" lvl="4" indent="-286385" algn="just">
              <a:buFont typeface="Wingdings" panose="05000000000000000000" pitchFamily="2" charset="2"/>
              <a:buChar char="ü"/>
              <a:tabLst>
                <a:tab pos="299085" algn="l"/>
                <a:tab pos="299720" algn="l"/>
              </a:tabLst>
            </a:pPr>
            <a:r>
              <a:rPr lang="zh-CN" altLang="en-US" dirty="0" smtClean="0">
                <a:cs typeface="Bookman Old Style" panose="02050604050505020204"/>
              </a:rPr>
              <a:t>投资者可以不受限制地从任何国家招募员工</a:t>
            </a:r>
            <a:r>
              <a:rPr lang="en-US" altLang="zh-CN" dirty="0" smtClean="0">
                <a:cs typeface="Bookman Old Style" panose="02050604050505020204"/>
              </a:rPr>
              <a:t>——</a:t>
            </a:r>
            <a:r>
              <a:rPr lang="zh-CN" altLang="en-US" dirty="0" smtClean="0">
                <a:cs typeface="Bookman Old Style" panose="02050604050505020204"/>
              </a:rPr>
              <a:t>尤其是高级员工。</a:t>
            </a:r>
            <a:endParaRPr lang="en-US" dirty="0">
              <a:cs typeface="Bookman Old Style" panose="02050604050505020204"/>
            </a:endParaRPr>
          </a:p>
          <a:p>
            <a:pPr marL="299085" indent="-286385" algn="just">
              <a:lnSpc>
                <a:spcPct val="100000"/>
              </a:lnSpc>
              <a:buFont typeface="Arial" panose="020B0604020202020204"/>
              <a:buChar char="•"/>
              <a:tabLst>
                <a:tab pos="299085" algn="l"/>
                <a:tab pos="299720" algn="l"/>
              </a:tabLst>
            </a:pPr>
            <a:endParaRPr lang="en-US" b="1" dirty="0">
              <a:latin typeface="+mj-lt"/>
              <a:cs typeface="Bookman Old Style" panose="02050604050505020204"/>
            </a:endParaRPr>
          </a:p>
          <a:p>
            <a:pPr marL="299085" lvl="2" indent="-286385" algn="just">
              <a:buFont typeface="Arial" panose="020B0604020202020204"/>
              <a:buChar char="•"/>
              <a:tabLst>
                <a:tab pos="299085" algn="l"/>
                <a:tab pos="299720" algn="l"/>
              </a:tabLst>
            </a:pPr>
            <a:r>
              <a:rPr lang="zh-CN" altLang="en-US" b="1" dirty="0" smtClean="0">
                <a:cs typeface="Bookman Old Style" panose="02050604050505020204"/>
              </a:rPr>
              <a:t>解决投资争端国际中心（</a:t>
            </a:r>
            <a:r>
              <a:rPr lang="en-US" altLang="zh-CN" b="1" dirty="0" smtClean="0">
                <a:cs typeface="Bookman Old Style" panose="02050604050505020204"/>
              </a:rPr>
              <a:t>International Centre for Investment  Disputes Settlement</a:t>
            </a:r>
            <a:r>
              <a:rPr lang="zh-CN" altLang="en-US" b="1" dirty="0" smtClean="0">
                <a:cs typeface="Bookman Old Style" panose="02050604050505020204"/>
              </a:rPr>
              <a:t>）成员。</a:t>
            </a:r>
            <a:endParaRPr lang="en-US" b="1" dirty="0">
              <a:cs typeface="Bookman Old Style" panose="02050604050505020204"/>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46083" name="Picture 2"/>
          <p:cNvPicPr>
            <a:picLocks noChangeAspect="1" noChangeArrowheads="1"/>
          </p:cNvPicPr>
          <p:nvPr/>
        </p:nvPicPr>
        <p:blipFill>
          <a:blip r:embed="rId3">
            <a:extLst>
              <a:ext uri="{28A0092B-C50C-407E-A947-70E740481C1C}">
                <a14:useLocalDpi xmlns:a14="http://schemas.microsoft.com/office/drawing/2010/main" val="0"/>
              </a:ext>
            </a:extLst>
          </a:blip>
          <a:srcRect l="1431" r="5551"/>
          <a:stretch>
            <a:fillRect/>
          </a:stretch>
        </p:blipFill>
        <p:spPr bwMode="auto">
          <a:xfrm>
            <a:off x="15240" y="-1524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5" name="Obje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44" name="think-cell Slide" r:id="rId7" imgW="12700" imgH="12700" progId="TCLayout.ActiveDocument.1">
                  <p:embed/>
                </p:oleObj>
              </mc:Choice>
              <mc:Fallback>
                <p:oleObj name="think-cell Slide" r:id="rId7" imgW="12700" imgH="12700" progId="TCLayout.ActiveDocument.1">
                  <p:embed/>
                  <p:pic>
                    <p:nvPicPr>
                      <p:cNvPr id="0" name="图片 41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6" name="Rectangle 11"/>
          <p:cNvSpPr>
            <a:spLocks noChangeArrowheads="1"/>
          </p:cNvSpPr>
          <p:nvPr/>
        </p:nvSpPr>
        <p:spPr bwMode="auto">
          <a:xfrm>
            <a:off x="1374775" y="765175"/>
            <a:ext cx="1857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89535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SzPct val="120000"/>
              <a:buFontTx/>
              <a:buNone/>
            </a:pPr>
            <a:endParaRPr lang="fr-FR" altLang="fr-FR" sz="1600" b="1" dirty="0">
              <a:solidFill>
                <a:schemeClr val="bg1"/>
              </a:solidFill>
              <a:latin typeface="Georgia" panose="02040502050405020303" pitchFamily="18" charset="0"/>
            </a:endParaRPr>
          </a:p>
        </p:txBody>
      </p:sp>
      <p:sp>
        <p:nvSpPr>
          <p:cNvPr id="3" name="Rectangle 2"/>
          <p:cNvSpPr/>
          <p:nvPr/>
        </p:nvSpPr>
        <p:spPr>
          <a:xfrm>
            <a:off x="3486900" y="260648"/>
            <a:ext cx="184731" cy="369332"/>
          </a:xfrm>
          <a:prstGeom prst="rect">
            <a:avLst/>
          </a:prstGeom>
        </p:spPr>
        <p:txBody>
          <a:bodyPr wrap="none">
            <a:spAutoFit/>
          </a:bodyPr>
          <a:lstStyle/>
          <a:p>
            <a:pPr algn="ctr" fontAlgn="auto">
              <a:spcBef>
                <a:spcPts val="0"/>
              </a:spcBef>
              <a:spcAft>
                <a:spcPts val="0"/>
              </a:spcAft>
              <a:defRPr/>
            </a:pPr>
            <a:endParaRPr lang="en-US" b="1" dirty="0">
              <a:solidFill>
                <a:schemeClr val="bg1">
                  <a:lumMod val="95000"/>
                </a:schemeClr>
              </a:solidFill>
              <a:latin typeface="Georgia" panose="02040502050405020303" pitchFamily="18" charset="0"/>
              <a:cs typeface="+mn-cs"/>
            </a:endParaRPr>
          </a:p>
        </p:txBody>
      </p:sp>
      <p:sp>
        <p:nvSpPr>
          <p:cNvPr id="8" name="ZoneTexte 67"/>
          <p:cNvSpPr txBox="1">
            <a:spLocks noChangeArrowheads="1"/>
          </p:cNvSpPr>
          <p:nvPr>
            <p:custDataLst>
              <p:tags r:id="rId3"/>
            </p:custDataLst>
          </p:nvPr>
        </p:nvSpPr>
        <p:spPr bwMode="auto">
          <a:xfrm>
            <a:off x="92264" y="230168"/>
            <a:ext cx="82477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just" eaLnBrk="1" hangingPunct="1">
              <a:spcBef>
                <a:spcPct val="0"/>
              </a:spcBef>
              <a:buFontTx/>
              <a:buNone/>
            </a:pPr>
            <a:r>
              <a:rPr lang="fr-FR" altLang="fr-FR" sz="2400" b="1" dirty="0" smtClean="0">
                <a:solidFill>
                  <a:schemeClr val="bg1"/>
                </a:solidFill>
                <a:latin typeface="+mj-lt"/>
              </a:rPr>
              <a:t>MARKETING- Réalisation 1</a:t>
            </a:r>
            <a:r>
              <a:rPr lang="fr-FR" altLang="fr-FR" sz="2400" b="1" baseline="30000" dirty="0" smtClean="0">
                <a:solidFill>
                  <a:schemeClr val="bg1"/>
                </a:solidFill>
                <a:latin typeface="+mj-lt"/>
              </a:rPr>
              <a:t>er</a:t>
            </a:r>
            <a:r>
              <a:rPr lang="fr-FR" altLang="fr-FR" sz="2400" b="1" dirty="0" smtClean="0">
                <a:solidFill>
                  <a:schemeClr val="bg1"/>
                </a:solidFill>
                <a:latin typeface="+mj-lt"/>
              </a:rPr>
              <a:t> Semestre 2017</a:t>
            </a:r>
            <a:endParaRPr lang="fr-FR" altLang="fr-FR" sz="2400" b="1" dirty="0">
              <a:solidFill>
                <a:schemeClr val="bg1"/>
              </a:solidFill>
              <a:latin typeface="+mj-lt"/>
            </a:endParaRPr>
          </a:p>
        </p:txBody>
      </p:sp>
      <p:sp>
        <p:nvSpPr>
          <p:cNvPr id="9" name="ZoneTexte 67"/>
          <p:cNvSpPr txBox="1">
            <a:spLocks noChangeArrowheads="1"/>
          </p:cNvSpPr>
          <p:nvPr>
            <p:custDataLst>
              <p:tags r:id="rId4"/>
            </p:custDataLst>
          </p:nvPr>
        </p:nvSpPr>
        <p:spPr bwMode="auto">
          <a:xfrm>
            <a:off x="323528" y="2953687"/>
            <a:ext cx="8148896"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just" eaLnBrk="1" hangingPunct="1">
              <a:spcBef>
                <a:spcPct val="0"/>
              </a:spcBef>
              <a:buFontTx/>
              <a:buNone/>
            </a:pPr>
            <a:r>
              <a:rPr lang="fr-FR" altLang="fr-FR" sz="2400" b="1" dirty="0" smtClean="0">
                <a:solidFill>
                  <a:schemeClr val="bg1"/>
                </a:solidFill>
                <a:latin typeface="+mj-lt"/>
              </a:rPr>
              <a:t>摩洛哥旅游发展署（SMIT）</a:t>
            </a:r>
            <a:r>
              <a:rPr lang="zh-CN" altLang="en-US" sz="2400" b="1" dirty="0" smtClean="0">
                <a:solidFill>
                  <a:schemeClr val="bg1"/>
                </a:solidFill>
                <a:latin typeface="+mj-lt"/>
                <a:ea typeface="宋体" panose="02010600030101010101" pitchFamily="2" charset="-122"/>
              </a:rPr>
              <a:t>介绍</a:t>
            </a:r>
          </a:p>
        </p:txBody>
      </p:sp>
      <p:sp>
        <p:nvSpPr>
          <p:cNvPr id="12" name="object 9"/>
          <p:cNvSpPr/>
          <p:nvPr/>
        </p:nvSpPr>
        <p:spPr>
          <a:xfrm>
            <a:off x="76998" y="3805001"/>
            <a:ext cx="414655" cy="2786380"/>
          </a:xfrm>
          <a:custGeom>
            <a:avLst/>
            <a:gdLst/>
            <a:ahLst/>
            <a:cxnLst/>
            <a:rect l="l" t="t" r="r" b="b"/>
            <a:pathLst>
              <a:path w="414655" h="2786379">
                <a:moveTo>
                  <a:pt x="0" y="2785999"/>
                </a:moveTo>
                <a:lnTo>
                  <a:pt x="414336" y="2785999"/>
                </a:lnTo>
                <a:lnTo>
                  <a:pt x="414336" y="0"/>
                </a:lnTo>
                <a:lnTo>
                  <a:pt x="0" y="0"/>
                </a:lnTo>
                <a:lnTo>
                  <a:pt x="0" y="2785999"/>
                </a:lnTo>
                <a:close/>
              </a:path>
            </a:pathLst>
          </a:cu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15" name="object 13"/>
          <p:cNvSpPr/>
          <p:nvPr/>
        </p:nvSpPr>
        <p:spPr>
          <a:xfrm>
            <a:off x="293583" y="3858978"/>
            <a:ext cx="2097024" cy="1357249"/>
          </a:xfrm>
          <a:prstGeom prst="rect">
            <a:avLst/>
          </a:prstGeom>
          <a:blipFill>
            <a:blip r:embed="rId9" cstate="print"/>
            <a:stretch>
              <a:fillRect/>
            </a:stretch>
          </a:blipFill>
        </p:spPr>
        <p:txBody>
          <a:bodyPr wrap="square" lIns="0" tIns="0" rIns="0" bIns="0" rtlCol="0"/>
          <a:lstStyle/>
          <a:p>
            <a:endParaRPr/>
          </a:p>
        </p:txBody>
      </p:sp>
      <p:sp>
        <p:nvSpPr>
          <p:cNvPr id="16" name="object 14"/>
          <p:cNvSpPr/>
          <p:nvPr/>
        </p:nvSpPr>
        <p:spPr>
          <a:xfrm>
            <a:off x="299933" y="5227403"/>
            <a:ext cx="4241863" cy="1369949"/>
          </a:xfrm>
          <a:prstGeom prst="rect">
            <a:avLst/>
          </a:prstGeom>
          <a:blipFill>
            <a:blip r:embed="rId10" cstate="print"/>
            <a:stretch>
              <a:fillRect/>
            </a:stretch>
          </a:blipFill>
        </p:spPr>
        <p:txBody>
          <a:bodyPr wrap="square" lIns="0" tIns="0" rIns="0" bIns="0" rtlCol="0"/>
          <a:lstStyle/>
          <a:p>
            <a:endParaRPr/>
          </a:p>
        </p:txBody>
      </p:sp>
      <p:sp>
        <p:nvSpPr>
          <p:cNvPr id="17" name="object 15"/>
          <p:cNvSpPr/>
          <p:nvPr/>
        </p:nvSpPr>
        <p:spPr>
          <a:xfrm>
            <a:off x="2401847" y="3860502"/>
            <a:ext cx="4348099" cy="1368425"/>
          </a:xfrm>
          <a:prstGeom prst="rect">
            <a:avLst/>
          </a:prstGeom>
          <a:blipFill>
            <a:blip r:embed="rId11" cstate="print"/>
            <a:stretch>
              <a:fillRect/>
            </a:stretch>
          </a:blipFill>
        </p:spPr>
        <p:txBody>
          <a:bodyPr wrap="square" lIns="0" tIns="0" rIns="0" bIns="0" rtlCol="0"/>
          <a:lstStyle/>
          <a:p>
            <a:endParaRPr/>
          </a:p>
        </p:txBody>
      </p:sp>
      <p:sp>
        <p:nvSpPr>
          <p:cNvPr id="18" name="object 16"/>
          <p:cNvSpPr/>
          <p:nvPr/>
        </p:nvSpPr>
        <p:spPr>
          <a:xfrm>
            <a:off x="4552846" y="5238451"/>
            <a:ext cx="2197100" cy="1352550"/>
          </a:xfrm>
          <a:prstGeom prst="rect">
            <a:avLst/>
          </a:prstGeom>
          <a:blipFill>
            <a:blip r:embed="rId12" cstate="print"/>
            <a:stretch>
              <a:fillRect/>
            </a:stretch>
          </a:blipFill>
        </p:spPr>
        <p:txBody>
          <a:bodyPr wrap="square" lIns="0" tIns="0" rIns="0" bIns="0" rtlCol="0"/>
          <a:lstStyle/>
          <a:p>
            <a:endParaRPr/>
          </a:p>
        </p:txBody>
      </p:sp>
      <p:sp>
        <p:nvSpPr>
          <p:cNvPr id="19" name="object 17"/>
          <p:cNvSpPr/>
          <p:nvPr/>
        </p:nvSpPr>
        <p:spPr>
          <a:xfrm>
            <a:off x="6761122" y="3860628"/>
            <a:ext cx="2217673" cy="2730373"/>
          </a:xfrm>
          <a:prstGeom prst="rect">
            <a:avLst/>
          </a:prstGeom>
          <a:blipFill>
            <a:blip r:embed="rId13"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Image 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5650" y="1181512"/>
            <a:ext cx="7620000" cy="486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5059" name="Objet 36"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8" name="think-cell Slide" r:id="rId5" imgW="8255" imgH="8255" progId="">
                  <p:embed/>
                </p:oleObj>
              </mc:Choice>
              <mc:Fallback>
                <p:oleObj name="think-cell Slide" r:id="rId5" imgW="8255" imgH="8255" progId="">
                  <p:embed/>
                  <p:pic>
                    <p:nvPicPr>
                      <p:cNvPr id="0" name="图片 5120"/>
                      <p:cNvPicPr>
                        <a:picLocks noChangeAspect="1"/>
                      </p:cNvPicPr>
                      <p:nvPr/>
                    </p:nvPicPr>
                    <p:blipFill>
                      <a:blip r:embed="rId6"/>
                      <a:stretch>
                        <a:fillRect/>
                      </a:stretch>
                    </p:blipFill>
                    <p:spPr>
                      <a:xfrm>
                        <a:off x="0" y="0"/>
                        <a:ext cx="158750" cy="158750"/>
                      </a:xfrm>
                      <a:prstGeom prst="rect">
                        <a:avLst/>
                      </a:prstGeom>
                      <a:noFill/>
                      <a:ln w="9525">
                        <a:noFill/>
                      </a:ln>
                    </p:spPr>
                  </p:pic>
                </p:oleObj>
              </mc:Fallback>
            </mc:AlternateContent>
          </a:graphicData>
        </a:graphic>
      </p:graphicFrame>
      <p:sp>
        <p:nvSpPr>
          <p:cNvPr id="2" name="Titre 1"/>
          <p:cNvSpPr>
            <a:spLocks noGrp="1"/>
          </p:cNvSpPr>
          <p:nvPr>
            <p:ph type="title"/>
            <p:custDataLst>
              <p:tags r:id="rId2"/>
            </p:custDataLst>
          </p:nvPr>
        </p:nvSpPr>
        <p:spPr>
          <a:xfrm>
            <a:off x="118552" y="51023"/>
            <a:ext cx="8229600" cy="82994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r>
              <a:rPr lang="zh-CN" altLang="en-US" sz="2400" b="1" dirty="0" smtClean="0">
                <a:solidFill>
                  <a:schemeClr val="bg1"/>
                </a:solidFill>
                <a:latin typeface="+mn-lt"/>
                <a:ea typeface="MS PGothic" panose="020B0600070205080204" pitchFamily="34" charset="-128"/>
                <a:cs typeface="+mn-cs"/>
              </a:rPr>
              <a:t>欢迎联系我们！</a:t>
            </a:r>
            <a:r>
              <a:rPr lang="fr-FR" sz="2400" b="1" dirty="0">
                <a:solidFill>
                  <a:schemeClr val="bg1"/>
                </a:solidFill>
                <a:latin typeface="+mn-lt"/>
                <a:ea typeface="MS PGothic" panose="020B0600070205080204" pitchFamily="34" charset="-128"/>
                <a:cs typeface="+mn-cs"/>
              </a:rPr>
              <a:t/>
            </a:r>
            <a:br>
              <a:rPr lang="fr-FR" sz="2400" b="1" dirty="0">
                <a:solidFill>
                  <a:schemeClr val="bg1"/>
                </a:solidFill>
                <a:latin typeface="+mn-lt"/>
                <a:ea typeface="MS PGothic" panose="020B0600070205080204" pitchFamily="34" charset="-128"/>
                <a:cs typeface="+mn-cs"/>
              </a:rPr>
            </a:br>
            <a:r>
              <a:rPr lang="zh-CN" altLang="en-US" sz="2400" b="1" dirty="0" smtClean="0">
                <a:solidFill>
                  <a:schemeClr val="bg1"/>
                </a:solidFill>
                <a:latin typeface="+mn-lt"/>
                <a:ea typeface="MS PGothic" panose="020B0600070205080204" pitchFamily="34" charset="-128"/>
                <a:cs typeface="+mn-cs"/>
              </a:rPr>
              <a:t>摩洛哥旅游发展署（SMIT）：助</a:t>
            </a:r>
            <a:r>
              <a:rPr lang="zh-CN" altLang="en-US" sz="2400" dirty="0" smtClean="0">
                <a:solidFill>
                  <a:schemeClr val="bg1"/>
                </a:solidFill>
                <a:latin typeface="+mn-lt"/>
                <a:ea typeface="MS PGothic" panose="020B0600070205080204" pitchFamily="34" charset="-128"/>
                <a:cs typeface="+mn-cs"/>
              </a:rPr>
              <a:t>您</a:t>
            </a:r>
            <a:r>
              <a:rPr lang="zh-CN" altLang="en-US" sz="2400" b="1" dirty="0" smtClean="0">
                <a:solidFill>
                  <a:schemeClr val="bg1"/>
                </a:solidFill>
                <a:latin typeface="+mn-lt"/>
                <a:ea typeface="MS PGothic" panose="020B0600070205080204" pitchFamily="34" charset="-128"/>
                <a:cs typeface="+mn-cs"/>
              </a:rPr>
              <a:t>在摩洛哥获得成功的好伙伴</a:t>
            </a:r>
            <a:endParaRPr lang="fr-FR" sz="2400" b="1" dirty="0">
              <a:solidFill>
                <a:schemeClr val="bg1"/>
              </a:solidFill>
              <a:latin typeface="+mn-lt"/>
              <a:ea typeface="MS PGothic" panose="020B0600070205080204" pitchFamily="34" charset="-128"/>
              <a:cs typeface="+mn-cs"/>
            </a:endParaRPr>
          </a:p>
        </p:txBody>
      </p:sp>
      <p:sp>
        <p:nvSpPr>
          <p:cNvPr id="45061" name="ZoneTexte 2"/>
          <p:cNvSpPr txBox="1">
            <a:spLocks noChangeArrowheads="1"/>
          </p:cNvSpPr>
          <p:nvPr/>
        </p:nvSpPr>
        <p:spPr bwMode="auto">
          <a:xfrm>
            <a:off x="3314700" y="1273175"/>
            <a:ext cx="2552700" cy="1815882"/>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zh-CN" altLang="en-US" sz="1400" dirty="0" smtClean="0">
                <a:latin typeface="+mj-lt"/>
              </a:rPr>
              <a:t>电话：</a:t>
            </a:r>
            <a:r>
              <a:rPr lang="en-US" altLang="zh-CN" sz="1400" dirty="0" smtClean="0">
                <a:latin typeface="+mj-lt"/>
              </a:rPr>
              <a:t>00</a:t>
            </a:r>
            <a:r>
              <a:rPr lang="fr-FR" altLang="fr-FR" sz="1400" dirty="0" smtClean="0">
                <a:latin typeface="+mj-lt"/>
              </a:rPr>
              <a:t>212 </a:t>
            </a:r>
            <a:r>
              <a:rPr lang="fr-FR" altLang="fr-FR" sz="1400" dirty="0">
                <a:latin typeface="+mj-lt"/>
              </a:rPr>
              <a:t>537 577 </a:t>
            </a:r>
            <a:r>
              <a:rPr lang="fr-FR" altLang="fr-FR" sz="1400" dirty="0" smtClean="0">
                <a:latin typeface="+mj-lt"/>
              </a:rPr>
              <a:t>883/4 </a:t>
            </a:r>
          </a:p>
          <a:p>
            <a:pPr eaLnBrk="1" hangingPunct="1">
              <a:spcBef>
                <a:spcPct val="0"/>
              </a:spcBef>
              <a:buFontTx/>
              <a:buNone/>
            </a:pPr>
            <a:r>
              <a:rPr lang="zh-CN" altLang="en-US" sz="1400" dirty="0" smtClean="0">
                <a:latin typeface="+mj-lt"/>
              </a:rPr>
              <a:t>网址：</a:t>
            </a:r>
            <a:r>
              <a:rPr lang="fr-FR" altLang="fr-FR" sz="1400" dirty="0" smtClean="0">
                <a:latin typeface="+mj-lt"/>
                <a:hlinkClick r:id="rId7"/>
              </a:rPr>
              <a:t>www.smit.gov.ma</a:t>
            </a:r>
            <a:endParaRPr lang="fr-FR" altLang="fr-FR" sz="1400" dirty="0">
              <a:latin typeface="+mj-lt"/>
            </a:endParaRPr>
          </a:p>
          <a:p>
            <a:pPr eaLnBrk="1" hangingPunct="1">
              <a:spcBef>
                <a:spcPct val="0"/>
              </a:spcBef>
              <a:buFontTx/>
              <a:buNone/>
            </a:pPr>
            <a:r>
              <a:rPr lang="zh-CN" altLang="en-US" sz="1400" dirty="0" smtClean="0">
                <a:latin typeface="+mj-lt"/>
              </a:rPr>
              <a:t>地址：</a:t>
            </a:r>
            <a:r>
              <a:rPr lang="fr-FR" altLang="fr-FR" sz="1400" dirty="0" smtClean="0">
                <a:latin typeface="+mj-lt"/>
              </a:rPr>
              <a:t>Avenue </a:t>
            </a:r>
            <a:r>
              <a:rPr lang="fr-FR" altLang="fr-FR" sz="1400" dirty="0">
                <a:latin typeface="+mj-lt"/>
              </a:rPr>
              <a:t>Ennakhil </a:t>
            </a:r>
          </a:p>
          <a:p>
            <a:pPr eaLnBrk="1" hangingPunct="1">
              <a:spcBef>
                <a:spcPct val="0"/>
              </a:spcBef>
              <a:buFontTx/>
              <a:buNone/>
            </a:pPr>
            <a:r>
              <a:rPr lang="fr-FR" altLang="fr-FR" sz="1400" dirty="0">
                <a:latin typeface="+mj-lt"/>
              </a:rPr>
              <a:t>Hay Ryad Business Center</a:t>
            </a:r>
          </a:p>
          <a:p>
            <a:pPr eaLnBrk="1" hangingPunct="1">
              <a:spcBef>
                <a:spcPct val="0"/>
              </a:spcBef>
              <a:buFontTx/>
              <a:buNone/>
            </a:pPr>
            <a:r>
              <a:rPr lang="fr-FR" altLang="fr-FR" sz="1400" dirty="0">
                <a:latin typeface="+mj-lt"/>
              </a:rPr>
              <a:t>Rabat – Morocco</a:t>
            </a:r>
          </a:p>
          <a:p>
            <a:pPr eaLnBrk="1" hangingPunct="1">
              <a:spcBef>
                <a:spcPct val="0"/>
              </a:spcBef>
              <a:buFontTx/>
              <a:buNone/>
            </a:pPr>
            <a:r>
              <a:rPr lang="zh-CN" altLang="en-US" sz="1400" dirty="0" smtClean="0">
                <a:latin typeface="+mj-lt"/>
              </a:rPr>
              <a:t>邮箱：</a:t>
            </a:r>
            <a:endParaRPr lang="fr-FR" altLang="fr-FR" sz="1400" dirty="0">
              <a:latin typeface="+mj-lt"/>
            </a:endParaRPr>
          </a:p>
          <a:p>
            <a:pPr eaLnBrk="1" hangingPunct="1">
              <a:spcBef>
                <a:spcPct val="0"/>
              </a:spcBef>
              <a:buFontTx/>
              <a:buNone/>
            </a:pPr>
            <a:r>
              <a:rPr lang="fr-FR" altLang="fr-FR" sz="1400" dirty="0">
                <a:latin typeface="+mj-lt"/>
                <a:hlinkClick r:id="rId8"/>
              </a:rPr>
              <a:t>smikram@smit.gov.ma</a:t>
            </a:r>
            <a:endParaRPr lang="fr-FR" altLang="fr-FR" sz="1400" dirty="0">
              <a:latin typeface="+mj-lt"/>
            </a:endParaRPr>
          </a:p>
          <a:p>
            <a:pPr eaLnBrk="1" hangingPunct="1">
              <a:spcBef>
                <a:spcPct val="0"/>
              </a:spcBef>
              <a:buFontTx/>
              <a:buNone/>
            </a:pPr>
            <a:r>
              <a:rPr lang="fr-FR" altLang="fr-FR" sz="1400" dirty="0">
                <a:latin typeface="+mj-lt"/>
                <a:hlinkClick r:id="rId9"/>
              </a:rPr>
              <a:t>yhajoui@smit.gov.ma</a:t>
            </a:r>
            <a:endParaRPr lang="fr-FR" altLang="fr-FR" sz="1400" dirty="0">
              <a:latin typeface="+mj-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p:nvPr/>
        </p:nvSpPr>
        <p:spPr>
          <a:xfrm>
            <a:off x="441325" y="1555452"/>
            <a:ext cx="8702675" cy="5041900"/>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latin typeface="+mj-lt"/>
            </a:endParaRPr>
          </a:p>
        </p:txBody>
      </p:sp>
      <p:sp>
        <p:nvSpPr>
          <p:cNvPr id="10" name="object 10"/>
          <p:cNvSpPr/>
          <p:nvPr/>
        </p:nvSpPr>
        <p:spPr>
          <a:xfrm>
            <a:off x="3013075" y="2425725"/>
            <a:ext cx="3592576" cy="3381375"/>
          </a:xfrm>
          <a:prstGeom prst="rect">
            <a:avLst/>
          </a:prstGeom>
          <a:blipFill>
            <a:blip r:embed="rId3" cstate="print"/>
            <a:stretch>
              <a:fillRect/>
            </a:stretch>
          </a:blipFill>
          <a:ln>
            <a:solidFill>
              <a:srgbClr val="0378A1"/>
            </a:solidFill>
          </a:ln>
        </p:spPr>
        <p:txBody>
          <a:bodyPr wrap="square" lIns="0" tIns="0" rIns="0" bIns="0" rtlCol="0"/>
          <a:lstStyle/>
          <a:p>
            <a:endParaRPr>
              <a:latin typeface="+mj-lt"/>
            </a:endParaRPr>
          </a:p>
        </p:txBody>
      </p:sp>
      <p:sp>
        <p:nvSpPr>
          <p:cNvPr id="12" name="object 12"/>
          <p:cNvSpPr/>
          <p:nvPr/>
        </p:nvSpPr>
        <p:spPr>
          <a:xfrm>
            <a:off x="3339524" y="2780024"/>
            <a:ext cx="1397000" cy="1165225"/>
          </a:xfrm>
          <a:custGeom>
            <a:avLst/>
            <a:gdLst/>
            <a:ahLst/>
            <a:cxnLst/>
            <a:rect l="l" t="t" r="r" b="b"/>
            <a:pathLst>
              <a:path w="1397000" h="1165225">
                <a:moveTo>
                  <a:pt x="897149" y="811784"/>
                </a:moveTo>
                <a:lnTo>
                  <a:pt x="288925" y="811784"/>
                </a:lnTo>
                <a:lnTo>
                  <a:pt x="650239" y="1165225"/>
                </a:lnTo>
                <a:lnTo>
                  <a:pt x="698500" y="1027176"/>
                </a:lnTo>
                <a:lnTo>
                  <a:pt x="782701" y="916686"/>
                </a:lnTo>
                <a:lnTo>
                  <a:pt x="897149" y="811784"/>
                </a:lnTo>
                <a:close/>
              </a:path>
              <a:path w="1397000" h="1165225">
                <a:moveTo>
                  <a:pt x="1397000" y="0"/>
                </a:moveTo>
                <a:lnTo>
                  <a:pt x="1162050" y="16510"/>
                </a:lnTo>
                <a:lnTo>
                  <a:pt x="939291" y="60705"/>
                </a:lnTo>
                <a:lnTo>
                  <a:pt x="608076" y="198754"/>
                </a:lnTo>
                <a:lnTo>
                  <a:pt x="349250" y="408686"/>
                </a:lnTo>
                <a:lnTo>
                  <a:pt x="168528" y="596391"/>
                </a:lnTo>
                <a:lnTo>
                  <a:pt x="11937" y="889126"/>
                </a:lnTo>
                <a:lnTo>
                  <a:pt x="0" y="1087882"/>
                </a:lnTo>
                <a:lnTo>
                  <a:pt x="288925" y="811784"/>
                </a:lnTo>
                <a:lnTo>
                  <a:pt x="897149" y="811784"/>
                </a:lnTo>
                <a:lnTo>
                  <a:pt x="921258" y="789686"/>
                </a:lnTo>
                <a:lnTo>
                  <a:pt x="1089787" y="701294"/>
                </a:lnTo>
                <a:lnTo>
                  <a:pt x="1288541" y="640588"/>
                </a:lnTo>
                <a:lnTo>
                  <a:pt x="1397000" y="635126"/>
                </a:lnTo>
                <a:lnTo>
                  <a:pt x="1397000" y="0"/>
                </a:lnTo>
                <a:close/>
              </a:path>
            </a:pathLst>
          </a:custGeom>
          <a:solidFill>
            <a:srgbClr val="FFFFFF"/>
          </a:solidFill>
        </p:spPr>
        <p:txBody>
          <a:bodyPr wrap="square" lIns="0" tIns="0" rIns="0" bIns="0" rtlCol="0"/>
          <a:lstStyle/>
          <a:p>
            <a:endParaRPr>
              <a:latin typeface="+mj-lt"/>
            </a:endParaRPr>
          </a:p>
        </p:txBody>
      </p:sp>
      <p:sp>
        <p:nvSpPr>
          <p:cNvPr id="13" name="object 13"/>
          <p:cNvSpPr/>
          <p:nvPr/>
        </p:nvSpPr>
        <p:spPr>
          <a:xfrm>
            <a:off x="3013075" y="2716301"/>
            <a:ext cx="1710055" cy="567055"/>
          </a:xfrm>
          <a:custGeom>
            <a:avLst/>
            <a:gdLst/>
            <a:ahLst/>
            <a:cxnLst/>
            <a:rect l="l" t="t" r="r" b="b"/>
            <a:pathLst>
              <a:path w="1710054" h="567055">
                <a:moveTo>
                  <a:pt x="0" y="566737"/>
                </a:moveTo>
                <a:lnTo>
                  <a:pt x="1709801" y="566737"/>
                </a:lnTo>
                <a:lnTo>
                  <a:pt x="1709801" y="0"/>
                </a:lnTo>
                <a:lnTo>
                  <a:pt x="0" y="0"/>
                </a:lnTo>
                <a:lnTo>
                  <a:pt x="0" y="566737"/>
                </a:lnTo>
                <a:close/>
              </a:path>
            </a:pathLst>
          </a:custGeom>
          <a:solidFill>
            <a:srgbClr val="898989"/>
          </a:solidFill>
        </p:spPr>
        <p:txBody>
          <a:bodyPr wrap="square" lIns="0" tIns="0" rIns="0" bIns="0" rtlCol="0"/>
          <a:lstStyle/>
          <a:p>
            <a:endParaRPr>
              <a:latin typeface="+mj-lt"/>
            </a:endParaRPr>
          </a:p>
        </p:txBody>
      </p:sp>
      <p:sp>
        <p:nvSpPr>
          <p:cNvPr id="14" name="object 14"/>
          <p:cNvSpPr txBox="1"/>
          <p:nvPr/>
        </p:nvSpPr>
        <p:spPr>
          <a:xfrm>
            <a:off x="3339338" y="2877401"/>
            <a:ext cx="1292860" cy="245745"/>
          </a:xfrm>
          <a:prstGeom prst="rect">
            <a:avLst/>
          </a:prstGeom>
        </p:spPr>
        <p:txBody>
          <a:bodyPr vert="horz" wrap="square" lIns="0" tIns="0" rIns="0" bIns="0" rtlCol="0">
            <a:spAutoFit/>
          </a:bodyPr>
          <a:lstStyle/>
          <a:p>
            <a:pPr marL="12700">
              <a:lnSpc>
                <a:spcPct val="100000"/>
              </a:lnSpc>
            </a:pPr>
            <a:r>
              <a:rPr lang="zh-CN" sz="1600" b="1" spc="15" dirty="0" smtClean="0">
                <a:solidFill>
                  <a:srgbClr val="FFFFFF"/>
                </a:solidFill>
                <a:latin typeface="+mj-lt"/>
                <a:cs typeface="Garamond" panose="02020404030301010803"/>
              </a:rPr>
              <a:t>工程</a:t>
            </a:r>
            <a:endParaRPr lang="zh-CN" sz="1600" b="1" spc="15" dirty="0">
              <a:solidFill>
                <a:srgbClr val="FFFFFF"/>
              </a:solidFill>
              <a:latin typeface="+mj-lt"/>
              <a:cs typeface="Garamond" panose="02020404030301010803"/>
            </a:endParaRPr>
          </a:p>
        </p:txBody>
      </p:sp>
      <p:sp>
        <p:nvSpPr>
          <p:cNvPr id="18" name="object 18"/>
          <p:cNvSpPr txBox="1"/>
          <p:nvPr/>
        </p:nvSpPr>
        <p:spPr>
          <a:xfrm>
            <a:off x="565150" y="1628800"/>
            <a:ext cx="2178050" cy="447675"/>
          </a:xfrm>
          <a:prstGeom prst="rect">
            <a:avLst/>
          </a:prstGeom>
          <a:solidFill>
            <a:srgbClr val="D9D9D9"/>
          </a:solidFill>
          <a:ln w="12700">
            <a:solidFill>
              <a:srgbClr val="A6A6A6"/>
            </a:solidFill>
          </a:ln>
        </p:spPr>
        <p:txBody>
          <a:bodyPr vert="horz" wrap="square" lIns="0" tIns="17145" rIns="0" bIns="0" rtlCol="0">
            <a:spAutoFit/>
          </a:bodyPr>
          <a:lstStyle/>
          <a:p>
            <a:pPr marL="248920" marR="173355" indent="20955">
              <a:lnSpc>
                <a:spcPct val="100000"/>
              </a:lnSpc>
              <a:spcBef>
                <a:spcPts val="135"/>
              </a:spcBef>
            </a:pPr>
            <a:r>
              <a:rPr lang="zh-CN" sz="1400" b="1" spc="-5" dirty="0">
                <a:solidFill>
                  <a:srgbClr val="404040"/>
                </a:solidFill>
                <a:latin typeface="+mj-lt"/>
                <a:cs typeface="Garamond" panose="02020404030301010803"/>
              </a:rPr>
              <a:t>通过产业情报鉴别投资机会</a:t>
            </a:r>
          </a:p>
        </p:txBody>
      </p:sp>
      <p:sp>
        <p:nvSpPr>
          <p:cNvPr id="19" name="object 19"/>
          <p:cNvSpPr txBox="1"/>
          <p:nvPr/>
        </p:nvSpPr>
        <p:spPr>
          <a:xfrm>
            <a:off x="6887591" y="1628863"/>
            <a:ext cx="2056130" cy="524510"/>
          </a:xfrm>
          <a:prstGeom prst="rect">
            <a:avLst/>
          </a:prstGeom>
          <a:solidFill>
            <a:srgbClr val="D9D9D9"/>
          </a:solidFill>
          <a:ln w="12700">
            <a:solidFill>
              <a:srgbClr val="A6A6A6"/>
            </a:solidFill>
          </a:ln>
        </p:spPr>
        <p:txBody>
          <a:bodyPr vert="horz" wrap="square" lIns="0" tIns="93980" rIns="0" bIns="0" rtlCol="0">
            <a:spAutoFit/>
          </a:bodyPr>
          <a:lstStyle/>
          <a:p>
            <a:pPr marL="237490" marR="137160" algn="ctr">
              <a:lnSpc>
                <a:spcPct val="100000"/>
              </a:lnSpc>
              <a:spcBef>
                <a:spcPts val="740"/>
              </a:spcBef>
            </a:pPr>
            <a:r>
              <a:rPr lang="zh-CN" sz="1400" b="1" dirty="0">
                <a:solidFill>
                  <a:srgbClr val="404040"/>
                </a:solidFill>
                <a:latin typeface="+mj-lt"/>
                <a:cs typeface="Garamond" panose="02020404030301010803"/>
              </a:rPr>
              <a:t>提供特惠</a:t>
            </a:r>
            <a:r>
              <a:rPr lang="zh-CN" sz="1400" b="1" dirty="0" smtClean="0">
                <a:solidFill>
                  <a:srgbClr val="404040"/>
                </a:solidFill>
                <a:latin typeface="+mj-lt"/>
                <a:cs typeface="Garamond" panose="02020404030301010803"/>
              </a:rPr>
              <a:t>区域</a:t>
            </a:r>
            <a:r>
              <a:rPr lang="zh-CN" altLang="en-US" sz="1400" b="1" dirty="0" smtClean="0">
                <a:solidFill>
                  <a:srgbClr val="404040"/>
                </a:solidFill>
                <a:latin typeface="+mj-lt"/>
                <a:cs typeface="Garamond" panose="02020404030301010803"/>
              </a:rPr>
              <a:t>划分</a:t>
            </a:r>
            <a:r>
              <a:rPr lang="zh-CN" sz="1400" b="1" dirty="0" smtClean="0">
                <a:solidFill>
                  <a:srgbClr val="404040"/>
                </a:solidFill>
                <a:latin typeface="+mj-lt"/>
                <a:cs typeface="Garamond" panose="02020404030301010803"/>
              </a:rPr>
              <a:t>和土地</a:t>
            </a:r>
            <a:r>
              <a:rPr lang="zh-CN" altLang="en-US" sz="1400" b="1" dirty="0" smtClean="0">
                <a:solidFill>
                  <a:srgbClr val="404040"/>
                </a:solidFill>
                <a:latin typeface="+mj-lt"/>
                <a:cs typeface="Garamond" panose="02020404030301010803"/>
              </a:rPr>
              <a:t>进场</a:t>
            </a:r>
            <a:r>
              <a:rPr lang="zh-CN" sz="1400" b="1" dirty="0" smtClean="0">
                <a:solidFill>
                  <a:srgbClr val="404040"/>
                </a:solidFill>
                <a:latin typeface="+mj-lt"/>
                <a:cs typeface="Garamond" panose="02020404030301010803"/>
              </a:rPr>
              <a:t>建议</a:t>
            </a:r>
            <a:endParaRPr lang="zh-CN" sz="1400" b="1" dirty="0">
              <a:solidFill>
                <a:srgbClr val="404040"/>
              </a:solidFill>
              <a:latin typeface="+mj-lt"/>
              <a:cs typeface="Garamond" panose="02020404030301010803"/>
            </a:endParaRPr>
          </a:p>
        </p:txBody>
      </p:sp>
      <p:sp>
        <p:nvSpPr>
          <p:cNvPr id="20" name="object 20"/>
          <p:cNvSpPr txBox="1"/>
          <p:nvPr/>
        </p:nvSpPr>
        <p:spPr>
          <a:xfrm>
            <a:off x="6896100" y="4256676"/>
            <a:ext cx="2016125" cy="558165"/>
          </a:xfrm>
          <a:prstGeom prst="rect">
            <a:avLst/>
          </a:prstGeom>
          <a:solidFill>
            <a:srgbClr val="D9D9D9"/>
          </a:solidFill>
          <a:ln w="12700">
            <a:solidFill>
              <a:srgbClr val="A6A6A6"/>
            </a:solidFill>
          </a:ln>
        </p:spPr>
        <p:txBody>
          <a:bodyPr vert="horz" wrap="square" lIns="0" tIns="127635" rIns="0" bIns="0" rtlCol="0">
            <a:spAutoFit/>
          </a:bodyPr>
          <a:lstStyle/>
          <a:p>
            <a:pPr marL="236220" marR="137795" algn="ctr">
              <a:lnSpc>
                <a:spcPct val="100000"/>
              </a:lnSpc>
              <a:spcBef>
                <a:spcPts val="1005"/>
              </a:spcBef>
            </a:pPr>
            <a:r>
              <a:rPr lang="zh-CN" sz="1400" b="1" dirty="0">
                <a:solidFill>
                  <a:srgbClr val="404040"/>
                </a:solidFill>
                <a:latin typeface="+mj-lt"/>
                <a:cs typeface="Garamond" panose="02020404030301010803"/>
              </a:rPr>
              <a:t>向重要官员和运营商介绍投资者</a:t>
            </a:r>
          </a:p>
        </p:txBody>
      </p:sp>
      <p:sp>
        <p:nvSpPr>
          <p:cNvPr id="21" name="object 21"/>
          <p:cNvSpPr txBox="1"/>
          <p:nvPr/>
        </p:nvSpPr>
        <p:spPr>
          <a:xfrm>
            <a:off x="547687" y="4492799"/>
            <a:ext cx="2221230" cy="435610"/>
          </a:xfrm>
          <a:prstGeom prst="rect">
            <a:avLst/>
          </a:prstGeom>
          <a:solidFill>
            <a:srgbClr val="D9D9D9"/>
          </a:solidFill>
          <a:ln w="12700">
            <a:solidFill>
              <a:srgbClr val="A6A6A6"/>
            </a:solidFill>
          </a:ln>
        </p:spPr>
        <p:txBody>
          <a:bodyPr vert="horz" wrap="square" lIns="0" tIns="5080" rIns="0" bIns="0" rtlCol="0">
            <a:spAutoFit/>
          </a:bodyPr>
          <a:lstStyle/>
          <a:p>
            <a:pPr marL="410210" marR="287655" indent="-116205">
              <a:lnSpc>
                <a:spcPct val="100000"/>
              </a:lnSpc>
            </a:pPr>
            <a:r>
              <a:rPr lang="zh-CN" sz="1400" b="1" dirty="0">
                <a:solidFill>
                  <a:srgbClr val="404040"/>
                </a:solidFill>
                <a:latin typeface="+mj-lt"/>
                <a:cs typeface="Garamond" panose="02020404030301010803"/>
              </a:rPr>
              <a:t>项目跟踪并为投资者提供后期服务</a:t>
            </a:r>
          </a:p>
        </p:txBody>
      </p:sp>
      <p:sp>
        <p:nvSpPr>
          <p:cNvPr id="22" name="object 22"/>
          <p:cNvSpPr txBox="1"/>
          <p:nvPr/>
        </p:nvSpPr>
        <p:spPr>
          <a:xfrm>
            <a:off x="3000375" y="1634710"/>
            <a:ext cx="3605529" cy="478155"/>
          </a:xfrm>
          <a:prstGeom prst="rect">
            <a:avLst/>
          </a:prstGeom>
          <a:solidFill>
            <a:srgbClr val="D9D9D9"/>
          </a:solidFill>
          <a:ln w="12700">
            <a:solidFill>
              <a:srgbClr val="A6A6A6"/>
            </a:solidFill>
          </a:ln>
        </p:spPr>
        <p:txBody>
          <a:bodyPr vert="horz" wrap="square" lIns="0" tIns="47625" rIns="0" bIns="0" rtlCol="0">
            <a:spAutoFit/>
          </a:bodyPr>
          <a:lstStyle/>
          <a:p>
            <a:pPr marL="759460" marR="255905" indent="-405765">
              <a:lnSpc>
                <a:spcPct val="100000"/>
              </a:lnSpc>
              <a:spcBef>
                <a:spcPts val="375"/>
              </a:spcBef>
            </a:pPr>
            <a:r>
              <a:rPr lang="zh-CN" sz="1400" b="1" dirty="0" smtClean="0">
                <a:solidFill>
                  <a:srgbClr val="404040"/>
                </a:solidFill>
                <a:latin typeface="+mj-lt"/>
                <a:cs typeface="Garamond" panose="02020404030301010803"/>
              </a:rPr>
              <a:t>发展创新、具有竞争力和效益的旅游业概念</a:t>
            </a:r>
          </a:p>
        </p:txBody>
      </p:sp>
      <p:sp>
        <p:nvSpPr>
          <p:cNvPr id="23" name="object 23"/>
          <p:cNvSpPr txBox="1"/>
          <p:nvPr/>
        </p:nvSpPr>
        <p:spPr>
          <a:xfrm>
            <a:off x="3000375" y="5886475"/>
            <a:ext cx="3568700" cy="263525"/>
          </a:xfrm>
          <a:prstGeom prst="rect">
            <a:avLst/>
          </a:prstGeom>
          <a:solidFill>
            <a:srgbClr val="D9D9D9"/>
          </a:solidFill>
          <a:ln w="12700">
            <a:solidFill>
              <a:srgbClr val="A6A6A6"/>
            </a:solidFill>
          </a:ln>
        </p:spPr>
        <p:txBody>
          <a:bodyPr vert="horz" wrap="square" lIns="0" tIns="48260" rIns="0" bIns="0" rtlCol="0">
            <a:spAutoFit/>
          </a:bodyPr>
          <a:lstStyle/>
          <a:p>
            <a:pPr marL="198755" marR="193040" indent="173355">
              <a:lnSpc>
                <a:spcPct val="100000"/>
              </a:lnSpc>
              <a:spcBef>
                <a:spcPts val="380"/>
              </a:spcBef>
            </a:pPr>
            <a:r>
              <a:rPr lang="zh-CN" sz="1400" b="1" dirty="0">
                <a:solidFill>
                  <a:srgbClr val="404040"/>
                </a:solidFill>
                <a:latin typeface="+mj-lt"/>
                <a:cs typeface="Garamond" panose="02020404030301010803"/>
              </a:rPr>
              <a:t>推进政府审批，提供激励项目支持</a:t>
            </a:r>
          </a:p>
        </p:txBody>
      </p:sp>
      <p:sp>
        <p:nvSpPr>
          <p:cNvPr id="24" name="object 24"/>
          <p:cNvSpPr/>
          <p:nvPr/>
        </p:nvSpPr>
        <p:spPr>
          <a:xfrm>
            <a:off x="6900926" y="5173688"/>
            <a:ext cx="2030349" cy="1266825"/>
          </a:xfrm>
          <a:prstGeom prst="rect">
            <a:avLst/>
          </a:prstGeom>
          <a:blipFill>
            <a:blip r:embed="rId4" cstate="print"/>
            <a:stretch>
              <a:fillRect/>
            </a:stretch>
          </a:blipFill>
        </p:spPr>
        <p:txBody>
          <a:bodyPr wrap="square" lIns="0" tIns="0" rIns="0" bIns="0" rtlCol="0"/>
          <a:lstStyle/>
          <a:p>
            <a:endParaRPr>
              <a:latin typeface="+mj-lt"/>
            </a:endParaRPr>
          </a:p>
        </p:txBody>
      </p:sp>
      <p:sp>
        <p:nvSpPr>
          <p:cNvPr id="25" name="object 25"/>
          <p:cNvSpPr/>
          <p:nvPr/>
        </p:nvSpPr>
        <p:spPr>
          <a:xfrm>
            <a:off x="573087" y="2498686"/>
            <a:ext cx="2170049" cy="1447800"/>
          </a:xfrm>
          <a:prstGeom prst="rect">
            <a:avLst/>
          </a:prstGeom>
          <a:blipFill>
            <a:blip r:embed="rId5" cstate="print"/>
            <a:stretch>
              <a:fillRect/>
            </a:stretch>
          </a:blipFill>
        </p:spPr>
        <p:txBody>
          <a:bodyPr wrap="square" lIns="0" tIns="0" rIns="0" bIns="0" rtlCol="0"/>
          <a:lstStyle/>
          <a:p>
            <a:endParaRPr>
              <a:latin typeface="+mj-lt"/>
            </a:endParaRPr>
          </a:p>
        </p:txBody>
      </p:sp>
      <p:sp>
        <p:nvSpPr>
          <p:cNvPr id="26" name="object 26"/>
          <p:cNvSpPr/>
          <p:nvPr/>
        </p:nvSpPr>
        <p:spPr>
          <a:xfrm>
            <a:off x="6900926" y="2622511"/>
            <a:ext cx="2014474" cy="1453891"/>
          </a:xfrm>
          <a:prstGeom prst="rect">
            <a:avLst/>
          </a:prstGeom>
          <a:blipFill>
            <a:blip r:embed="rId6" cstate="print"/>
            <a:stretch>
              <a:fillRect/>
            </a:stretch>
          </a:blipFill>
        </p:spPr>
        <p:txBody>
          <a:bodyPr wrap="square" lIns="0" tIns="0" rIns="0" bIns="0" rtlCol="0"/>
          <a:lstStyle/>
          <a:p>
            <a:endParaRPr>
              <a:latin typeface="+mj-lt"/>
            </a:endParaRPr>
          </a:p>
        </p:txBody>
      </p:sp>
      <p:sp>
        <p:nvSpPr>
          <p:cNvPr id="27" name="object 27"/>
          <p:cNvSpPr/>
          <p:nvPr/>
        </p:nvSpPr>
        <p:spPr>
          <a:xfrm>
            <a:off x="555625" y="5005413"/>
            <a:ext cx="2206625" cy="1441450"/>
          </a:xfrm>
          <a:prstGeom prst="rect">
            <a:avLst/>
          </a:prstGeom>
          <a:blipFill>
            <a:blip r:embed="rId7" cstate="print"/>
            <a:stretch>
              <a:fillRect/>
            </a:stretch>
          </a:blipFill>
        </p:spPr>
        <p:txBody>
          <a:bodyPr wrap="square" lIns="0" tIns="0" rIns="0" bIns="0" rtlCol="0"/>
          <a:lstStyle/>
          <a:p>
            <a:endParaRPr>
              <a:latin typeface="+mj-lt"/>
            </a:endParaRPr>
          </a:p>
        </p:txBody>
      </p:sp>
      <p:sp>
        <p:nvSpPr>
          <p:cNvPr id="28" name="object 10"/>
          <p:cNvSpPr txBox="1"/>
          <p:nvPr/>
        </p:nvSpPr>
        <p:spPr>
          <a:xfrm>
            <a:off x="471294" y="217383"/>
            <a:ext cx="8352928" cy="460375"/>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en-US" dirty="0" smtClean="0"/>
              <a:t>摩洛哥旅游发展署（SMIT）</a:t>
            </a:r>
            <a:r>
              <a:rPr lang="zh-CN" altLang="en-US" dirty="0" smtClean="0">
                <a:ea typeface="宋体" panose="02010600030101010101" pitchFamily="2" charset="-122"/>
              </a:rPr>
              <a:t>业务范畴</a:t>
            </a:r>
          </a:p>
        </p:txBody>
      </p:sp>
      <p:sp>
        <p:nvSpPr>
          <p:cNvPr id="30" name="object 14"/>
          <p:cNvSpPr txBox="1"/>
          <p:nvPr/>
        </p:nvSpPr>
        <p:spPr>
          <a:xfrm>
            <a:off x="483394" y="1058907"/>
            <a:ext cx="774065" cy="246221"/>
          </a:xfrm>
          <a:prstGeom prst="rect">
            <a:avLst/>
          </a:prstGeom>
        </p:spPr>
        <p:txBody>
          <a:bodyPr vert="horz" wrap="square" lIns="0" tIns="0" rIns="0" bIns="0" rtlCol="0">
            <a:spAutoFit/>
          </a:bodyPr>
          <a:lstStyle/>
          <a:p>
            <a:pPr marL="12700">
              <a:lnSpc>
                <a:spcPct val="100000"/>
              </a:lnSpc>
            </a:pPr>
            <a:r>
              <a:rPr sz="1600" b="1" spc="10" dirty="0">
                <a:solidFill>
                  <a:srgbClr val="FFFFFF"/>
                </a:solidFill>
                <a:cs typeface="Garamond" panose="02020404030301010803"/>
              </a:rPr>
              <a:t>M</a:t>
            </a:r>
            <a:r>
              <a:rPr sz="1250" b="1" spc="10" dirty="0">
                <a:solidFill>
                  <a:srgbClr val="FFFFFF"/>
                </a:solidFill>
                <a:cs typeface="Garamond" panose="02020404030301010803"/>
              </a:rPr>
              <a:t>ISSION</a:t>
            </a:r>
            <a:endParaRPr sz="1250" dirty="0">
              <a:cs typeface="Garamond" panose="02020404030301010803"/>
            </a:endParaRPr>
          </a:p>
        </p:txBody>
      </p:sp>
      <p:sp>
        <p:nvSpPr>
          <p:cNvPr id="31" name="object 15"/>
          <p:cNvSpPr txBox="1"/>
          <p:nvPr/>
        </p:nvSpPr>
        <p:spPr>
          <a:xfrm>
            <a:off x="315595" y="983615"/>
            <a:ext cx="8615680" cy="598805"/>
          </a:xfrm>
          <a:prstGeom prst="rect">
            <a:avLst/>
          </a:prstGeom>
        </p:spPr>
        <p:style>
          <a:lnRef idx="2">
            <a:schemeClr val="accent1"/>
          </a:lnRef>
          <a:fillRef idx="1">
            <a:schemeClr val="lt1"/>
          </a:fillRef>
          <a:effectRef idx="0">
            <a:schemeClr val="accent1"/>
          </a:effectRef>
          <a:fontRef idx="minor">
            <a:schemeClr val="dk1"/>
          </a:fontRef>
        </p:style>
        <p:txBody>
          <a:bodyPr vert="horz" wrap="square" lIns="0" tIns="45085" rIns="0" bIns="0" rtlCol="0">
            <a:spAutoFit/>
          </a:bodyPr>
          <a:lstStyle/>
          <a:p>
            <a:pPr marL="1440180" marR="149860" indent="-1228725">
              <a:lnSpc>
                <a:spcPct val="100000"/>
              </a:lnSpc>
              <a:spcBef>
                <a:spcPts val="355"/>
              </a:spcBef>
            </a:pPr>
            <a:r>
              <a:rPr b="1" spc="5" dirty="0">
                <a:solidFill>
                  <a:srgbClr val="404040"/>
                </a:solidFill>
                <a:cs typeface="Garamond" panose="02020404030301010803"/>
              </a:rPr>
              <a:t>摩洛哥旅游发展署（SMIT）</a:t>
            </a:r>
            <a:r>
              <a:rPr lang="zh-CN" b="1" spc="5" dirty="0">
                <a:solidFill>
                  <a:srgbClr val="404040"/>
                </a:solidFill>
                <a:cs typeface="Garamond" panose="02020404030301010803"/>
              </a:rPr>
              <a:t>是摩洛哥政府的旅游发展机构，负责实施摩洛哥旅游发展战略</a:t>
            </a:r>
          </a:p>
        </p:txBody>
      </p:sp>
      <p:sp>
        <p:nvSpPr>
          <p:cNvPr id="2" name="文本框 1"/>
          <p:cNvSpPr txBox="1"/>
          <p:nvPr/>
        </p:nvSpPr>
        <p:spPr>
          <a:xfrm rot="3300000">
            <a:off x="5155565" y="3446780"/>
            <a:ext cx="1116330" cy="368300"/>
          </a:xfrm>
          <a:prstGeom prst="rect">
            <a:avLst/>
          </a:prstGeom>
          <a:noFill/>
        </p:spPr>
        <p:txBody>
          <a:bodyPr wrap="square" rtlCol="0">
            <a:spAutoFit/>
          </a:bodyPr>
          <a:lstStyle/>
          <a:p>
            <a:r>
              <a:rPr lang="zh-CN" altLang="en-US" b="1" dirty="0">
                <a:solidFill>
                  <a:schemeClr val="bg1">
                    <a:lumMod val="95000"/>
                  </a:schemeClr>
                </a:solidFill>
              </a:rPr>
              <a:t>土地资产</a:t>
            </a:r>
          </a:p>
        </p:txBody>
      </p:sp>
      <p:sp>
        <p:nvSpPr>
          <p:cNvPr id="3" name="文本框 2"/>
          <p:cNvSpPr txBox="1"/>
          <p:nvPr/>
        </p:nvSpPr>
        <p:spPr>
          <a:xfrm rot="19740000">
            <a:off x="4893544" y="4734912"/>
            <a:ext cx="1205163" cy="369332"/>
          </a:xfrm>
          <a:prstGeom prst="rect">
            <a:avLst/>
          </a:prstGeom>
          <a:noFill/>
          <a:ln>
            <a:noFill/>
          </a:ln>
        </p:spPr>
        <p:txBody>
          <a:bodyPr wrap="square" rtlCol="0">
            <a:spAutoFit/>
          </a:bodyPr>
          <a:lstStyle/>
          <a:p>
            <a:r>
              <a:rPr lang="zh-CN" altLang="en-US" b="1" dirty="0" smtClean="0">
                <a:solidFill>
                  <a:schemeClr val="bg1">
                    <a:lumMod val="95000"/>
                  </a:schemeClr>
                </a:solidFill>
              </a:rPr>
              <a:t>建立联系</a:t>
            </a:r>
            <a:endParaRPr lang="zh-CN" altLang="en-US" b="1" dirty="0">
              <a:solidFill>
                <a:schemeClr val="bg1">
                  <a:lumMod val="95000"/>
                </a:schemeClr>
              </a:solidFill>
            </a:endParaRPr>
          </a:p>
        </p:txBody>
      </p:sp>
      <p:sp>
        <p:nvSpPr>
          <p:cNvPr id="4" name="文本框 3"/>
          <p:cNvSpPr txBox="1"/>
          <p:nvPr/>
        </p:nvSpPr>
        <p:spPr>
          <a:xfrm rot="3000000">
            <a:off x="3112770" y="4542155"/>
            <a:ext cx="1607820" cy="337185"/>
          </a:xfrm>
          <a:prstGeom prst="rect">
            <a:avLst/>
          </a:prstGeom>
          <a:noFill/>
        </p:spPr>
        <p:txBody>
          <a:bodyPr wrap="square" rtlCol="0">
            <a:spAutoFit/>
          </a:bodyPr>
          <a:lstStyle/>
          <a:p>
            <a:r>
              <a:rPr lang="zh-CN" altLang="en-US" sz="1600" b="1" dirty="0">
                <a:solidFill>
                  <a:schemeClr val="bg1">
                    <a:lumMod val="95000"/>
                  </a:schemeClr>
                </a:solidFill>
              </a:rPr>
              <a:t>帮助与支持</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5" name="Obje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4" name="think-cell Slide" r:id="rId5" imgW="12700" imgH="12700" progId="TCLayout.ActiveDocument.1">
                  <p:embed/>
                </p:oleObj>
              </mc:Choice>
              <mc:Fallback>
                <p:oleObj name="think-cell Slide" r:id="rId5" imgW="12700" imgH="12700" progId="TCLayout.ActiveDocument.1">
                  <p:embed/>
                  <p:pic>
                    <p:nvPicPr>
                      <p:cNvPr id="0" name="图片 617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object 9"/>
          <p:cNvSpPr/>
          <p:nvPr/>
        </p:nvSpPr>
        <p:spPr>
          <a:xfrm>
            <a:off x="1001589" y="1223041"/>
            <a:ext cx="5354955" cy="3419475"/>
          </a:xfrm>
          <a:custGeom>
            <a:avLst/>
            <a:gdLst/>
            <a:ahLst/>
            <a:cxnLst/>
            <a:rect l="l" t="t" r="r" b="b"/>
            <a:pathLst>
              <a:path w="5354955" h="3419475">
                <a:moveTo>
                  <a:pt x="0" y="3419475"/>
                </a:moveTo>
                <a:lnTo>
                  <a:pt x="5354701" y="3419475"/>
                </a:lnTo>
                <a:lnTo>
                  <a:pt x="5354701" y="0"/>
                </a:lnTo>
                <a:lnTo>
                  <a:pt x="0" y="0"/>
                </a:lnTo>
                <a:lnTo>
                  <a:pt x="0" y="3419475"/>
                </a:lnTo>
                <a:close/>
              </a:path>
            </a:pathLst>
          </a:custGeom>
          <a:solidFill>
            <a:schemeClr val="bg1">
              <a:lumMod val="75000"/>
            </a:schemeClr>
          </a:solidFill>
        </p:spPr>
        <p:txBody>
          <a:bodyPr wrap="square" lIns="0" tIns="0" rIns="0" bIns="0" rtlCol="0"/>
          <a:lstStyle/>
          <a:p>
            <a:endParaRPr>
              <a:latin typeface="+mj-lt"/>
            </a:endParaRPr>
          </a:p>
        </p:txBody>
      </p:sp>
      <p:sp>
        <p:nvSpPr>
          <p:cNvPr id="31" name="object 10"/>
          <p:cNvSpPr txBox="1"/>
          <p:nvPr/>
        </p:nvSpPr>
        <p:spPr>
          <a:xfrm>
            <a:off x="1119384" y="1341635"/>
            <a:ext cx="5230622" cy="245745"/>
          </a:xfrm>
          <a:prstGeom prst="rect">
            <a:avLst/>
          </a:prstGeom>
        </p:spPr>
        <p:txBody>
          <a:bodyPr vert="horz" wrap="square" lIns="0" tIns="0" rIns="0" bIns="0" rtlCol="0">
            <a:spAutoFit/>
          </a:bodyPr>
          <a:lstStyle/>
          <a:p>
            <a:pPr>
              <a:lnSpc>
                <a:spcPct val="100000"/>
              </a:lnSpc>
            </a:pPr>
            <a:r>
              <a:rPr sz="1600" b="1" i="1" spc="-25" dirty="0">
                <a:solidFill>
                  <a:srgbClr val="FFFFFF"/>
                </a:solidFill>
                <a:latin typeface="+mj-lt"/>
                <a:cs typeface="Garamond" panose="02020404030301010803"/>
              </a:rPr>
              <a:t>负责摩洛哥旅游业发展的中央实体</a:t>
            </a:r>
          </a:p>
        </p:txBody>
      </p:sp>
      <p:sp>
        <p:nvSpPr>
          <p:cNvPr id="36" name="object 11"/>
          <p:cNvSpPr/>
          <p:nvPr/>
        </p:nvSpPr>
        <p:spPr>
          <a:xfrm>
            <a:off x="1036514" y="1686591"/>
            <a:ext cx="5280025" cy="6350"/>
          </a:xfrm>
          <a:custGeom>
            <a:avLst/>
            <a:gdLst/>
            <a:ahLst/>
            <a:cxnLst/>
            <a:rect l="l" t="t" r="r" b="b"/>
            <a:pathLst>
              <a:path w="5280025" h="6350">
                <a:moveTo>
                  <a:pt x="0" y="0"/>
                </a:moveTo>
                <a:lnTo>
                  <a:pt x="5280025" y="6350"/>
                </a:lnTo>
              </a:path>
            </a:pathLst>
          </a:custGeom>
          <a:ln w="12700">
            <a:solidFill>
              <a:srgbClr val="FFFFFF"/>
            </a:solidFill>
          </a:ln>
        </p:spPr>
        <p:txBody>
          <a:bodyPr wrap="square" lIns="0" tIns="0" rIns="0" bIns="0" rtlCol="0"/>
          <a:lstStyle/>
          <a:p>
            <a:endParaRPr>
              <a:latin typeface="+mj-lt"/>
            </a:endParaRPr>
          </a:p>
        </p:txBody>
      </p:sp>
      <p:sp>
        <p:nvSpPr>
          <p:cNvPr id="37" name="object 12"/>
          <p:cNvSpPr/>
          <p:nvPr/>
        </p:nvSpPr>
        <p:spPr>
          <a:xfrm>
            <a:off x="6451412" y="1196752"/>
            <a:ext cx="2513076" cy="3447034"/>
          </a:xfrm>
          <a:prstGeom prst="rect">
            <a:avLst/>
          </a:prstGeom>
          <a:blipFill>
            <a:blip r:embed="rId7" cstate="print"/>
            <a:stretch>
              <a:fillRect/>
            </a:stretch>
          </a:blipFill>
        </p:spPr>
        <p:txBody>
          <a:bodyPr wrap="square" lIns="0" tIns="0" rIns="0" bIns="0" rtlCol="0"/>
          <a:lstStyle/>
          <a:p>
            <a:endParaRPr>
              <a:latin typeface="+mj-lt"/>
            </a:endParaRPr>
          </a:p>
        </p:txBody>
      </p:sp>
      <p:sp>
        <p:nvSpPr>
          <p:cNvPr id="38" name="object 13"/>
          <p:cNvSpPr/>
          <p:nvPr/>
        </p:nvSpPr>
        <p:spPr>
          <a:xfrm>
            <a:off x="6478464" y="1223041"/>
            <a:ext cx="2432050" cy="3419475"/>
          </a:xfrm>
          <a:custGeom>
            <a:avLst/>
            <a:gdLst/>
            <a:ahLst/>
            <a:cxnLst/>
            <a:rect l="l" t="t" r="r" b="b"/>
            <a:pathLst>
              <a:path w="2432050" h="3419475">
                <a:moveTo>
                  <a:pt x="0" y="3419475"/>
                </a:moveTo>
                <a:lnTo>
                  <a:pt x="2432050" y="3419475"/>
                </a:lnTo>
                <a:lnTo>
                  <a:pt x="2432050" y="0"/>
                </a:lnTo>
                <a:lnTo>
                  <a:pt x="0" y="0"/>
                </a:lnTo>
                <a:lnTo>
                  <a:pt x="0" y="3419475"/>
                </a:lnTo>
                <a:close/>
              </a:path>
            </a:pathLst>
          </a:custGeom>
          <a:solidFill>
            <a:schemeClr val="bg1">
              <a:lumMod val="75000"/>
            </a:schemeClr>
          </a:solidFill>
        </p:spPr>
        <p:txBody>
          <a:bodyPr wrap="square" lIns="0" tIns="0" rIns="0" bIns="0" rtlCol="0"/>
          <a:lstStyle/>
          <a:p>
            <a:endParaRPr>
              <a:latin typeface="+mj-lt"/>
            </a:endParaRPr>
          </a:p>
        </p:txBody>
      </p:sp>
      <p:sp>
        <p:nvSpPr>
          <p:cNvPr id="39" name="object 14"/>
          <p:cNvSpPr txBox="1"/>
          <p:nvPr/>
        </p:nvSpPr>
        <p:spPr>
          <a:xfrm>
            <a:off x="6633912" y="1262664"/>
            <a:ext cx="2129155" cy="430530"/>
          </a:xfrm>
          <a:prstGeom prst="rect">
            <a:avLst/>
          </a:prstGeom>
        </p:spPr>
        <p:txBody>
          <a:bodyPr vert="horz" wrap="square" lIns="0" tIns="0" rIns="0" bIns="0" rtlCol="0">
            <a:spAutoFit/>
          </a:bodyPr>
          <a:lstStyle/>
          <a:p>
            <a:pPr marL="172085" marR="5080" indent="-160020">
              <a:lnSpc>
                <a:spcPts val="1680"/>
              </a:lnSpc>
            </a:pPr>
            <a:r>
              <a:rPr lang="zh-CN" sz="1400" b="1" i="1" spc="-25" dirty="0">
                <a:solidFill>
                  <a:srgbClr val="FFFFFF"/>
                </a:solidFill>
                <a:latin typeface="+mj-lt"/>
                <a:cs typeface="Garamond" panose="02020404030301010803"/>
              </a:rPr>
              <a:t>其它</a:t>
            </a:r>
            <a:r>
              <a:rPr sz="1400" b="1" i="1" spc="-25" dirty="0">
                <a:solidFill>
                  <a:srgbClr val="FFFFFF"/>
                </a:solidFill>
                <a:latin typeface="+mj-lt"/>
                <a:cs typeface="Garamond" panose="02020404030301010803"/>
              </a:rPr>
              <a:t>有</a:t>
            </a:r>
            <a:r>
              <a:rPr lang="zh-CN" sz="1400" b="1" i="1" spc="-25" dirty="0">
                <a:solidFill>
                  <a:srgbClr val="FFFFFF"/>
                </a:solidFill>
                <a:latin typeface="+mj-lt"/>
                <a:cs typeface="Garamond" panose="02020404030301010803"/>
              </a:rPr>
              <a:t>着</a:t>
            </a:r>
            <a:r>
              <a:rPr sz="1400" b="1" i="1" spc="-25" dirty="0">
                <a:solidFill>
                  <a:srgbClr val="FFFFFF"/>
                </a:solidFill>
                <a:latin typeface="+mj-lt"/>
                <a:cs typeface="Garamond" panose="02020404030301010803"/>
              </a:rPr>
              <a:t>重大贡献的中央实体</a:t>
            </a:r>
          </a:p>
        </p:txBody>
      </p:sp>
      <p:sp>
        <p:nvSpPr>
          <p:cNvPr id="40" name="object 15"/>
          <p:cNvSpPr/>
          <p:nvPr/>
        </p:nvSpPr>
        <p:spPr>
          <a:xfrm>
            <a:off x="6478464" y="1686591"/>
            <a:ext cx="2432050" cy="1905"/>
          </a:xfrm>
          <a:custGeom>
            <a:avLst/>
            <a:gdLst/>
            <a:ahLst/>
            <a:cxnLst/>
            <a:rect l="l" t="t" r="r" b="b"/>
            <a:pathLst>
              <a:path w="2432050" h="1905">
                <a:moveTo>
                  <a:pt x="0" y="1650"/>
                </a:moveTo>
                <a:lnTo>
                  <a:pt x="2432050" y="0"/>
                </a:lnTo>
              </a:path>
            </a:pathLst>
          </a:custGeom>
          <a:ln w="12699">
            <a:solidFill>
              <a:srgbClr val="FFFFFF"/>
            </a:solidFill>
          </a:ln>
        </p:spPr>
        <p:txBody>
          <a:bodyPr wrap="square" lIns="0" tIns="0" rIns="0" bIns="0" rtlCol="0"/>
          <a:lstStyle/>
          <a:p>
            <a:endParaRPr>
              <a:latin typeface="+mj-lt"/>
            </a:endParaRPr>
          </a:p>
        </p:txBody>
      </p:sp>
      <p:sp>
        <p:nvSpPr>
          <p:cNvPr id="41" name="object 16"/>
          <p:cNvSpPr/>
          <p:nvPr/>
        </p:nvSpPr>
        <p:spPr>
          <a:xfrm>
            <a:off x="1502984" y="1749964"/>
            <a:ext cx="4347972" cy="947927"/>
          </a:xfrm>
          <a:prstGeom prst="rect">
            <a:avLst/>
          </a:prstGeom>
          <a:blipFill>
            <a:blip r:embed="rId8" cstate="print"/>
            <a:stretch>
              <a:fillRect/>
            </a:stretch>
          </a:blipFill>
        </p:spPr>
        <p:txBody>
          <a:bodyPr wrap="square" lIns="0" tIns="0" rIns="0" bIns="0" rtlCol="0"/>
          <a:lstStyle/>
          <a:p>
            <a:endParaRPr>
              <a:latin typeface="+mj-lt"/>
            </a:endParaRPr>
          </a:p>
        </p:txBody>
      </p:sp>
      <p:sp>
        <p:nvSpPr>
          <p:cNvPr id="42" name="object 17"/>
          <p:cNvSpPr/>
          <p:nvPr/>
        </p:nvSpPr>
        <p:spPr>
          <a:xfrm>
            <a:off x="2745044" y="1742343"/>
            <a:ext cx="1908047" cy="480060"/>
          </a:xfrm>
          <a:prstGeom prst="rect">
            <a:avLst/>
          </a:prstGeom>
          <a:blipFill>
            <a:blip r:embed="rId9" cstate="print"/>
            <a:stretch>
              <a:fillRect/>
            </a:stretch>
          </a:blipFill>
        </p:spPr>
        <p:txBody>
          <a:bodyPr wrap="square" lIns="0" tIns="0" rIns="0" bIns="0" rtlCol="0"/>
          <a:lstStyle/>
          <a:p>
            <a:endParaRPr>
              <a:latin typeface="+mj-lt"/>
            </a:endParaRPr>
          </a:p>
        </p:txBody>
      </p:sp>
      <p:sp>
        <p:nvSpPr>
          <p:cNvPr id="43" name="object 18"/>
          <p:cNvSpPr txBox="1"/>
          <p:nvPr/>
        </p:nvSpPr>
        <p:spPr>
          <a:xfrm>
            <a:off x="1485503" y="1777078"/>
            <a:ext cx="4241800" cy="3016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24765" rIns="0" bIns="0" rtlCol="0">
            <a:spAutoFit/>
          </a:bodyPr>
          <a:lstStyle/>
          <a:p>
            <a:pPr marL="1349375">
              <a:lnSpc>
                <a:spcPct val="100000"/>
              </a:lnSpc>
              <a:spcBef>
                <a:spcPts val="195"/>
              </a:spcBef>
            </a:pPr>
            <a:r>
              <a:rPr lang="en-US" altLang="zh-CN" b="1" spc="-45" dirty="0">
                <a:solidFill>
                  <a:srgbClr val="FFFFFF"/>
                </a:solidFill>
                <a:latin typeface="+mj-lt"/>
                <a:cs typeface="Garamond" panose="02020404030301010803"/>
              </a:rPr>
              <a:t>         </a:t>
            </a:r>
            <a:r>
              <a:rPr lang="zh-CN" b="1" spc="-45" dirty="0">
                <a:solidFill>
                  <a:srgbClr val="FFFFFF"/>
                </a:solidFill>
                <a:latin typeface="+mj-lt"/>
                <a:cs typeface="Garamond" panose="02020404030301010803"/>
              </a:rPr>
              <a:t>旅游部</a:t>
            </a:r>
          </a:p>
        </p:txBody>
      </p:sp>
      <p:sp>
        <p:nvSpPr>
          <p:cNvPr id="44" name="object 19"/>
          <p:cNvSpPr/>
          <p:nvPr/>
        </p:nvSpPr>
        <p:spPr>
          <a:xfrm>
            <a:off x="1146114" y="3509934"/>
            <a:ext cx="2479675" cy="1040130"/>
          </a:xfrm>
          <a:custGeom>
            <a:avLst/>
            <a:gdLst/>
            <a:ahLst/>
            <a:cxnLst/>
            <a:rect l="l" t="t" r="r" b="b"/>
            <a:pathLst>
              <a:path w="2479675" h="1040129">
                <a:moveTo>
                  <a:pt x="0" y="1039812"/>
                </a:moveTo>
                <a:lnTo>
                  <a:pt x="2479675" y="1039812"/>
                </a:lnTo>
                <a:lnTo>
                  <a:pt x="2479675" y="0"/>
                </a:lnTo>
                <a:lnTo>
                  <a:pt x="0" y="0"/>
                </a:lnTo>
                <a:lnTo>
                  <a:pt x="0" y="1039812"/>
                </a:lnTo>
                <a:close/>
              </a:path>
            </a:pathLst>
          </a:custGeom>
          <a:solidFill>
            <a:srgbClr val="FFFFFF"/>
          </a:solidFill>
        </p:spPr>
        <p:txBody>
          <a:bodyPr wrap="square" lIns="0" tIns="0" rIns="0" bIns="0" rtlCol="0"/>
          <a:lstStyle/>
          <a:p>
            <a:endParaRPr>
              <a:latin typeface="+mj-lt"/>
            </a:endParaRPr>
          </a:p>
        </p:txBody>
      </p:sp>
      <p:sp>
        <p:nvSpPr>
          <p:cNvPr id="45" name="object 20"/>
          <p:cNvSpPr txBox="1"/>
          <p:nvPr/>
        </p:nvSpPr>
        <p:spPr>
          <a:xfrm>
            <a:off x="1236739" y="3582896"/>
            <a:ext cx="2327149" cy="718820"/>
          </a:xfrm>
          <a:prstGeom prst="rect">
            <a:avLst/>
          </a:prstGeom>
        </p:spPr>
        <p:txBody>
          <a:bodyPr vert="horz" wrap="square" lIns="0" tIns="0" rIns="0" bIns="0" rtlCol="0">
            <a:spAutoFit/>
          </a:bodyPr>
          <a:lstStyle/>
          <a:p>
            <a:pPr>
              <a:lnSpc>
                <a:spcPts val="1440"/>
              </a:lnSpc>
            </a:pPr>
            <a:r>
              <a:rPr lang="zh-CN" altLang="en-US" sz="1250" b="1" i="1" spc="-25" dirty="0" smtClean="0">
                <a:latin typeface="+mj-lt"/>
                <a:cs typeface="Garamond" panose="02020404030301010803"/>
              </a:rPr>
              <a:t>向游客介绍摩洛哥</a:t>
            </a:r>
            <a:r>
              <a:rPr lang="en-US" altLang="zh-CN" sz="1250" b="1" i="1" spc="-25" dirty="0" smtClean="0">
                <a:latin typeface="+mj-lt"/>
                <a:cs typeface="Garamond" panose="02020404030301010803"/>
              </a:rPr>
              <a:t>/</a:t>
            </a:r>
            <a:r>
              <a:rPr lang="en-US" sz="1250" b="1" i="1" spc="-25" dirty="0" smtClean="0">
                <a:latin typeface="+mj-lt"/>
                <a:cs typeface="Garamond" panose="02020404030301010803"/>
                <a:sym typeface="+mn-ea"/>
              </a:rPr>
              <a:t>B2C</a:t>
            </a:r>
            <a:endParaRPr lang="en-US" altLang="zh-CN" sz="1250" b="1" i="1" spc="-25" dirty="0" smtClean="0">
              <a:latin typeface="+mj-lt"/>
              <a:cs typeface="Garamond" panose="02020404030301010803"/>
            </a:endParaRPr>
          </a:p>
          <a:p>
            <a:pPr>
              <a:lnSpc>
                <a:spcPts val="1390"/>
              </a:lnSpc>
            </a:pPr>
            <a:r>
              <a:rPr lang="zh-CN" altLang="en-US" sz="1400" spc="-5" dirty="0" smtClean="0">
                <a:latin typeface="+mj-lt"/>
                <a:cs typeface="Garamond" panose="02020404030301010803"/>
              </a:rPr>
              <a:t>指标：</a:t>
            </a:r>
            <a:r>
              <a:rPr lang="en-US" sz="1400" dirty="0" smtClean="0">
                <a:latin typeface="+mj-lt"/>
                <a:cs typeface="Garamond" panose="02020404030301010803"/>
              </a:rPr>
              <a:t> </a:t>
            </a:r>
          </a:p>
          <a:p>
            <a:pPr>
              <a:lnSpc>
                <a:spcPts val="1390"/>
              </a:lnSpc>
            </a:pPr>
            <a:r>
              <a:rPr lang="zh-CN" altLang="en-US" sz="1400" spc="-5" dirty="0" smtClean="0">
                <a:latin typeface="+mj-lt"/>
                <a:cs typeface="Garamond" panose="02020404030301010803"/>
              </a:rPr>
              <a:t>游客数量</a:t>
            </a:r>
          </a:p>
          <a:p>
            <a:pPr>
              <a:lnSpc>
                <a:spcPts val="1390"/>
              </a:lnSpc>
            </a:pPr>
            <a:r>
              <a:rPr lang="zh-CN" altLang="en-US" sz="1400" spc="-5" dirty="0" smtClean="0">
                <a:latin typeface="+mj-lt"/>
                <a:cs typeface="Garamond" panose="02020404030301010803"/>
              </a:rPr>
              <a:t>旅游收益</a:t>
            </a:r>
          </a:p>
        </p:txBody>
      </p:sp>
      <p:sp>
        <p:nvSpPr>
          <p:cNvPr id="46" name="object 21"/>
          <p:cNvSpPr/>
          <p:nvPr/>
        </p:nvSpPr>
        <p:spPr>
          <a:xfrm>
            <a:off x="6506277" y="1749964"/>
            <a:ext cx="2436876" cy="1312164"/>
          </a:xfrm>
          <a:prstGeom prst="rect">
            <a:avLst/>
          </a:prstGeom>
          <a:blipFill>
            <a:blip r:embed="rId10" cstate="print"/>
            <a:stretch>
              <a:fillRect/>
            </a:stretch>
          </a:blipFill>
        </p:spPr>
        <p:txBody>
          <a:bodyPr wrap="square" lIns="0" tIns="0" rIns="0" bIns="0" rtlCol="0"/>
          <a:lstStyle/>
          <a:p>
            <a:endParaRPr>
              <a:latin typeface="+mj-lt"/>
            </a:endParaRPr>
          </a:p>
        </p:txBody>
      </p:sp>
      <p:sp>
        <p:nvSpPr>
          <p:cNvPr id="47" name="object 22"/>
          <p:cNvSpPr/>
          <p:nvPr/>
        </p:nvSpPr>
        <p:spPr>
          <a:xfrm>
            <a:off x="6676965" y="1742343"/>
            <a:ext cx="2135124" cy="906780"/>
          </a:xfrm>
          <a:prstGeom prst="rect">
            <a:avLst/>
          </a:prstGeom>
          <a:blipFill>
            <a:blip r:embed="rId11" cstate="print"/>
            <a:stretch>
              <a:fillRect/>
            </a:stretch>
          </a:blipFill>
        </p:spPr>
        <p:txBody>
          <a:bodyPr wrap="square" lIns="0" tIns="0" rIns="0" bIns="0" rtlCol="0"/>
          <a:lstStyle/>
          <a:p>
            <a:endParaRPr>
              <a:latin typeface="+mj-lt"/>
            </a:endParaRPr>
          </a:p>
        </p:txBody>
      </p:sp>
      <p:sp>
        <p:nvSpPr>
          <p:cNvPr id="48" name="object 23"/>
          <p:cNvSpPr/>
          <p:nvPr/>
        </p:nvSpPr>
        <p:spPr>
          <a:xfrm>
            <a:off x="6532439" y="1777078"/>
            <a:ext cx="2330450" cy="727075"/>
          </a:xfrm>
          <a:custGeom>
            <a:avLst/>
            <a:gdLst/>
            <a:ahLst/>
            <a:cxnLst/>
            <a:rect l="l" t="t" r="r" b="b"/>
            <a:pathLst>
              <a:path w="2330450" h="727075">
                <a:moveTo>
                  <a:pt x="0" y="727075"/>
                </a:moveTo>
                <a:lnTo>
                  <a:pt x="2330450" y="727075"/>
                </a:lnTo>
                <a:lnTo>
                  <a:pt x="2330450" y="0"/>
                </a:lnTo>
                <a:lnTo>
                  <a:pt x="0" y="0"/>
                </a:lnTo>
                <a:lnTo>
                  <a:pt x="0" y="727075"/>
                </a:lnTo>
                <a:close/>
              </a:path>
            </a:pathLst>
          </a:custGeom>
          <a:solidFill>
            <a:srgbClr val="0099CC"/>
          </a:solidFill>
        </p:spPr>
        <p:txBody>
          <a:bodyPr wrap="square" lIns="0" tIns="0" rIns="0" bIns="0" rtlCol="0"/>
          <a:lstStyle/>
          <a:p>
            <a:endParaRPr>
              <a:latin typeface="+mj-lt"/>
            </a:endParaRPr>
          </a:p>
        </p:txBody>
      </p:sp>
      <p:sp>
        <p:nvSpPr>
          <p:cNvPr id="49" name="object 24"/>
          <p:cNvSpPr txBox="1"/>
          <p:nvPr/>
        </p:nvSpPr>
        <p:spPr>
          <a:xfrm>
            <a:off x="6732336" y="1836383"/>
            <a:ext cx="1797050" cy="430530"/>
          </a:xfrm>
          <a:prstGeom prst="rect">
            <a:avLst/>
          </a:prstGeom>
        </p:spPr>
        <p:txBody>
          <a:bodyPr vert="horz" wrap="square" lIns="0" tIns="0" rIns="0" bIns="0" rtlCol="0">
            <a:spAutoFit/>
          </a:bodyPr>
          <a:lstStyle/>
          <a:p>
            <a:pPr marL="12700" marR="5080" indent="-635" algn="ctr">
              <a:lnSpc>
                <a:spcPts val="1680"/>
              </a:lnSpc>
            </a:pPr>
            <a:r>
              <a:rPr sz="1200" b="1" i="1" spc="-65" dirty="0">
                <a:solidFill>
                  <a:srgbClr val="FFFFFF"/>
                </a:solidFill>
                <a:latin typeface="+mj-lt"/>
                <a:cs typeface="Garamond" panose="02020404030301010803"/>
              </a:rPr>
              <a:t>哈桑二世基金</a:t>
            </a:r>
            <a:r>
              <a:rPr lang="zh-CN" sz="1200" b="1" i="1" spc="-65" dirty="0">
                <a:solidFill>
                  <a:srgbClr val="FFFFFF"/>
                </a:solidFill>
                <a:latin typeface="+mj-lt"/>
                <a:cs typeface="Garamond" panose="02020404030301010803"/>
              </a:rPr>
              <a:t>、投资和工业发展基金、ONE和</a:t>
            </a:r>
            <a:r>
              <a:rPr lang="en-US" altLang="zh-CN" sz="1200" b="1" i="1" spc="-65" dirty="0">
                <a:solidFill>
                  <a:srgbClr val="FFFFFF"/>
                </a:solidFill>
                <a:latin typeface="+mj-lt"/>
                <a:cs typeface="Garamond" panose="02020404030301010803"/>
              </a:rPr>
              <a:t>ONEP</a:t>
            </a:r>
            <a:r>
              <a:rPr lang="zh-CN" altLang="en-US" sz="1200" b="1" i="1" spc="-65" dirty="0">
                <a:solidFill>
                  <a:srgbClr val="FFFFFF"/>
                </a:solidFill>
                <a:latin typeface="+mj-lt"/>
                <a:cs typeface="Garamond" panose="02020404030301010803"/>
              </a:rPr>
              <a:t>等</a:t>
            </a:r>
          </a:p>
        </p:txBody>
      </p:sp>
      <p:sp>
        <p:nvSpPr>
          <p:cNvPr id="50" name="object 25"/>
          <p:cNvSpPr/>
          <p:nvPr/>
        </p:nvSpPr>
        <p:spPr>
          <a:xfrm>
            <a:off x="6532439" y="2504153"/>
            <a:ext cx="2330450" cy="478155"/>
          </a:xfrm>
          <a:custGeom>
            <a:avLst/>
            <a:gdLst/>
            <a:ahLst/>
            <a:cxnLst/>
            <a:rect l="l" t="t" r="r" b="b"/>
            <a:pathLst>
              <a:path w="2330450" h="478155">
                <a:moveTo>
                  <a:pt x="0" y="477837"/>
                </a:moveTo>
                <a:lnTo>
                  <a:pt x="2330450" y="477837"/>
                </a:lnTo>
                <a:lnTo>
                  <a:pt x="2330450" y="0"/>
                </a:lnTo>
                <a:lnTo>
                  <a:pt x="0" y="0"/>
                </a:lnTo>
                <a:lnTo>
                  <a:pt x="0" y="477837"/>
                </a:lnTo>
                <a:close/>
              </a:path>
            </a:pathLst>
          </a:custGeom>
          <a:solidFill>
            <a:srgbClr val="FFFFFF"/>
          </a:solidFill>
        </p:spPr>
        <p:txBody>
          <a:bodyPr wrap="square" lIns="0" tIns="0" rIns="0" bIns="0" rtlCol="0"/>
          <a:lstStyle/>
          <a:p>
            <a:endParaRPr>
              <a:latin typeface="+mj-lt"/>
            </a:endParaRPr>
          </a:p>
        </p:txBody>
      </p:sp>
      <p:sp>
        <p:nvSpPr>
          <p:cNvPr id="51" name="object 26"/>
          <p:cNvSpPr txBox="1"/>
          <p:nvPr/>
        </p:nvSpPr>
        <p:spPr>
          <a:xfrm>
            <a:off x="6612448" y="2521243"/>
            <a:ext cx="2172335" cy="215265"/>
          </a:xfrm>
          <a:prstGeom prst="rect">
            <a:avLst/>
          </a:prstGeom>
        </p:spPr>
        <p:txBody>
          <a:bodyPr vert="horz" wrap="square" lIns="0" tIns="0" rIns="0" bIns="0" rtlCol="0">
            <a:spAutoFit/>
          </a:bodyPr>
          <a:lstStyle/>
          <a:p>
            <a:pPr marL="12700" marR="5080">
              <a:lnSpc>
                <a:spcPct val="100000"/>
              </a:lnSpc>
            </a:pPr>
            <a:r>
              <a:rPr lang="zh-CN" altLang="en-US" sz="1400" i="1" spc="-5" dirty="0" smtClean="0">
                <a:latin typeface="+mj-lt"/>
                <a:cs typeface="Garamond" panose="02020404030301010803"/>
              </a:rPr>
              <a:t>金融投资奖励</a:t>
            </a:r>
          </a:p>
        </p:txBody>
      </p:sp>
      <p:sp>
        <p:nvSpPr>
          <p:cNvPr id="52" name="object 27"/>
          <p:cNvSpPr/>
          <p:nvPr/>
        </p:nvSpPr>
        <p:spPr>
          <a:xfrm>
            <a:off x="6506277" y="3019455"/>
            <a:ext cx="2436876" cy="839724"/>
          </a:xfrm>
          <a:prstGeom prst="rect">
            <a:avLst/>
          </a:prstGeom>
          <a:blipFill>
            <a:blip r:embed="rId12" cstate="print"/>
            <a:stretch>
              <a:fillRect/>
            </a:stretch>
          </a:blipFill>
        </p:spPr>
        <p:txBody>
          <a:bodyPr wrap="square" lIns="0" tIns="0" rIns="0" bIns="0" rtlCol="0"/>
          <a:lstStyle/>
          <a:p>
            <a:endParaRPr>
              <a:latin typeface="+mj-lt"/>
            </a:endParaRPr>
          </a:p>
        </p:txBody>
      </p:sp>
      <p:sp>
        <p:nvSpPr>
          <p:cNvPr id="53" name="object 28"/>
          <p:cNvSpPr/>
          <p:nvPr/>
        </p:nvSpPr>
        <p:spPr>
          <a:xfrm>
            <a:off x="7318569" y="3011836"/>
            <a:ext cx="853440" cy="480060"/>
          </a:xfrm>
          <a:prstGeom prst="rect">
            <a:avLst/>
          </a:prstGeom>
          <a:blipFill>
            <a:blip r:embed="rId13" cstate="print"/>
            <a:stretch>
              <a:fillRect/>
            </a:stretch>
          </a:blipFill>
        </p:spPr>
        <p:txBody>
          <a:bodyPr wrap="square" lIns="0" tIns="0" rIns="0" bIns="0" rtlCol="0"/>
          <a:lstStyle/>
          <a:p>
            <a:endParaRPr>
              <a:latin typeface="+mj-lt"/>
            </a:endParaRPr>
          </a:p>
        </p:txBody>
      </p:sp>
      <p:sp>
        <p:nvSpPr>
          <p:cNvPr id="54" name="object 29"/>
          <p:cNvSpPr/>
          <p:nvPr/>
        </p:nvSpPr>
        <p:spPr>
          <a:xfrm>
            <a:off x="6532439" y="3045491"/>
            <a:ext cx="2330450" cy="325755"/>
          </a:xfrm>
          <a:custGeom>
            <a:avLst/>
            <a:gdLst/>
            <a:ahLst/>
            <a:cxnLst/>
            <a:rect l="l" t="t" r="r" b="b"/>
            <a:pathLst>
              <a:path w="2330450" h="325754">
                <a:moveTo>
                  <a:pt x="0" y="325437"/>
                </a:moveTo>
                <a:lnTo>
                  <a:pt x="2330450" y="325437"/>
                </a:lnTo>
                <a:lnTo>
                  <a:pt x="2330450" y="0"/>
                </a:lnTo>
                <a:lnTo>
                  <a:pt x="0" y="0"/>
                </a:lnTo>
                <a:lnTo>
                  <a:pt x="0" y="325437"/>
                </a:lnTo>
                <a:close/>
              </a:path>
            </a:pathLst>
          </a:custGeom>
          <a:solidFill>
            <a:srgbClr val="0099CC"/>
          </a:solidFill>
        </p:spPr>
        <p:txBody>
          <a:bodyPr wrap="square" lIns="0" tIns="0" rIns="0" bIns="0" rtlCol="0"/>
          <a:lstStyle/>
          <a:p>
            <a:endParaRPr>
              <a:latin typeface="+mj-lt"/>
            </a:endParaRPr>
          </a:p>
        </p:txBody>
      </p:sp>
      <p:sp>
        <p:nvSpPr>
          <p:cNvPr id="55" name="object 30"/>
          <p:cNvSpPr txBox="1"/>
          <p:nvPr/>
        </p:nvSpPr>
        <p:spPr>
          <a:xfrm>
            <a:off x="6732240" y="3098187"/>
            <a:ext cx="2045855" cy="184150"/>
          </a:xfrm>
          <a:prstGeom prst="rect">
            <a:avLst/>
          </a:prstGeom>
        </p:spPr>
        <p:txBody>
          <a:bodyPr vert="horz" wrap="square" lIns="0" tIns="0" rIns="0" bIns="0" rtlCol="0">
            <a:spAutoFit/>
          </a:bodyPr>
          <a:lstStyle/>
          <a:p>
            <a:pPr marL="12700">
              <a:lnSpc>
                <a:spcPct val="100000"/>
              </a:lnSpc>
            </a:pPr>
            <a:r>
              <a:rPr lang="fr-FR" sz="1200" b="1" i="1" spc="-20" dirty="0" smtClean="0">
                <a:solidFill>
                  <a:srgbClr val="FFFFFF"/>
                </a:solidFill>
                <a:latin typeface="+mj-lt"/>
                <a:cs typeface="Garamond" panose="02020404030301010803"/>
              </a:rPr>
              <a:t>摩洛哥投资发展署</a:t>
            </a:r>
            <a:r>
              <a:rPr lang="en-US" altLang="fr-FR" sz="1200" b="1" i="1" spc="-20" dirty="0" smtClean="0">
                <a:solidFill>
                  <a:srgbClr val="FFFFFF"/>
                </a:solidFill>
                <a:latin typeface="+mj-lt"/>
                <a:cs typeface="Garamond" panose="02020404030301010803"/>
              </a:rPr>
              <a:t>/</a:t>
            </a:r>
            <a:r>
              <a:rPr lang="zh-CN" altLang="en-US" sz="1200" b="1" i="1" spc="-20" dirty="0" smtClean="0">
                <a:solidFill>
                  <a:srgbClr val="FFFFFF"/>
                </a:solidFill>
                <a:latin typeface="+mj-lt"/>
                <a:cs typeface="Garamond" panose="02020404030301010803"/>
              </a:rPr>
              <a:t>摩洛哥投资</a:t>
            </a:r>
          </a:p>
        </p:txBody>
      </p:sp>
      <p:sp>
        <p:nvSpPr>
          <p:cNvPr id="56" name="object 31"/>
          <p:cNvSpPr/>
          <p:nvPr/>
        </p:nvSpPr>
        <p:spPr>
          <a:xfrm>
            <a:off x="6532439" y="3370928"/>
            <a:ext cx="2330450" cy="408305"/>
          </a:xfrm>
          <a:custGeom>
            <a:avLst/>
            <a:gdLst/>
            <a:ahLst/>
            <a:cxnLst/>
            <a:rect l="l" t="t" r="r" b="b"/>
            <a:pathLst>
              <a:path w="2330450" h="408304">
                <a:moveTo>
                  <a:pt x="0" y="407987"/>
                </a:moveTo>
                <a:lnTo>
                  <a:pt x="2330450" y="407987"/>
                </a:lnTo>
                <a:lnTo>
                  <a:pt x="2330450" y="0"/>
                </a:lnTo>
                <a:lnTo>
                  <a:pt x="0" y="0"/>
                </a:lnTo>
                <a:lnTo>
                  <a:pt x="0" y="407987"/>
                </a:lnTo>
                <a:close/>
              </a:path>
            </a:pathLst>
          </a:custGeom>
          <a:solidFill>
            <a:srgbClr val="FFFFFF"/>
          </a:solidFill>
        </p:spPr>
        <p:txBody>
          <a:bodyPr wrap="square" lIns="0" tIns="0" rIns="0" bIns="0" rtlCol="0"/>
          <a:lstStyle/>
          <a:p>
            <a:endParaRPr>
              <a:latin typeface="+mj-lt"/>
            </a:endParaRPr>
          </a:p>
        </p:txBody>
      </p:sp>
      <p:sp>
        <p:nvSpPr>
          <p:cNvPr id="57" name="object 32"/>
          <p:cNvSpPr txBox="1"/>
          <p:nvPr/>
        </p:nvSpPr>
        <p:spPr>
          <a:xfrm>
            <a:off x="6612448" y="3396264"/>
            <a:ext cx="2105660" cy="368935"/>
          </a:xfrm>
          <a:prstGeom prst="rect">
            <a:avLst/>
          </a:prstGeom>
        </p:spPr>
        <p:txBody>
          <a:bodyPr vert="horz" wrap="square" lIns="0" tIns="0" rIns="0" bIns="0" rtlCol="0">
            <a:spAutoFit/>
          </a:bodyPr>
          <a:lstStyle/>
          <a:p>
            <a:pPr marL="12700" marR="5080">
              <a:lnSpc>
                <a:spcPts val="1440"/>
              </a:lnSpc>
            </a:pPr>
            <a:r>
              <a:rPr lang="zh-CN" sz="1250" i="1" spc="-30" dirty="0">
                <a:latin typeface="+mj-lt"/>
                <a:cs typeface="Garamond" panose="02020404030301010803"/>
              </a:rPr>
              <a:t>跨产业投资</a:t>
            </a:r>
            <a:r>
              <a:rPr sz="1250" i="1" spc="-30" dirty="0">
                <a:latin typeface="+mj-lt"/>
                <a:cs typeface="Garamond" panose="02020404030301010803"/>
              </a:rPr>
              <a:t>  </a:t>
            </a:r>
          </a:p>
          <a:p>
            <a:pPr marL="12700" marR="5080">
              <a:lnSpc>
                <a:spcPts val="1440"/>
              </a:lnSpc>
            </a:pPr>
            <a:r>
              <a:rPr lang="zh-CN" sz="1250" dirty="0">
                <a:latin typeface="+mj-lt"/>
                <a:cs typeface="Garamond" panose="02020404030301010803"/>
              </a:rPr>
              <a:t>推广</a:t>
            </a:r>
          </a:p>
        </p:txBody>
      </p:sp>
      <p:sp>
        <p:nvSpPr>
          <p:cNvPr id="58" name="object 33"/>
          <p:cNvSpPr/>
          <p:nvPr/>
        </p:nvSpPr>
        <p:spPr>
          <a:xfrm>
            <a:off x="6506277" y="3802792"/>
            <a:ext cx="2436876" cy="484631"/>
          </a:xfrm>
          <a:prstGeom prst="rect">
            <a:avLst/>
          </a:prstGeom>
          <a:blipFill>
            <a:blip r:embed="rId14" cstate="print"/>
            <a:stretch>
              <a:fillRect/>
            </a:stretch>
          </a:blipFill>
        </p:spPr>
        <p:txBody>
          <a:bodyPr wrap="square" lIns="0" tIns="0" rIns="0" bIns="0" rtlCol="0"/>
          <a:lstStyle/>
          <a:p>
            <a:endParaRPr>
              <a:latin typeface="+mj-lt"/>
            </a:endParaRPr>
          </a:p>
        </p:txBody>
      </p:sp>
      <p:sp>
        <p:nvSpPr>
          <p:cNvPr id="59" name="object 34"/>
          <p:cNvSpPr/>
          <p:nvPr/>
        </p:nvSpPr>
        <p:spPr>
          <a:xfrm>
            <a:off x="6533708" y="3795171"/>
            <a:ext cx="2424683" cy="480059"/>
          </a:xfrm>
          <a:prstGeom prst="rect">
            <a:avLst/>
          </a:prstGeom>
          <a:blipFill>
            <a:blip r:embed="rId15" cstate="print"/>
            <a:stretch>
              <a:fillRect/>
            </a:stretch>
          </a:blipFill>
        </p:spPr>
        <p:txBody>
          <a:bodyPr wrap="square" lIns="0" tIns="0" rIns="0" bIns="0" rtlCol="0"/>
          <a:lstStyle/>
          <a:p>
            <a:endParaRPr>
              <a:latin typeface="+mj-lt"/>
            </a:endParaRPr>
          </a:p>
        </p:txBody>
      </p:sp>
      <p:sp>
        <p:nvSpPr>
          <p:cNvPr id="60" name="object 35"/>
          <p:cNvSpPr/>
          <p:nvPr/>
        </p:nvSpPr>
        <p:spPr>
          <a:xfrm>
            <a:off x="6532439" y="3829716"/>
            <a:ext cx="2330450" cy="357505"/>
          </a:xfrm>
          <a:custGeom>
            <a:avLst/>
            <a:gdLst/>
            <a:ahLst/>
            <a:cxnLst/>
            <a:rect l="l" t="t" r="r" b="b"/>
            <a:pathLst>
              <a:path w="2330450" h="357504">
                <a:moveTo>
                  <a:pt x="0" y="357187"/>
                </a:moveTo>
                <a:lnTo>
                  <a:pt x="2330450" y="357187"/>
                </a:lnTo>
                <a:lnTo>
                  <a:pt x="2330450" y="0"/>
                </a:lnTo>
                <a:lnTo>
                  <a:pt x="0" y="0"/>
                </a:lnTo>
                <a:lnTo>
                  <a:pt x="0" y="357187"/>
                </a:lnTo>
                <a:close/>
              </a:path>
            </a:pathLst>
          </a:custGeom>
          <a:solidFill>
            <a:srgbClr val="0099CC"/>
          </a:solidFill>
        </p:spPr>
        <p:txBody>
          <a:bodyPr wrap="square" lIns="0" tIns="0" rIns="0" bIns="0" rtlCol="0"/>
          <a:lstStyle/>
          <a:p>
            <a:endParaRPr>
              <a:latin typeface="+mj-lt"/>
            </a:endParaRPr>
          </a:p>
        </p:txBody>
      </p:sp>
      <p:sp>
        <p:nvSpPr>
          <p:cNvPr id="61" name="object 36"/>
          <p:cNvSpPr txBox="1"/>
          <p:nvPr/>
        </p:nvSpPr>
        <p:spPr>
          <a:xfrm>
            <a:off x="6655756" y="3882792"/>
            <a:ext cx="2084070" cy="222885"/>
          </a:xfrm>
          <a:prstGeom prst="rect">
            <a:avLst/>
          </a:prstGeom>
        </p:spPr>
        <p:txBody>
          <a:bodyPr vert="horz" wrap="square" lIns="0" tIns="0" rIns="0" bIns="0" rtlCol="0">
            <a:spAutoFit/>
          </a:bodyPr>
          <a:lstStyle/>
          <a:p>
            <a:pPr marL="12700">
              <a:lnSpc>
                <a:spcPct val="100000"/>
              </a:lnSpc>
            </a:pPr>
            <a:r>
              <a:rPr lang="zh-CN" sz="1450" b="1" i="1" spc="-20" dirty="0">
                <a:solidFill>
                  <a:srgbClr val="FFFFFF"/>
                </a:solidFill>
                <a:latin typeface="+mj-lt"/>
                <a:cs typeface="Garamond" panose="02020404030301010803"/>
              </a:rPr>
              <a:t>政府和各部门</a:t>
            </a:r>
          </a:p>
        </p:txBody>
      </p:sp>
      <p:sp>
        <p:nvSpPr>
          <p:cNvPr id="62" name="object 37"/>
          <p:cNvSpPr/>
          <p:nvPr/>
        </p:nvSpPr>
        <p:spPr>
          <a:xfrm>
            <a:off x="6532439" y="4186903"/>
            <a:ext cx="2330450" cy="363161"/>
          </a:xfrm>
          <a:custGeom>
            <a:avLst/>
            <a:gdLst/>
            <a:ahLst/>
            <a:cxnLst/>
            <a:rect l="l" t="t" r="r" b="b"/>
            <a:pathLst>
              <a:path w="2330450" h="240029">
                <a:moveTo>
                  <a:pt x="0" y="239712"/>
                </a:moveTo>
                <a:lnTo>
                  <a:pt x="2330450" y="239712"/>
                </a:lnTo>
                <a:lnTo>
                  <a:pt x="2330450" y="0"/>
                </a:lnTo>
                <a:lnTo>
                  <a:pt x="0" y="0"/>
                </a:lnTo>
                <a:lnTo>
                  <a:pt x="0" y="239712"/>
                </a:lnTo>
                <a:close/>
              </a:path>
            </a:pathLst>
          </a:custGeom>
          <a:solidFill>
            <a:srgbClr val="FFFFFF"/>
          </a:solidFill>
        </p:spPr>
        <p:txBody>
          <a:bodyPr wrap="square" lIns="0" tIns="0" rIns="0" bIns="0" rtlCol="0"/>
          <a:lstStyle/>
          <a:p>
            <a:endParaRPr>
              <a:latin typeface="+mj-lt"/>
            </a:endParaRPr>
          </a:p>
        </p:txBody>
      </p:sp>
      <p:sp>
        <p:nvSpPr>
          <p:cNvPr id="63" name="object 38"/>
          <p:cNvSpPr txBox="1"/>
          <p:nvPr/>
        </p:nvSpPr>
        <p:spPr>
          <a:xfrm>
            <a:off x="6612448" y="4245182"/>
            <a:ext cx="2105660" cy="184150"/>
          </a:xfrm>
          <a:prstGeom prst="rect">
            <a:avLst/>
          </a:prstGeom>
        </p:spPr>
        <p:txBody>
          <a:bodyPr vert="horz" wrap="square" lIns="0" tIns="0" rIns="0" bIns="0" rtlCol="0">
            <a:spAutoFit/>
          </a:bodyPr>
          <a:lstStyle/>
          <a:p>
            <a:pPr marL="12700">
              <a:lnSpc>
                <a:spcPct val="100000"/>
              </a:lnSpc>
            </a:pPr>
            <a:r>
              <a:rPr lang="zh-CN" altLang="en-US" sz="1200" i="1" spc="-5" dirty="0" smtClean="0">
                <a:latin typeface="+mj-lt"/>
                <a:cs typeface="Garamond" panose="02020404030301010803"/>
              </a:rPr>
              <a:t>批准奖励政策</a:t>
            </a:r>
          </a:p>
        </p:txBody>
      </p:sp>
      <p:sp>
        <p:nvSpPr>
          <p:cNvPr id="64" name="object 39"/>
          <p:cNvSpPr/>
          <p:nvPr/>
        </p:nvSpPr>
        <p:spPr>
          <a:xfrm>
            <a:off x="315789" y="1196752"/>
            <a:ext cx="665988" cy="3526536"/>
          </a:xfrm>
          <a:prstGeom prst="rect">
            <a:avLst/>
          </a:prstGeom>
          <a:blipFill>
            <a:blip r:embed="rId16" cstate="print"/>
            <a:stretch>
              <a:fillRect/>
            </a:stretch>
          </a:blipFill>
        </p:spPr>
        <p:txBody>
          <a:bodyPr wrap="square" lIns="0" tIns="0" rIns="0" bIns="0" rtlCol="0"/>
          <a:lstStyle/>
          <a:p>
            <a:endParaRPr>
              <a:latin typeface="+mj-lt"/>
            </a:endParaRPr>
          </a:p>
        </p:txBody>
      </p:sp>
      <p:sp>
        <p:nvSpPr>
          <p:cNvPr id="65" name="object 40"/>
          <p:cNvSpPr/>
          <p:nvPr/>
        </p:nvSpPr>
        <p:spPr>
          <a:xfrm>
            <a:off x="434661" y="1999899"/>
            <a:ext cx="480059" cy="1879092"/>
          </a:xfrm>
          <a:prstGeom prst="rect">
            <a:avLst/>
          </a:prstGeom>
          <a:blipFill>
            <a:blip r:embed="rId17" cstate="print"/>
            <a:stretch>
              <a:fillRect/>
            </a:stretch>
          </a:blipFill>
        </p:spPr>
        <p:txBody>
          <a:bodyPr wrap="square" lIns="0" tIns="0" rIns="0" bIns="0" rtlCol="0"/>
          <a:lstStyle/>
          <a:p>
            <a:endParaRPr>
              <a:latin typeface="+mj-lt"/>
            </a:endParaRPr>
          </a:p>
        </p:txBody>
      </p:sp>
      <p:sp>
        <p:nvSpPr>
          <p:cNvPr id="66" name="object 41"/>
          <p:cNvSpPr/>
          <p:nvPr/>
        </p:nvSpPr>
        <p:spPr>
          <a:xfrm>
            <a:off x="342395" y="1223676"/>
            <a:ext cx="558800" cy="3420110"/>
          </a:xfrm>
          <a:custGeom>
            <a:avLst/>
            <a:gdLst/>
            <a:ahLst/>
            <a:cxnLst/>
            <a:rect l="l" t="t" r="r" b="b"/>
            <a:pathLst>
              <a:path w="558800" h="3420110">
                <a:moveTo>
                  <a:pt x="0" y="3419602"/>
                </a:moveTo>
                <a:lnTo>
                  <a:pt x="558749" y="3419602"/>
                </a:lnTo>
                <a:lnTo>
                  <a:pt x="558749" y="0"/>
                </a:lnTo>
                <a:lnTo>
                  <a:pt x="0" y="0"/>
                </a:lnTo>
                <a:lnTo>
                  <a:pt x="0" y="3419602"/>
                </a:lnTo>
                <a:close/>
              </a:path>
            </a:pathLst>
          </a:custGeom>
          <a:solidFill>
            <a:srgbClr val="0378A1"/>
          </a:solidFill>
        </p:spPr>
        <p:txBody>
          <a:bodyPr wrap="square" lIns="0" tIns="0" rIns="0" bIns="0" rtlCol="0"/>
          <a:lstStyle/>
          <a:p>
            <a:endParaRPr>
              <a:latin typeface="+mj-lt"/>
            </a:endParaRPr>
          </a:p>
        </p:txBody>
      </p:sp>
      <p:sp>
        <p:nvSpPr>
          <p:cNvPr id="67" name="object 42"/>
          <p:cNvSpPr txBox="1"/>
          <p:nvPr/>
        </p:nvSpPr>
        <p:spPr>
          <a:xfrm>
            <a:off x="512256" y="2059167"/>
            <a:ext cx="194945" cy="1541145"/>
          </a:xfrm>
          <a:prstGeom prst="rect">
            <a:avLst/>
          </a:prstGeom>
        </p:spPr>
        <p:txBody>
          <a:bodyPr vert="vert270" wrap="square" lIns="0" tIns="0" rIns="0" bIns="0" rtlCol="0">
            <a:spAutoFit/>
          </a:bodyPr>
          <a:lstStyle/>
          <a:p>
            <a:pPr marL="12700">
              <a:lnSpc>
                <a:spcPts val="1525"/>
              </a:lnSpc>
            </a:pPr>
            <a:r>
              <a:rPr lang="zh-CN" b="1" i="1" spc="-5" dirty="0">
                <a:solidFill>
                  <a:srgbClr val="FFFFFF"/>
                </a:solidFill>
                <a:latin typeface="+mj-lt"/>
                <a:cs typeface="Garamond" panose="02020404030301010803"/>
              </a:rPr>
              <a:t>中心层面</a:t>
            </a:r>
          </a:p>
        </p:txBody>
      </p:sp>
      <p:sp>
        <p:nvSpPr>
          <p:cNvPr id="68" name="object 43"/>
          <p:cNvSpPr/>
          <p:nvPr/>
        </p:nvSpPr>
        <p:spPr>
          <a:xfrm>
            <a:off x="315789" y="4688236"/>
            <a:ext cx="665988" cy="1312163"/>
          </a:xfrm>
          <a:prstGeom prst="rect">
            <a:avLst/>
          </a:prstGeom>
          <a:blipFill>
            <a:blip r:embed="rId18" cstate="print"/>
            <a:stretch>
              <a:fillRect/>
            </a:stretch>
          </a:blipFill>
        </p:spPr>
        <p:txBody>
          <a:bodyPr wrap="square" lIns="0" tIns="0" rIns="0" bIns="0" rtlCol="0"/>
          <a:lstStyle/>
          <a:p>
            <a:endParaRPr>
              <a:latin typeface="+mj-lt"/>
            </a:endParaRPr>
          </a:p>
        </p:txBody>
      </p:sp>
      <p:sp>
        <p:nvSpPr>
          <p:cNvPr id="69" name="object 44"/>
          <p:cNvSpPr/>
          <p:nvPr/>
        </p:nvSpPr>
        <p:spPr>
          <a:xfrm>
            <a:off x="327980" y="4839112"/>
            <a:ext cx="693420" cy="969263"/>
          </a:xfrm>
          <a:prstGeom prst="rect">
            <a:avLst/>
          </a:prstGeom>
          <a:blipFill>
            <a:blip r:embed="rId19" cstate="print"/>
            <a:stretch>
              <a:fillRect/>
            </a:stretch>
          </a:blipFill>
        </p:spPr>
        <p:txBody>
          <a:bodyPr wrap="square" lIns="0" tIns="0" rIns="0" bIns="0" rtlCol="0"/>
          <a:lstStyle/>
          <a:p>
            <a:endParaRPr>
              <a:latin typeface="+mj-lt"/>
            </a:endParaRPr>
          </a:p>
        </p:txBody>
      </p:sp>
      <p:sp>
        <p:nvSpPr>
          <p:cNvPr id="70" name="object 45"/>
          <p:cNvSpPr/>
          <p:nvPr/>
        </p:nvSpPr>
        <p:spPr>
          <a:xfrm>
            <a:off x="342395" y="4715337"/>
            <a:ext cx="558800" cy="1205230"/>
          </a:xfrm>
          <a:custGeom>
            <a:avLst/>
            <a:gdLst/>
            <a:ahLst/>
            <a:cxnLst/>
            <a:rect l="l" t="t" r="r" b="b"/>
            <a:pathLst>
              <a:path w="558800" h="1205229">
                <a:moveTo>
                  <a:pt x="0" y="1204925"/>
                </a:moveTo>
                <a:lnTo>
                  <a:pt x="558749" y="1204925"/>
                </a:lnTo>
                <a:lnTo>
                  <a:pt x="558749" y="0"/>
                </a:lnTo>
                <a:lnTo>
                  <a:pt x="0" y="0"/>
                </a:lnTo>
                <a:lnTo>
                  <a:pt x="0" y="1204925"/>
                </a:lnTo>
                <a:close/>
              </a:path>
            </a:pathLst>
          </a:custGeom>
          <a:solidFill>
            <a:srgbClr val="0378A1"/>
          </a:solidFill>
          <a:ln>
            <a:solidFill>
              <a:srgbClr val="0099CC"/>
            </a:solidFill>
          </a:ln>
        </p:spPr>
        <p:txBody>
          <a:bodyPr wrap="square" lIns="0" tIns="0" rIns="0" bIns="0" rtlCol="0"/>
          <a:lstStyle/>
          <a:p>
            <a:endParaRPr>
              <a:latin typeface="+mj-lt"/>
            </a:endParaRPr>
          </a:p>
        </p:txBody>
      </p:sp>
      <p:sp>
        <p:nvSpPr>
          <p:cNvPr id="71" name="object 46"/>
          <p:cNvSpPr txBox="1"/>
          <p:nvPr/>
        </p:nvSpPr>
        <p:spPr>
          <a:xfrm>
            <a:off x="512302" y="4768981"/>
            <a:ext cx="191135" cy="920277"/>
          </a:xfrm>
          <a:prstGeom prst="rect">
            <a:avLst/>
          </a:prstGeom>
        </p:spPr>
        <p:txBody>
          <a:bodyPr vert="vert270" wrap="square" lIns="0" tIns="0" rIns="0" bIns="0" rtlCol="0">
            <a:spAutoFit/>
          </a:bodyPr>
          <a:lstStyle/>
          <a:p>
            <a:pPr marL="17145" indent="-5080">
              <a:lnSpc>
                <a:spcPts val="1495"/>
              </a:lnSpc>
            </a:pPr>
            <a:r>
              <a:rPr lang="zh-CN" sz="1600" b="1" i="1" spc="-5" dirty="0">
                <a:solidFill>
                  <a:srgbClr val="FFFFFF"/>
                </a:solidFill>
                <a:latin typeface="+mj-lt"/>
                <a:cs typeface="Garamond" panose="02020404030301010803"/>
              </a:rPr>
              <a:t>地方层面</a:t>
            </a:r>
          </a:p>
        </p:txBody>
      </p:sp>
      <p:sp>
        <p:nvSpPr>
          <p:cNvPr id="72" name="object 47"/>
          <p:cNvSpPr/>
          <p:nvPr/>
        </p:nvSpPr>
        <p:spPr>
          <a:xfrm>
            <a:off x="975680" y="4689760"/>
            <a:ext cx="7988808" cy="1310640"/>
          </a:xfrm>
          <a:prstGeom prst="rect">
            <a:avLst/>
          </a:prstGeom>
          <a:blipFill>
            <a:blip r:embed="rId20" cstate="print"/>
            <a:stretch>
              <a:fillRect/>
            </a:stretch>
          </a:blipFill>
        </p:spPr>
        <p:txBody>
          <a:bodyPr wrap="square" lIns="0" tIns="0" rIns="0" bIns="0" rtlCol="0"/>
          <a:lstStyle/>
          <a:p>
            <a:endParaRPr>
              <a:latin typeface="+mj-lt"/>
            </a:endParaRPr>
          </a:p>
        </p:txBody>
      </p:sp>
      <p:sp>
        <p:nvSpPr>
          <p:cNvPr id="73" name="object 48"/>
          <p:cNvSpPr/>
          <p:nvPr/>
        </p:nvSpPr>
        <p:spPr>
          <a:xfrm>
            <a:off x="1001589" y="4715541"/>
            <a:ext cx="7908925" cy="1205230"/>
          </a:xfrm>
          <a:custGeom>
            <a:avLst/>
            <a:gdLst/>
            <a:ahLst/>
            <a:cxnLst/>
            <a:rect l="l" t="t" r="r" b="b"/>
            <a:pathLst>
              <a:path w="7908925" h="1205229">
                <a:moveTo>
                  <a:pt x="0" y="1204912"/>
                </a:moveTo>
                <a:lnTo>
                  <a:pt x="7908925" y="1204912"/>
                </a:lnTo>
                <a:lnTo>
                  <a:pt x="7908925" y="0"/>
                </a:lnTo>
                <a:lnTo>
                  <a:pt x="0" y="0"/>
                </a:lnTo>
                <a:lnTo>
                  <a:pt x="0" y="1204912"/>
                </a:lnTo>
                <a:close/>
              </a:path>
            </a:pathLst>
          </a:custGeom>
          <a:solidFill>
            <a:schemeClr val="bg1"/>
          </a:solidFill>
        </p:spPr>
        <p:txBody>
          <a:bodyPr wrap="square" lIns="0" tIns="0" rIns="0" bIns="0" rtlCol="0"/>
          <a:lstStyle/>
          <a:p>
            <a:endParaRPr>
              <a:latin typeface="+mj-lt"/>
            </a:endParaRPr>
          </a:p>
        </p:txBody>
      </p:sp>
      <p:sp>
        <p:nvSpPr>
          <p:cNvPr id="74" name="object 49"/>
          <p:cNvSpPr/>
          <p:nvPr/>
        </p:nvSpPr>
        <p:spPr>
          <a:xfrm>
            <a:off x="1452693" y="4749195"/>
            <a:ext cx="2215896" cy="789432"/>
          </a:xfrm>
          <a:prstGeom prst="rect">
            <a:avLst/>
          </a:prstGeom>
          <a:blipFill>
            <a:blip r:embed="rId21" cstate="print"/>
            <a:stretch>
              <a:fillRect/>
            </a:stretch>
          </a:blipFill>
        </p:spPr>
        <p:txBody>
          <a:bodyPr wrap="square" lIns="0" tIns="0" rIns="0" bIns="0" rtlCol="0"/>
          <a:lstStyle/>
          <a:p>
            <a:endParaRPr>
              <a:latin typeface="+mj-lt"/>
            </a:endParaRPr>
          </a:p>
        </p:txBody>
      </p:sp>
      <p:sp>
        <p:nvSpPr>
          <p:cNvPr id="75" name="object 50"/>
          <p:cNvSpPr/>
          <p:nvPr/>
        </p:nvSpPr>
        <p:spPr>
          <a:xfrm>
            <a:off x="1492190" y="4788566"/>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76" name="object 51"/>
          <p:cNvSpPr/>
          <p:nvPr/>
        </p:nvSpPr>
        <p:spPr>
          <a:xfrm>
            <a:off x="1492190" y="4788566"/>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77" name="object 52"/>
          <p:cNvSpPr/>
          <p:nvPr/>
        </p:nvSpPr>
        <p:spPr>
          <a:xfrm>
            <a:off x="1350585" y="4871116"/>
            <a:ext cx="2214372" cy="789432"/>
          </a:xfrm>
          <a:prstGeom prst="rect">
            <a:avLst/>
          </a:prstGeom>
          <a:blipFill>
            <a:blip r:embed="rId22" cstate="print"/>
            <a:stretch>
              <a:fillRect/>
            </a:stretch>
          </a:blipFill>
        </p:spPr>
        <p:txBody>
          <a:bodyPr wrap="square" lIns="0" tIns="0" rIns="0" bIns="0" rtlCol="0"/>
          <a:lstStyle/>
          <a:p>
            <a:endParaRPr>
              <a:latin typeface="+mj-lt"/>
            </a:endParaRPr>
          </a:p>
        </p:txBody>
      </p:sp>
      <p:sp>
        <p:nvSpPr>
          <p:cNvPr id="78" name="object 53"/>
          <p:cNvSpPr/>
          <p:nvPr/>
        </p:nvSpPr>
        <p:spPr>
          <a:xfrm>
            <a:off x="1388939" y="491080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79" name="object 54"/>
          <p:cNvSpPr/>
          <p:nvPr/>
        </p:nvSpPr>
        <p:spPr>
          <a:xfrm>
            <a:off x="1388939" y="491080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80" name="object 55"/>
          <p:cNvSpPr/>
          <p:nvPr/>
        </p:nvSpPr>
        <p:spPr>
          <a:xfrm>
            <a:off x="1246952" y="4993036"/>
            <a:ext cx="2214372" cy="787908"/>
          </a:xfrm>
          <a:prstGeom prst="rect">
            <a:avLst/>
          </a:prstGeom>
          <a:blipFill>
            <a:blip r:embed="rId23" cstate="print"/>
            <a:stretch>
              <a:fillRect/>
            </a:stretch>
          </a:blipFill>
        </p:spPr>
        <p:txBody>
          <a:bodyPr wrap="square" lIns="0" tIns="0" rIns="0" bIns="0" rtlCol="0"/>
          <a:lstStyle/>
          <a:p>
            <a:endParaRPr>
              <a:latin typeface="+mj-lt"/>
            </a:endParaRPr>
          </a:p>
        </p:txBody>
      </p:sp>
      <p:sp>
        <p:nvSpPr>
          <p:cNvPr id="81" name="object 56"/>
          <p:cNvSpPr/>
          <p:nvPr/>
        </p:nvSpPr>
        <p:spPr>
          <a:xfrm>
            <a:off x="1285814" y="503145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82" name="object 57"/>
          <p:cNvSpPr/>
          <p:nvPr/>
        </p:nvSpPr>
        <p:spPr>
          <a:xfrm>
            <a:off x="1285814" y="503145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83" name="object 58"/>
          <p:cNvSpPr/>
          <p:nvPr/>
        </p:nvSpPr>
        <p:spPr>
          <a:xfrm>
            <a:off x="1143321" y="5114956"/>
            <a:ext cx="2214372" cy="789432"/>
          </a:xfrm>
          <a:prstGeom prst="rect">
            <a:avLst/>
          </a:prstGeom>
          <a:blipFill>
            <a:blip r:embed="rId24" cstate="print"/>
            <a:stretch>
              <a:fillRect/>
            </a:stretch>
          </a:blipFill>
        </p:spPr>
        <p:txBody>
          <a:bodyPr wrap="square" lIns="0" tIns="0" rIns="0" bIns="0" rtlCol="0"/>
          <a:lstStyle/>
          <a:p>
            <a:endParaRPr>
              <a:latin typeface="+mj-lt"/>
            </a:endParaRPr>
          </a:p>
        </p:txBody>
      </p:sp>
      <p:sp>
        <p:nvSpPr>
          <p:cNvPr id="84" name="object 59"/>
          <p:cNvSpPr/>
          <p:nvPr/>
        </p:nvSpPr>
        <p:spPr>
          <a:xfrm>
            <a:off x="1182564" y="5153691"/>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chemeClr val="bg1">
              <a:lumMod val="75000"/>
            </a:schemeClr>
          </a:solidFill>
        </p:spPr>
        <p:txBody>
          <a:bodyPr wrap="square" lIns="0" tIns="0" rIns="0" bIns="0" rtlCol="0"/>
          <a:lstStyle/>
          <a:p>
            <a:endParaRPr sz="4000">
              <a:latin typeface="+mj-lt"/>
            </a:endParaRPr>
          </a:p>
        </p:txBody>
      </p:sp>
      <p:sp>
        <p:nvSpPr>
          <p:cNvPr id="85" name="object 60"/>
          <p:cNvSpPr/>
          <p:nvPr/>
        </p:nvSpPr>
        <p:spPr>
          <a:xfrm>
            <a:off x="1182564" y="5153691"/>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86" name="object 61"/>
          <p:cNvSpPr txBox="1"/>
          <p:nvPr/>
        </p:nvSpPr>
        <p:spPr>
          <a:xfrm>
            <a:off x="1247060" y="5322596"/>
            <a:ext cx="1981713" cy="245745"/>
          </a:xfrm>
          <a:prstGeom prst="rect">
            <a:avLst/>
          </a:prstGeom>
        </p:spPr>
        <p:txBody>
          <a:bodyPr vert="horz" wrap="square" lIns="0" tIns="0" rIns="0" bIns="0" rtlCol="0">
            <a:spAutoFit/>
          </a:bodyPr>
          <a:lstStyle/>
          <a:p>
            <a:pPr marL="12700">
              <a:lnSpc>
                <a:spcPct val="100000"/>
              </a:lnSpc>
            </a:pPr>
            <a:r>
              <a:rPr lang="zh-CN" altLang="en-US" sz="1600" b="1" i="1" spc="-40" dirty="0" smtClean="0">
                <a:solidFill>
                  <a:srgbClr val="FFFFFF"/>
                </a:solidFill>
                <a:latin typeface="+mj-lt"/>
                <a:cs typeface="Garamond" panose="02020404030301010803"/>
              </a:rPr>
              <a:t>区域旅游代表（</a:t>
            </a:r>
            <a:r>
              <a:rPr lang="en-US" altLang="zh-CN" sz="1600" b="1" i="1" spc="-40" dirty="0" smtClean="0">
                <a:solidFill>
                  <a:srgbClr val="FFFFFF"/>
                </a:solidFill>
                <a:latin typeface="+mj-lt"/>
                <a:cs typeface="Garamond" panose="02020404030301010803"/>
              </a:rPr>
              <a:t>DRT</a:t>
            </a:r>
            <a:r>
              <a:rPr lang="zh-CN" altLang="en-US" sz="1600" b="1" i="1" spc="-40" dirty="0" smtClean="0">
                <a:solidFill>
                  <a:srgbClr val="FFFFFF"/>
                </a:solidFill>
                <a:latin typeface="+mj-lt"/>
                <a:cs typeface="Garamond" panose="02020404030301010803"/>
              </a:rPr>
              <a:t>）</a:t>
            </a:r>
          </a:p>
        </p:txBody>
      </p:sp>
      <p:sp>
        <p:nvSpPr>
          <p:cNvPr id="87" name="object 62"/>
          <p:cNvSpPr/>
          <p:nvPr/>
        </p:nvSpPr>
        <p:spPr>
          <a:xfrm>
            <a:off x="3949004" y="4749195"/>
            <a:ext cx="2215895" cy="789432"/>
          </a:xfrm>
          <a:prstGeom prst="rect">
            <a:avLst/>
          </a:prstGeom>
          <a:blipFill>
            <a:blip r:embed="rId25" cstate="print"/>
            <a:stretch>
              <a:fillRect/>
            </a:stretch>
          </a:blipFill>
        </p:spPr>
        <p:txBody>
          <a:bodyPr wrap="square" lIns="0" tIns="0" rIns="0" bIns="0" rtlCol="0"/>
          <a:lstStyle/>
          <a:p>
            <a:endParaRPr>
              <a:latin typeface="+mj-lt"/>
            </a:endParaRPr>
          </a:p>
        </p:txBody>
      </p:sp>
      <p:sp>
        <p:nvSpPr>
          <p:cNvPr id="88" name="object 63"/>
          <p:cNvSpPr/>
          <p:nvPr/>
        </p:nvSpPr>
        <p:spPr>
          <a:xfrm>
            <a:off x="3987740" y="4788566"/>
            <a:ext cx="2084705" cy="657225"/>
          </a:xfrm>
          <a:custGeom>
            <a:avLst/>
            <a:gdLst/>
            <a:ahLst/>
            <a:cxnLst/>
            <a:rect l="l" t="t" r="r" b="b"/>
            <a:pathLst>
              <a:path w="2084704" h="657225">
                <a:moveTo>
                  <a:pt x="0" y="657225"/>
                </a:moveTo>
                <a:lnTo>
                  <a:pt x="2084324" y="657225"/>
                </a:lnTo>
                <a:lnTo>
                  <a:pt x="2084324"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89" name="object 64"/>
          <p:cNvSpPr/>
          <p:nvPr/>
        </p:nvSpPr>
        <p:spPr>
          <a:xfrm>
            <a:off x="3987740" y="4788566"/>
            <a:ext cx="2084705" cy="657225"/>
          </a:xfrm>
          <a:custGeom>
            <a:avLst/>
            <a:gdLst/>
            <a:ahLst/>
            <a:cxnLst/>
            <a:rect l="l" t="t" r="r" b="b"/>
            <a:pathLst>
              <a:path w="2084704" h="657225">
                <a:moveTo>
                  <a:pt x="0" y="657225"/>
                </a:moveTo>
                <a:lnTo>
                  <a:pt x="2084324" y="657225"/>
                </a:lnTo>
                <a:lnTo>
                  <a:pt x="2084324"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90" name="object 65"/>
          <p:cNvSpPr/>
          <p:nvPr/>
        </p:nvSpPr>
        <p:spPr>
          <a:xfrm>
            <a:off x="3845373" y="4871116"/>
            <a:ext cx="2215895" cy="789432"/>
          </a:xfrm>
          <a:prstGeom prst="rect">
            <a:avLst/>
          </a:prstGeom>
          <a:blipFill>
            <a:blip r:embed="rId26" cstate="print"/>
            <a:stretch>
              <a:fillRect/>
            </a:stretch>
          </a:blipFill>
        </p:spPr>
        <p:txBody>
          <a:bodyPr wrap="square" lIns="0" tIns="0" rIns="0" bIns="0" rtlCol="0"/>
          <a:lstStyle/>
          <a:p>
            <a:endParaRPr>
              <a:latin typeface="+mj-lt"/>
            </a:endParaRPr>
          </a:p>
        </p:txBody>
      </p:sp>
      <p:sp>
        <p:nvSpPr>
          <p:cNvPr id="91" name="object 66"/>
          <p:cNvSpPr/>
          <p:nvPr/>
        </p:nvSpPr>
        <p:spPr>
          <a:xfrm>
            <a:off x="3884489" y="4910803"/>
            <a:ext cx="2084705" cy="657225"/>
          </a:xfrm>
          <a:custGeom>
            <a:avLst/>
            <a:gdLst/>
            <a:ahLst/>
            <a:cxnLst/>
            <a:rect l="l" t="t" r="r" b="b"/>
            <a:pathLst>
              <a:path w="2084704" h="657225">
                <a:moveTo>
                  <a:pt x="0" y="657225"/>
                </a:moveTo>
                <a:lnTo>
                  <a:pt x="2084451" y="657225"/>
                </a:lnTo>
                <a:lnTo>
                  <a:pt x="2084451"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92" name="object 67"/>
          <p:cNvSpPr/>
          <p:nvPr/>
        </p:nvSpPr>
        <p:spPr>
          <a:xfrm>
            <a:off x="3884489" y="4910803"/>
            <a:ext cx="2084705" cy="657225"/>
          </a:xfrm>
          <a:custGeom>
            <a:avLst/>
            <a:gdLst/>
            <a:ahLst/>
            <a:cxnLst/>
            <a:rect l="l" t="t" r="r" b="b"/>
            <a:pathLst>
              <a:path w="2084704" h="657225">
                <a:moveTo>
                  <a:pt x="0" y="657225"/>
                </a:moveTo>
                <a:lnTo>
                  <a:pt x="2084451" y="657225"/>
                </a:lnTo>
                <a:lnTo>
                  <a:pt x="2084451"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93" name="object 68"/>
          <p:cNvSpPr/>
          <p:nvPr/>
        </p:nvSpPr>
        <p:spPr>
          <a:xfrm>
            <a:off x="3741741" y="4993036"/>
            <a:ext cx="2217420" cy="787908"/>
          </a:xfrm>
          <a:prstGeom prst="rect">
            <a:avLst/>
          </a:prstGeom>
          <a:blipFill>
            <a:blip r:embed="rId27" cstate="print"/>
            <a:stretch>
              <a:fillRect/>
            </a:stretch>
          </a:blipFill>
        </p:spPr>
        <p:txBody>
          <a:bodyPr wrap="square" lIns="0" tIns="0" rIns="0" bIns="0" rtlCol="0"/>
          <a:lstStyle/>
          <a:p>
            <a:endParaRPr>
              <a:latin typeface="+mj-lt"/>
            </a:endParaRPr>
          </a:p>
        </p:txBody>
      </p:sp>
      <p:sp>
        <p:nvSpPr>
          <p:cNvPr id="94" name="object 69"/>
          <p:cNvSpPr/>
          <p:nvPr/>
        </p:nvSpPr>
        <p:spPr>
          <a:xfrm>
            <a:off x="3781365" y="5031453"/>
            <a:ext cx="2084705" cy="657225"/>
          </a:xfrm>
          <a:custGeom>
            <a:avLst/>
            <a:gdLst/>
            <a:ahLst/>
            <a:cxnLst/>
            <a:rect l="l" t="t" r="r" b="b"/>
            <a:pathLst>
              <a:path w="2084704" h="657225">
                <a:moveTo>
                  <a:pt x="0" y="657225"/>
                </a:moveTo>
                <a:lnTo>
                  <a:pt x="2084324" y="657225"/>
                </a:lnTo>
                <a:lnTo>
                  <a:pt x="2084324"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95" name="object 70"/>
          <p:cNvSpPr/>
          <p:nvPr/>
        </p:nvSpPr>
        <p:spPr>
          <a:xfrm>
            <a:off x="3781365" y="5031453"/>
            <a:ext cx="2084705" cy="657225"/>
          </a:xfrm>
          <a:custGeom>
            <a:avLst/>
            <a:gdLst/>
            <a:ahLst/>
            <a:cxnLst/>
            <a:rect l="l" t="t" r="r" b="b"/>
            <a:pathLst>
              <a:path w="2084704" h="657225">
                <a:moveTo>
                  <a:pt x="0" y="657225"/>
                </a:moveTo>
                <a:lnTo>
                  <a:pt x="2084324" y="657225"/>
                </a:lnTo>
                <a:lnTo>
                  <a:pt x="2084324"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96" name="object 71"/>
          <p:cNvSpPr/>
          <p:nvPr/>
        </p:nvSpPr>
        <p:spPr>
          <a:xfrm>
            <a:off x="3639633" y="5114956"/>
            <a:ext cx="2215896" cy="789432"/>
          </a:xfrm>
          <a:prstGeom prst="rect">
            <a:avLst/>
          </a:prstGeom>
          <a:blipFill>
            <a:blip r:embed="rId28" cstate="print"/>
            <a:stretch>
              <a:fillRect/>
            </a:stretch>
          </a:blipFill>
        </p:spPr>
        <p:txBody>
          <a:bodyPr wrap="square" lIns="0" tIns="0" rIns="0" bIns="0" rtlCol="0"/>
          <a:lstStyle/>
          <a:p>
            <a:endParaRPr>
              <a:latin typeface="+mj-lt"/>
            </a:endParaRPr>
          </a:p>
        </p:txBody>
      </p:sp>
      <p:sp>
        <p:nvSpPr>
          <p:cNvPr id="97" name="object 72"/>
          <p:cNvSpPr/>
          <p:nvPr/>
        </p:nvSpPr>
        <p:spPr>
          <a:xfrm>
            <a:off x="3678114" y="5153691"/>
            <a:ext cx="2084705" cy="657225"/>
          </a:xfrm>
          <a:custGeom>
            <a:avLst/>
            <a:gdLst/>
            <a:ahLst/>
            <a:cxnLst/>
            <a:rect l="l" t="t" r="r" b="b"/>
            <a:pathLst>
              <a:path w="2084704" h="657225">
                <a:moveTo>
                  <a:pt x="0" y="657225"/>
                </a:moveTo>
                <a:lnTo>
                  <a:pt x="2084451" y="657225"/>
                </a:lnTo>
                <a:lnTo>
                  <a:pt x="2084451" y="0"/>
                </a:lnTo>
                <a:lnTo>
                  <a:pt x="0" y="0"/>
                </a:lnTo>
                <a:lnTo>
                  <a:pt x="0" y="657225"/>
                </a:lnTo>
                <a:close/>
              </a:path>
            </a:pathLst>
          </a:custGeom>
          <a:solidFill>
            <a:schemeClr val="bg1">
              <a:lumMod val="75000"/>
            </a:schemeClr>
          </a:solidFill>
        </p:spPr>
        <p:txBody>
          <a:bodyPr wrap="square" lIns="0" tIns="0" rIns="0" bIns="0" rtlCol="0"/>
          <a:lstStyle/>
          <a:p>
            <a:endParaRPr>
              <a:latin typeface="+mj-lt"/>
            </a:endParaRPr>
          </a:p>
        </p:txBody>
      </p:sp>
      <p:sp>
        <p:nvSpPr>
          <p:cNvPr id="98" name="object 73"/>
          <p:cNvSpPr/>
          <p:nvPr/>
        </p:nvSpPr>
        <p:spPr>
          <a:xfrm>
            <a:off x="3678114" y="5153691"/>
            <a:ext cx="2084705" cy="657225"/>
          </a:xfrm>
          <a:custGeom>
            <a:avLst/>
            <a:gdLst/>
            <a:ahLst/>
            <a:cxnLst/>
            <a:rect l="l" t="t" r="r" b="b"/>
            <a:pathLst>
              <a:path w="2084704" h="657225">
                <a:moveTo>
                  <a:pt x="0" y="657225"/>
                </a:moveTo>
                <a:lnTo>
                  <a:pt x="2084451" y="657225"/>
                </a:lnTo>
                <a:lnTo>
                  <a:pt x="2084451"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99" name="object 74"/>
          <p:cNvSpPr txBox="1"/>
          <p:nvPr/>
        </p:nvSpPr>
        <p:spPr>
          <a:xfrm>
            <a:off x="3845850" y="5296519"/>
            <a:ext cx="1902371" cy="245745"/>
          </a:xfrm>
          <a:prstGeom prst="rect">
            <a:avLst/>
          </a:prstGeom>
        </p:spPr>
        <p:txBody>
          <a:bodyPr vert="horz" wrap="square" lIns="0" tIns="0" rIns="0" bIns="0" rtlCol="0">
            <a:spAutoFit/>
          </a:bodyPr>
          <a:lstStyle>
            <a:defPPr>
              <a:defRPr lang="fr-FR"/>
            </a:defPPr>
            <a:lvl1pPr marL="12700">
              <a:lnSpc>
                <a:spcPct val="100000"/>
              </a:lnSpc>
              <a:defRPr sz="2000" b="1" i="1" spc="-40">
                <a:solidFill>
                  <a:srgbClr val="FFFFFF"/>
                </a:solidFill>
                <a:latin typeface="+mj-lt"/>
                <a:cs typeface="Garamond" panose="02020404030301010803"/>
              </a:defRPr>
            </a:lvl1pPr>
          </a:lstStyle>
          <a:p>
            <a:r>
              <a:rPr lang="zh-CN" altLang="en-US" sz="1600" dirty="0" smtClean="0"/>
              <a:t>地区投资中心（</a:t>
            </a:r>
            <a:r>
              <a:rPr lang="en-US" altLang="zh-CN" sz="1600" dirty="0" smtClean="0"/>
              <a:t>CRI</a:t>
            </a:r>
            <a:r>
              <a:rPr lang="zh-CN" altLang="en-US" sz="1600" dirty="0" smtClean="0"/>
              <a:t>）</a:t>
            </a:r>
          </a:p>
        </p:txBody>
      </p:sp>
      <p:sp>
        <p:nvSpPr>
          <p:cNvPr id="100" name="object 75"/>
          <p:cNvSpPr/>
          <p:nvPr/>
        </p:nvSpPr>
        <p:spPr>
          <a:xfrm>
            <a:off x="6465129" y="4749195"/>
            <a:ext cx="2214372" cy="789432"/>
          </a:xfrm>
          <a:prstGeom prst="rect">
            <a:avLst/>
          </a:prstGeom>
          <a:blipFill>
            <a:blip r:embed="rId29" cstate="print"/>
            <a:stretch>
              <a:fillRect/>
            </a:stretch>
          </a:blipFill>
        </p:spPr>
        <p:txBody>
          <a:bodyPr wrap="square" lIns="0" tIns="0" rIns="0" bIns="0" rtlCol="0"/>
          <a:lstStyle/>
          <a:p>
            <a:endParaRPr>
              <a:latin typeface="+mj-lt"/>
            </a:endParaRPr>
          </a:p>
        </p:txBody>
      </p:sp>
      <p:sp>
        <p:nvSpPr>
          <p:cNvPr id="101" name="object 76"/>
          <p:cNvSpPr/>
          <p:nvPr/>
        </p:nvSpPr>
        <p:spPr>
          <a:xfrm>
            <a:off x="6503864" y="4788566"/>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102" name="object 77"/>
          <p:cNvSpPr/>
          <p:nvPr/>
        </p:nvSpPr>
        <p:spPr>
          <a:xfrm>
            <a:off x="6503864" y="4788566"/>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103" name="object 78"/>
          <p:cNvSpPr/>
          <p:nvPr/>
        </p:nvSpPr>
        <p:spPr>
          <a:xfrm>
            <a:off x="6361496" y="4871116"/>
            <a:ext cx="2214372" cy="789432"/>
          </a:xfrm>
          <a:prstGeom prst="rect">
            <a:avLst/>
          </a:prstGeom>
          <a:blipFill>
            <a:blip r:embed="rId30" cstate="print"/>
            <a:stretch>
              <a:fillRect/>
            </a:stretch>
          </a:blipFill>
        </p:spPr>
        <p:txBody>
          <a:bodyPr wrap="square" lIns="0" tIns="0" rIns="0" bIns="0" rtlCol="0"/>
          <a:lstStyle/>
          <a:p>
            <a:endParaRPr>
              <a:latin typeface="+mj-lt"/>
            </a:endParaRPr>
          </a:p>
        </p:txBody>
      </p:sp>
      <p:sp>
        <p:nvSpPr>
          <p:cNvPr id="104" name="object 79"/>
          <p:cNvSpPr/>
          <p:nvPr/>
        </p:nvSpPr>
        <p:spPr>
          <a:xfrm>
            <a:off x="6400740" y="491080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rgbClr val="0099CC"/>
          </a:solidFill>
        </p:spPr>
        <p:txBody>
          <a:bodyPr wrap="square" lIns="0" tIns="0" rIns="0" bIns="0" rtlCol="0"/>
          <a:lstStyle/>
          <a:p>
            <a:endParaRPr>
              <a:latin typeface="+mj-lt"/>
            </a:endParaRPr>
          </a:p>
        </p:txBody>
      </p:sp>
      <p:sp>
        <p:nvSpPr>
          <p:cNvPr id="105" name="object 80"/>
          <p:cNvSpPr/>
          <p:nvPr/>
        </p:nvSpPr>
        <p:spPr>
          <a:xfrm>
            <a:off x="6400740" y="491080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106" name="object 81"/>
          <p:cNvSpPr/>
          <p:nvPr/>
        </p:nvSpPr>
        <p:spPr>
          <a:xfrm>
            <a:off x="6257865" y="4993036"/>
            <a:ext cx="2215896" cy="787908"/>
          </a:xfrm>
          <a:prstGeom prst="rect">
            <a:avLst/>
          </a:prstGeom>
          <a:blipFill>
            <a:blip r:embed="rId31" cstate="print"/>
            <a:stretch>
              <a:fillRect/>
            </a:stretch>
          </a:blipFill>
        </p:spPr>
        <p:txBody>
          <a:bodyPr wrap="square" lIns="0" tIns="0" rIns="0" bIns="0" rtlCol="0"/>
          <a:lstStyle/>
          <a:p>
            <a:endParaRPr>
              <a:latin typeface="+mj-lt"/>
            </a:endParaRPr>
          </a:p>
        </p:txBody>
      </p:sp>
      <p:sp>
        <p:nvSpPr>
          <p:cNvPr id="107" name="object 82"/>
          <p:cNvSpPr/>
          <p:nvPr/>
        </p:nvSpPr>
        <p:spPr>
          <a:xfrm>
            <a:off x="6297489" y="503145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rgbClr val="A30000"/>
          </a:solidFill>
        </p:spPr>
        <p:txBody>
          <a:bodyPr wrap="square" lIns="0" tIns="0" rIns="0" bIns="0" rtlCol="0"/>
          <a:lstStyle/>
          <a:p>
            <a:endParaRPr>
              <a:latin typeface="+mj-lt"/>
            </a:endParaRPr>
          </a:p>
        </p:txBody>
      </p:sp>
      <p:sp>
        <p:nvSpPr>
          <p:cNvPr id="108" name="object 83"/>
          <p:cNvSpPr/>
          <p:nvPr/>
        </p:nvSpPr>
        <p:spPr>
          <a:xfrm>
            <a:off x="6297489" y="5031453"/>
            <a:ext cx="2082800" cy="657225"/>
          </a:xfrm>
          <a:custGeom>
            <a:avLst/>
            <a:gdLst/>
            <a:ahLst/>
            <a:cxnLst/>
            <a:rect l="l" t="t" r="r" b="b"/>
            <a:pathLst>
              <a:path w="2082800" h="657225">
                <a:moveTo>
                  <a:pt x="0" y="657225"/>
                </a:moveTo>
                <a:lnTo>
                  <a:pt x="2082800" y="657225"/>
                </a:lnTo>
                <a:lnTo>
                  <a:pt x="2082800" y="0"/>
                </a:lnTo>
                <a:lnTo>
                  <a:pt x="0" y="0"/>
                </a:lnTo>
                <a:lnTo>
                  <a:pt x="0" y="657225"/>
                </a:lnTo>
                <a:close/>
              </a:path>
            </a:pathLst>
          </a:custGeom>
          <a:solidFill>
            <a:srgbClr val="0099CC"/>
          </a:solidFill>
          <a:ln>
            <a:solidFill>
              <a:schemeClr val="bg1"/>
            </a:solidFill>
          </a:ln>
        </p:spPr>
        <p:txBody>
          <a:bodyPr wrap="square" lIns="0" tIns="0" rIns="0" bIns="0" rtlCol="0"/>
          <a:lstStyle/>
          <a:p>
            <a:endParaRPr>
              <a:latin typeface="+mj-lt"/>
            </a:endParaRPr>
          </a:p>
        </p:txBody>
      </p:sp>
      <p:sp>
        <p:nvSpPr>
          <p:cNvPr id="109" name="object 84"/>
          <p:cNvSpPr/>
          <p:nvPr/>
        </p:nvSpPr>
        <p:spPr>
          <a:xfrm>
            <a:off x="6154233" y="5114956"/>
            <a:ext cx="2215896" cy="789432"/>
          </a:xfrm>
          <a:prstGeom prst="rect">
            <a:avLst/>
          </a:prstGeom>
          <a:blipFill>
            <a:blip r:embed="rId28" cstate="print"/>
            <a:stretch>
              <a:fillRect/>
            </a:stretch>
          </a:blipFill>
        </p:spPr>
        <p:txBody>
          <a:bodyPr wrap="square" lIns="0" tIns="0" rIns="0" bIns="0" rtlCol="0"/>
          <a:lstStyle/>
          <a:p>
            <a:endParaRPr>
              <a:latin typeface="+mj-lt"/>
            </a:endParaRPr>
          </a:p>
        </p:txBody>
      </p:sp>
      <p:sp>
        <p:nvSpPr>
          <p:cNvPr id="110" name="object 85"/>
          <p:cNvSpPr/>
          <p:nvPr/>
        </p:nvSpPr>
        <p:spPr>
          <a:xfrm>
            <a:off x="6250244" y="5296312"/>
            <a:ext cx="2066544" cy="480059"/>
          </a:xfrm>
          <a:prstGeom prst="rect">
            <a:avLst/>
          </a:prstGeom>
          <a:blipFill>
            <a:blip r:embed="rId32" cstate="print"/>
            <a:stretch>
              <a:fillRect/>
            </a:stretch>
          </a:blipFill>
        </p:spPr>
        <p:txBody>
          <a:bodyPr wrap="square" lIns="0" tIns="0" rIns="0" bIns="0" rtlCol="0"/>
          <a:lstStyle/>
          <a:p>
            <a:endParaRPr>
              <a:latin typeface="+mj-lt"/>
            </a:endParaRPr>
          </a:p>
        </p:txBody>
      </p:sp>
      <p:sp>
        <p:nvSpPr>
          <p:cNvPr id="111" name="object 86"/>
          <p:cNvSpPr/>
          <p:nvPr/>
        </p:nvSpPr>
        <p:spPr>
          <a:xfrm>
            <a:off x="6192714" y="5153691"/>
            <a:ext cx="2084705" cy="657225"/>
          </a:xfrm>
          <a:custGeom>
            <a:avLst/>
            <a:gdLst/>
            <a:ahLst/>
            <a:cxnLst/>
            <a:rect l="l" t="t" r="r" b="b"/>
            <a:pathLst>
              <a:path w="2084704" h="657225">
                <a:moveTo>
                  <a:pt x="0" y="657225"/>
                </a:moveTo>
                <a:lnTo>
                  <a:pt x="2084451" y="657225"/>
                </a:lnTo>
                <a:lnTo>
                  <a:pt x="2084451" y="0"/>
                </a:lnTo>
                <a:lnTo>
                  <a:pt x="0" y="0"/>
                </a:lnTo>
                <a:lnTo>
                  <a:pt x="0" y="657225"/>
                </a:lnTo>
                <a:close/>
              </a:path>
            </a:pathLst>
          </a:custGeom>
          <a:solidFill>
            <a:schemeClr val="bg1">
              <a:lumMod val="75000"/>
            </a:schemeClr>
          </a:solidFill>
        </p:spPr>
        <p:txBody>
          <a:bodyPr wrap="square" lIns="0" tIns="0" rIns="0" bIns="0" rtlCol="0"/>
          <a:lstStyle/>
          <a:p>
            <a:endParaRPr>
              <a:latin typeface="+mj-lt"/>
            </a:endParaRPr>
          </a:p>
        </p:txBody>
      </p:sp>
      <p:sp>
        <p:nvSpPr>
          <p:cNvPr id="112" name="object 87"/>
          <p:cNvSpPr/>
          <p:nvPr/>
        </p:nvSpPr>
        <p:spPr>
          <a:xfrm>
            <a:off x="6192714" y="5153691"/>
            <a:ext cx="2084705" cy="657225"/>
          </a:xfrm>
          <a:custGeom>
            <a:avLst/>
            <a:gdLst/>
            <a:ahLst/>
            <a:cxnLst/>
            <a:rect l="l" t="t" r="r" b="b"/>
            <a:pathLst>
              <a:path w="2084704" h="657225">
                <a:moveTo>
                  <a:pt x="0" y="657225"/>
                </a:moveTo>
                <a:lnTo>
                  <a:pt x="2084451" y="657225"/>
                </a:lnTo>
                <a:lnTo>
                  <a:pt x="2084451" y="0"/>
                </a:lnTo>
                <a:lnTo>
                  <a:pt x="0" y="0"/>
                </a:lnTo>
                <a:lnTo>
                  <a:pt x="0" y="657225"/>
                </a:lnTo>
                <a:close/>
              </a:path>
            </a:pathLst>
          </a:custGeom>
          <a:ln w="25400">
            <a:solidFill>
              <a:srgbClr val="FFFFFF"/>
            </a:solidFill>
          </a:ln>
        </p:spPr>
        <p:txBody>
          <a:bodyPr wrap="square" lIns="0" tIns="0" rIns="0" bIns="0" rtlCol="0"/>
          <a:lstStyle/>
          <a:p>
            <a:endParaRPr>
              <a:latin typeface="+mj-lt"/>
            </a:endParaRPr>
          </a:p>
        </p:txBody>
      </p:sp>
      <p:sp>
        <p:nvSpPr>
          <p:cNvPr id="114" name="object 89"/>
          <p:cNvSpPr/>
          <p:nvPr/>
        </p:nvSpPr>
        <p:spPr>
          <a:xfrm>
            <a:off x="1528639" y="2118391"/>
            <a:ext cx="4241800" cy="498475"/>
          </a:xfrm>
          <a:custGeom>
            <a:avLst/>
            <a:gdLst/>
            <a:ahLst/>
            <a:cxnLst/>
            <a:rect l="l" t="t" r="r" b="b"/>
            <a:pathLst>
              <a:path w="4241800" h="498475">
                <a:moveTo>
                  <a:pt x="0" y="498475"/>
                </a:moveTo>
                <a:lnTo>
                  <a:pt x="4241800" y="498475"/>
                </a:lnTo>
                <a:lnTo>
                  <a:pt x="4241800" y="0"/>
                </a:lnTo>
                <a:lnTo>
                  <a:pt x="0" y="0"/>
                </a:lnTo>
                <a:lnTo>
                  <a:pt x="0" y="498475"/>
                </a:lnTo>
                <a:close/>
              </a:path>
            </a:pathLst>
          </a:custGeom>
          <a:solidFill>
            <a:srgbClr val="FFFFFF"/>
          </a:solidFill>
        </p:spPr>
        <p:txBody>
          <a:bodyPr wrap="square" lIns="0" tIns="0" rIns="0" bIns="0" rtlCol="0"/>
          <a:lstStyle/>
          <a:p>
            <a:endParaRPr>
              <a:latin typeface="+mj-lt"/>
            </a:endParaRPr>
          </a:p>
        </p:txBody>
      </p:sp>
      <p:sp>
        <p:nvSpPr>
          <p:cNvPr id="115" name="object 90"/>
          <p:cNvSpPr/>
          <p:nvPr/>
        </p:nvSpPr>
        <p:spPr>
          <a:xfrm>
            <a:off x="3649539" y="2616866"/>
            <a:ext cx="0" cy="231775"/>
          </a:xfrm>
          <a:custGeom>
            <a:avLst/>
            <a:gdLst/>
            <a:ahLst/>
            <a:cxnLst/>
            <a:rect l="l" t="t" r="r" b="b"/>
            <a:pathLst>
              <a:path h="231775">
                <a:moveTo>
                  <a:pt x="0" y="0"/>
                </a:moveTo>
                <a:lnTo>
                  <a:pt x="0" y="231775"/>
                </a:lnTo>
              </a:path>
            </a:pathLst>
          </a:custGeom>
          <a:ln w="9525">
            <a:solidFill>
              <a:srgbClr val="FFFFFF"/>
            </a:solidFill>
          </a:ln>
        </p:spPr>
        <p:txBody>
          <a:bodyPr wrap="square" lIns="0" tIns="0" rIns="0" bIns="0" rtlCol="0"/>
          <a:lstStyle/>
          <a:p>
            <a:endParaRPr>
              <a:latin typeface="+mj-lt"/>
            </a:endParaRPr>
          </a:p>
        </p:txBody>
      </p:sp>
      <p:sp>
        <p:nvSpPr>
          <p:cNvPr id="116" name="object 91"/>
          <p:cNvSpPr/>
          <p:nvPr/>
        </p:nvSpPr>
        <p:spPr>
          <a:xfrm>
            <a:off x="3168590" y="2842291"/>
            <a:ext cx="1008380" cy="0"/>
          </a:xfrm>
          <a:custGeom>
            <a:avLst/>
            <a:gdLst/>
            <a:ahLst/>
            <a:cxnLst/>
            <a:rect l="l" t="t" r="r" b="b"/>
            <a:pathLst>
              <a:path w="1008379">
                <a:moveTo>
                  <a:pt x="0" y="0"/>
                </a:moveTo>
                <a:lnTo>
                  <a:pt x="1007999" y="0"/>
                </a:lnTo>
              </a:path>
            </a:pathLst>
          </a:custGeom>
          <a:ln w="9525">
            <a:solidFill>
              <a:srgbClr val="FFFFFF"/>
            </a:solidFill>
          </a:ln>
        </p:spPr>
        <p:txBody>
          <a:bodyPr wrap="square" lIns="0" tIns="0" rIns="0" bIns="0" rtlCol="0"/>
          <a:lstStyle/>
          <a:p>
            <a:endParaRPr>
              <a:latin typeface="+mj-lt"/>
            </a:endParaRPr>
          </a:p>
        </p:txBody>
      </p:sp>
      <p:sp>
        <p:nvSpPr>
          <p:cNvPr id="117" name="object 92"/>
          <p:cNvSpPr/>
          <p:nvPr/>
        </p:nvSpPr>
        <p:spPr>
          <a:xfrm>
            <a:off x="4176589" y="2854991"/>
            <a:ext cx="0" cy="190500"/>
          </a:xfrm>
          <a:custGeom>
            <a:avLst/>
            <a:gdLst/>
            <a:ahLst/>
            <a:cxnLst/>
            <a:rect l="l" t="t" r="r" b="b"/>
            <a:pathLst>
              <a:path h="190500">
                <a:moveTo>
                  <a:pt x="0" y="0"/>
                </a:moveTo>
                <a:lnTo>
                  <a:pt x="0" y="190500"/>
                </a:lnTo>
              </a:path>
            </a:pathLst>
          </a:custGeom>
          <a:ln w="9525">
            <a:solidFill>
              <a:srgbClr val="FFFFFF"/>
            </a:solidFill>
          </a:ln>
        </p:spPr>
        <p:txBody>
          <a:bodyPr wrap="square" lIns="0" tIns="0" rIns="0" bIns="0" rtlCol="0"/>
          <a:lstStyle/>
          <a:p>
            <a:endParaRPr>
              <a:latin typeface="+mj-lt"/>
            </a:endParaRPr>
          </a:p>
        </p:txBody>
      </p:sp>
      <p:sp>
        <p:nvSpPr>
          <p:cNvPr id="118" name="object 93"/>
          <p:cNvSpPr/>
          <p:nvPr/>
        </p:nvSpPr>
        <p:spPr>
          <a:xfrm>
            <a:off x="3168590" y="2848641"/>
            <a:ext cx="0" cy="196850"/>
          </a:xfrm>
          <a:custGeom>
            <a:avLst/>
            <a:gdLst/>
            <a:ahLst/>
            <a:cxnLst/>
            <a:rect l="l" t="t" r="r" b="b"/>
            <a:pathLst>
              <a:path h="196850">
                <a:moveTo>
                  <a:pt x="0" y="0"/>
                </a:moveTo>
                <a:lnTo>
                  <a:pt x="0" y="196786"/>
                </a:lnTo>
              </a:path>
            </a:pathLst>
          </a:custGeom>
          <a:ln w="9525">
            <a:solidFill>
              <a:srgbClr val="FFFFFF"/>
            </a:solidFill>
          </a:ln>
        </p:spPr>
        <p:txBody>
          <a:bodyPr wrap="square" lIns="0" tIns="0" rIns="0" bIns="0" rtlCol="0"/>
          <a:lstStyle/>
          <a:p>
            <a:endParaRPr>
              <a:latin typeface="+mj-lt"/>
            </a:endParaRPr>
          </a:p>
        </p:txBody>
      </p:sp>
      <p:sp>
        <p:nvSpPr>
          <p:cNvPr id="119" name="object 94"/>
          <p:cNvSpPr/>
          <p:nvPr/>
        </p:nvSpPr>
        <p:spPr>
          <a:xfrm>
            <a:off x="1118936" y="3019455"/>
            <a:ext cx="2587752" cy="602742"/>
          </a:xfrm>
          <a:prstGeom prst="rect">
            <a:avLst/>
          </a:prstGeom>
          <a:blipFill>
            <a:blip r:embed="rId33" cstate="print"/>
            <a:stretch>
              <a:fillRect/>
            </a:stretch>
          </a:blipFill>
        </p:spPr>
        <p:txBody>
          <a:bodyPr wrap="square" lIns="0" tIns="0" rIns="0" bIns="0" rtlCol="0"/>
          <a:lstStyle/>
          <a:p>
            <a:endParaRPr>
              <a:latin typeface="+mj-lt"/>
            </a:endParaRPr>
          </a:p>
        </p:txBody>
      </p:sp>
      <p:sp>
        <p:nvSpPr>
          <p:cNvPr id="122" name="object 97"/>
          <p:cNvSpPr txBox="1"/>
          <p:nvPr/>
        </p:nvSpPr>
        <p:spPr>
          <a:xfrm>
            <a:off x="1485536" y="2159352"/>
            <a:ext cx="3706512" cy="215265"/>
          </a:xfrm>
          <a:prstGeom prst="rect">
            <a:avLst/>
          </a:prstGeom>
        </p:spPr>
        <p:txBody>
          <a:bodyPr vert="horz" wrap="square" lIns="0" tIns="0" rIns="0" bIns="0" rtlCol="0">
            <a:spAutoFit/>
          </a:bodyPr>
          <a:lstStyle/>
          <a:p>
            <a:pPr marL="254000" algn="ctr">
              <a:lnSpc>
                <a:spcPct val="100000"/>
              </a:lnSpc>
            </a:pPr>
            <a:r>
              <a:rPr lang="zh-CN" altLang="en-US" sz="1400" spc="-5" dirty="0" smtClean="0">
                <a:latin typeface="+mj-lt"/>
                <a:cs typeface="Garamond" panose="02020404030301010803"/>
              </a:rPr>
              <a:t>制定摩洛哥旅游规制政策</a:t>
            </a:r>
          </a:p>
        </p:txBody>
      </p:sp>
      <p:sp>
        <p:nvSpPr>
          <p:cNvPr id="127" name="object 102"/>
          <p:cNvSpPr/>
          <p:nvPr/>
        </p:nvSpPr>
        <p:spPr>
          <a:xfrm>
            <a:off x="3779912" y="3500054"/>
            <a:ext cx="2481580" cy="1040130"/>
          </a:xfrm>
          <a:custGeom>
            <a:avLst/>
            <a:gdLst/>
            <a:ahLst/>
            <a:cxnLst/>
            <a:rect l="l" t="t" r="r" b="b"/>
            <a:pathLst>
              <a:path w="2481579" h="1040129">
                <a:moveTo>
                  <a:pt x="0" y="1039812"/>
                </a:moveTo>
                <a:lnTo>
                  <a:pt x="2481199" y="1039812"/>
                </a:lnTo>
                <a:lnTo>
                  <a:pt x="2481199" y="0"/>
                </a:lnTo>
                <a:lnTo>
                  <a:pt x="0" y="0"/>
                </a:lnTo>
                <a:lnTo>
                  <a:pt x="0" y="1039812"/>
                </a:lnTo>
                <a:close/>
              </a:path>
            </a:pathLst>
          </a:custGeom>
          <a:solidFill>
            <a:srgbClr val="FFFFFF"/>
          </a:solidFill>
        </p:spPr>
        <p:txBody>
          <a:bodyPr wrap="square" lIns="0" tIns="0" rIns="0" bIns="0" rtlCol="0"/>
          <a:lstStyle/>
          <a:p>
            <a:endParaRPr>
              <a:latin typeface="+mj-lt"/>
            </a:endParaRPr>
          </a:p>
        </p:txBody>
      </p:sp>
      <p:sp>
        <p:nvSpPr>
          <p:cNvPr id="128" name="object 103"/>
          <p:cNvSpPr txBox="1"/>
          <p:nvPr/>
        </p:nvSpPr>
        <p:spPr>
          <a:xfrm>
            <a:off x="3862636" y="3566633"/>
            <a:ext cx="2291597" cy="925830"/>
          </a:xfrm>
          <a:prstGeom prst="rect">
            <a:avLst/>
          </a:prstGeom>
        </p:spPr>
        <p:txBody>
          <a:bodyPr vert="horz" wrap="square" lIns="0" tIns="0" rIns="0" bIns="0" rtlCol="0">
            <a:spAutoFit/>
          </a:bodyPr>
          <a:lstStyle/>
          <a:p>
            <a:pPr>
              <a:lnSpc>
                <a:spcPct val="100000"/>
              </a:lnSpc>
            </a:pPr>
            <a:r>
              <a:rPr lang="zh-CN" altLang="en-US" sz="1250" b="1" spc="-5" dirty="0" smtClean="0">
                <a:latin typeface="+mj-lt"/>
                <a:cs typeface="Garamond" panose="02020404030301010803"/>
              </a:rPr>
              <a:t>向投资者和旅游运营商推广摩洛哥</a:t>
            </a:r>
            <a:r>
              <a:rPr lang="en-US" altLang="zh-CN" sz="1250" b="1" spc="-5" dirty="0" smtClean="0">
                <a:latin typeface="+mj-lt"/>
                <a:cs typeface="Garamond" panose="02020404030301010803"/>
              </a:rPr>
              <a:t>/</a:t>
            </a:r>
            <a:r>
              <a:rPr lang="en-US" sz="1250" b="1" spc="-5" dirty="0" smtClean="0">
                <a:latin typeface="+mj-lt"/>
                <a:cs typeface="Garamond" panose="02020404030301010803"/>
                <a:sym typeface="+mn-ea"/>
              </a:rPr>
              <a:t>B2C</a:t>
            </a:r>
            <a:endParaRPr lang="en-US" altLang="zh-CN" sz="1250" b="1" spc="-5" dirty="0" smtClean="0">
              <a:latin typeface="+mj-lt"/>
              <a:cs typeface="Garamond" panose="02020404030301010803"/>
            </a:endParaRPr>
          </a:p>
          <a:p>
            <a:pPr>
              <a:lnSpc>
                <a:spcPct val="100000"/>
              </a:lnSpc>
            </a:pPr>
            <a:r>
              <a:rPr lang="zh-CN" altLang="en-US" sz="1200" dirty="0" smtClean="0">
                <a:latin typeface="+mj-lt"/>
                <a:cs typeface="Garamond" panose="02020404030301010803"/>
              </a:rPr>
              <a:t>指标：</a:t>
            </a:r>
          </a:p>
          <a:p>
            <a:pPr>
              <a:lnSpc>
                <a:spcPts val="1390"/>
              </a:lnSpc>
            </a:pPr>
            <a:r>
              <a:rPr lang="zh-CN" altLang="en-US" sz="1400" spc="-15" dirty="0">
                <a:latin typeface="+mj-lt"/>
                <a:cs typeface="Garamond" panose="02020404030301010803"/>
              </a:rPr>
              <a:t>旅游投资（外商直接投资）</a:t>
            </a:r>
            <a:endParaRPr lang="en-US" sz="1400" spc="-15" dirty="0">
              <a:latin typeface="+mj-lt"/>
              <a:cs typeface="Garamond" panose="02020404030301010803"/>
            </a:endParaRPr>
          </a:p>
          <a:p>
            <a:pPr>
              <a:lnSpc>
                <a:spcPts val="1390"/>
              </a:lnSpc>
            </a:pPr>
            <a:r>
              <a:rPr lang="zh-CN" altLang="en-US" sz="1400" spc="-15" dirty="0">
                <a:latin typeface="+mj-lt"/>
                <a:cs typeface="Garamond" panose="02020404030301010803"/>
              </a:rPr>
              <a:t>房间容积</a:t>
            </a:r>
          </a:p>
        </p:txBody>
      </p:sp>
      <p:sp>
        <p:nvSpPr>
          <p:cNvPr id="130" name="object 34"/>
          <p:cNvSpPr txBox="1"/>
          <p:nvPr/>
        </p:nvSpPr>
        <p:spPr>
          <a:xfrm>
            <a:off x="368240" y="202288"/>
            <a:ext cx="8122982" cy="460375"/>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altLang="en-US" dirty="0" smtClean="0">
                <a:ea typeface="宋体" panose="02010600030101010101" pitchFamily="2" charset="-122"/>
              </a:rPr>
              <a:t>政府对旅游业的支持</a:t>
            </a:r>
          </a:p>
        </p:txBody>
      </p:sp>
      <p:sp>
        <p:nvSpPr>
          <p:cNvPr id="2" name="ZoneTexte 1"/>
          <p:cNvSpPr txBox="1"/>
          <p:nvPr/>
        </p:nvSpPr>
        <p:spPr>
          <a:xfrm>
            <a:off x="1272958" y="3106461"/>
            <a:ext cx="2225755" cy="460375"/>
          </a:xfrm>
          <a:prstGeom prst="rect">
            <a:avLst/>
          </a:prstGeom>
          <a:noFill/>
        </p:spPr>
        <p:txBody>
          <a:bodyPr wrap="square" rtlCol="0">
            <a:spAutoFit/>
          </a:bodyPr>
          <a:lstStyle/>
          <a:p>
            <a:pPr algn="ctr"/>
            <a:r>
              <a:rPr lang="zh-CN" altLang="en-US" sz="1200" b="1" dirty="0" smtClean="0">
                <a:solidFill>
                  <a:schemeClr val="bg1"/>
                </a:solidFill>
                <a:latin typeface="+mj-lt"/>
              </a:rPr>
              <a:t>旅游局</a:t>
            </a:r>
            <a:r>
              <a:rPr lang="en-US" altLang="zh-CN" sz="1200" b="1" dirty="0" smtClean="0">
                <a:solidFill>
                  <a:schemeClr val="bg1"/>
                </a:solidFill>
                <a:latin typeface="+mj-lt"/>
              </a:rPr>
              <a:t>/</a:t>
            </a:r>
            <a:r>
              <a:rPr lang="zh-CN" altLang="en-US" sz="1200" b="1" dirty="0" smtClean="0">
                <a:solidFill>
                  <a:schemeClr val="bg1"/>
                </a:solidFill>
                <a:latin typeface="+mj-lt"/>
              </a:rPr>
              <a:t>摩洛哥国家旅游局（</a:t>
            </a:r>
            <a:r>
              <a:rPr lang="en-US" altLang="zh-CN" sz="1200" b="1" dirty="0" smtClean="0">
                <a:solidFill>
                  <a:schemeClr val="bg1"/>
                </a:solidFill>
                <a:latin typeface="+mj-lt"/>
              </a:rPr>
              <a:t>ONMT</a:t>
            </a:r>
            <a:r>
              <a:rPr lang="zh-CN" altLang="en-US" sz="1200" b="1" dirty="0" smtClean="0">
                <a:solidFill>
                  <a:schemeClr val="bg1"/>
                </a:solidFill>
                <a:latin typeface="+mj-lt"/>
              </a:rPr>
              <a:t>）</a:t>
            </a:r>
          </a:p>
        </p:txBody>
      </p:sp>
      <p:sp>
        <p:nvSpPr>
          <p:cNvPr id="129" name="object 94"/>
          <p:cNvSpPr/>
          <p:nvPr/>
        </p:nvSpPr>
        <p:spPr>
          <a:xfrm>
            <a:off x="3714969" y="3021952"/>
            <a:ext cx="2587752" cy="602742"/>
          </a:xfrm>
          <a:prstGeom prst="rect">
            <a:avLst/>
          </a:prstGeom>
          <a:blipFill>
            <a:blip r:embed="rId33" cstate="print"/>
            <a:stretch>
              <a:fillRect/>
            </a:stretch>
          </a:blipFill>
        </p:spPr>
        <p:txBody>
          <a:bodyPr wrap="square" lIns="0" tIns="0" rIns="0" bIns="0" rtlCol="0"/>
          <a:lstStyle/>
          <a:p>
            <a:endParaRPr>
              <a:latin typeface="+mj-lt"/>
            </a:endParaRPr>
          </a:p>
        </p:txBody>
      </p:sp>
      <p:sp>
        <p:nvSpPr>
          <p:cNvPr id="131" name="ZoneTexte 130"/>
          <p:cNvSpPr txBox="1"/>
          <p:nvPr/>
        </p:nvSpPr>
        <p:spPr>
          <a:xfrm>
            <a:off x="3739281" y="3090767"/>
            <a:ext cx="2522040" cy="460375"/>
          </a:xfrm>
          <a:prstGeom prst="rect">
            <a:avLst/>
          </a:prstGeom>
          <a:noFill/>
        </p:spPr>
        <p:txBody>
          <a:bodyPr wrap="square" rtlCol="0">
            <a:spAutoFit/>
          </a:bodyPr>
          <a:lstStyle/>
          <a:p>
            <a:pPr algn="ctr"/>
            <a:r>
              <a:rPr lang="zh-CN" altLang="en-US" sz="1200" b="1" dirty="0" smtClean="0">
                <a:solidFill>
                  <a:schemeClr val="bg1"/>
                </a:solidFill>
                <a:latin typeface="+mj-lt"/>
              </a:rPr>
              <a:t>旅游发展机构</a:t>
            </a:r>
            <a:r>
              <a:rPr lang="en-US" altLang="zh-CN" sz="1200" b="1" dirty="0" smtClean="0">
                <a:solidFill>
                  <a:schemeClr val="bg1"/>
                </a:solidFill>
                <a:latin typeface="+mj-lt"/>
              </a:rPr>
              <a:t>/摩洛哥旅游发展署（SMIT）</a:t>
            </a:r>
            <a:endParaRPr lang="zh-CN" altLang="en-US" sz="1200" b="1" dirty="0" smtClean="0">
              <a:solidFill>
                <a:schemeClr val="bg1"/>
              </a:solidFill>
              <a:latin typeface="+mj-lt"/>
            </a:endParaRPr>
          </a:p>
        </p:txBody>
      </p:sp>
      <p:sp>
        <p:nvSpPr>
          <p:cNvPr id="132" name="object 61"/>
          <p:cNvSpPr txBox="1"/>
          <p:nvPr/>
        </p:nvSpPr>
        <p:spPr>
          <a:xfrm>
            <a:off x="6374689" y="5292751"/>
            <a:ext cx="1720977" cy="245745"/>
          </a:xfrm>
          <a:prstGeom prst="rect">
            <a:avLst/>
          </a:prstGeom>
        </p:spPr>
        <p:txBody>
          <a:bodyPr vert="horz" wrap="square" lIns="0" tIns="0" rIns="0" bIns="0" rtlCol="0">
            <a:spAutoFit/>
          </a:bodyPr>
          <a:lstStyle/>
          <a:p>
            <a:pPr marL="12700">
              <a:lnSpc>
                <a:spcPct val="100000"/>
              </a:lnSpc>
            </a:pPr>
            <a:r>
              <a:rPr lang="zh-CN" altLang="en-US" sz="1600" b="1" i="1" spc="-40" dirty="0" smtClean="0">
                <a:solidFill>
                  <a:srgbClr val="FFFFFF"/>
                </a:solidFill>
                <a:latin typeface="+mj-lt"/>
                <a:cs typeface="Garamond" panose="02020404030301010803"/>
              </a:rPr>
              <a:t>市议会、军区等</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5" name="Obje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16" name="think-cell Slide" r:id="rId7" imgW="12700" imgH="12700" progId="TCLayout.ActiveDocument.1">
                  <p:embed/>
                </p:oleObj>
              </mc:Choice>
              <mc:Fallback>
                <p:oleObj name="think-cell Slide" r:id="rId7" imgW="12700" imgH="12700" progId="TCLayout.ActiveDocument.1">
                  <p:embed/>
                  <p:pic>
                    <p:nvPicPr>
                      <p:cNvPr id="0" name="图片 719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6" name="Rectangle 11"/>
          <p:cNvSpPr>
            <a:spLocks noChangeArrowheads="1"/>
          </p:cNvSpPr>
          <p:nvPr/>
        </p:nvSpPr>
        <p:spPr bwMode="auto">
          <a:xfrm>
            <a:off x="1374775" y="765175"/>
            <a:ext cx="1857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89535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SzPct val="120000"/>
              <a:buFontTx/>
              <a:buNone/>
            </a:pPr>
            <a:endParaRPr lang="fr-FR" altLang="fr-FR" sz="1600" b="1" dirty="0">
              <a:solidFill>
                <a:schemeClr val="bg1"/>
              </a:solidFill>
              <a:latin typeface="Georgia" panose="02040502050405020303" pitchFamily="18" charset="0"/>
            </a:endParaRPr>
          </a:p>
        </p:txBody>
      </p:sp>
      <p:sp>
        <p:nvSpPr>
          <p:cNvPr id="3" name="Rectangle 2"/>
          <p:cNvSpPr/>
          <p:nvPr/>
        </p:nvSpPr>
        <p:spPr>
          <a:xfrm>
            <a:off x="3486900" y="260648"/>
            <a:ext cx="184731" cy="369332"/>
          </a:xfrm>
          <a:prstGeom prst="rect">
            <a:avLst/>
          </a:prstGeom>
        </p:spPr>
        <p:txBody>
          <a:bodyPr wrap="none">
            <a:spAutoFit/>
          </a:bodyPr>
          <a:lstStyle/>
          <a:p>
            <a:pPr algn="ctr" fontAlgn="auto">
              <a:spcBef>
                <a:spcPts val="0"/>
              </a:spcBef>
              <a:spcAft>
                <a:spcPts val="0"/>
              </a:spcAft>
              <a:defRPr/>
            </a:pPr>
            <a:endParaRPr lang="en-US" b="1" dirty="0">
              <a:solidFill>
                <a:schemeClr val="bg1">
                  <a:lumMod val="95000"/>
                </a:schemeClr>
              </a:solidFill>
              <a:latin typeface="Georgia" panose="02040502050405020303" pitchFamily="18" charset="0"/>
              <a:cs typeface="+mn-cs"/>
            </a:endParaRPr>
          </a:p>
        </p:txBody>
      </p:sp>
      <p:sp>
        <p:nvSpPr>
          <p:cNvPr id="8" name="ZoneTexte 67"/>
          <p:cNvSpPr txBox="1">
            <a:spLocks noChangeArrowheads="1"/>
          </p:cNvSpPr>
          <p:nvPr>
            <p:custDataLst>
              <p:tags r:id="rId3"/>
            </p:custDataLst>
          </p:nvPr>
        </p:nvSpPr>
        <p:spPr bwMode="auto">
          <a:xfrm>
            <a:off x="92264" y="230168"/>
            <a:ext cx="82477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just" eaLnBrk="1" hangingPunct="1">
              <a:spcBef>
                <a:spcPct val="0"/>
              </a:spcBef>
              <a:buFontTx/>
              <a:buNone/>
            </a:pPr>
            <a:r>
              <a:rPr lang="fr-FR" altLang="fr-FR" sz="2400" b="1" dirty="0" smtClean="0">
                <a:solidFill>
                  <a:schemeClr val="bg1"/>
                </a:solidFill>
                <a:latin typeface="+mj-lt"/>
              </a:rPr>
              <a:t>MARKETING- Réalisation 1</a:t>
            </a:r>
            <a:r>
              <a:rPr lang="fr-FR" altLang="fr-FR" sz="2400" b="1" baseline="30000" dirty="0" smtClean="0">
                <a:solidFill>
                  <a:schemeClr val="bg1"/>
                </a:solidFill>
                <a:latin typeface="+mj-lt"/>
              </a:rPr>
              <a:t>er</a:t>
            </a:r>
            <a:r>
              <a:rPr lang="fr-FR" altLang="fr-FR" sz="2400" b="1" dirty="0" smtClean="0">
                <a:solidFill>
                  <a:schemeClr val="bg1"/>
                </a:solidFill>
                <a:latin typeface="+mj-lt"/>
              </a:rPr>
              <a:t> Semestre 2017</a:t>
            </a:r>
            <a:endParaRPr lang="fr-FR" altLang="fr-FR" sz="2400" b="1" dirty="0">
              <a:solidFill>
                <a:schemeClr val="bg1"/>
              </a:solidFill>
              <a:latin typeface="+mj-lt"/>
            </a:endParaRPr>
          </a:p>
        </p:txBody>
      </p:sp>
      <p:sp>
        <p:nvSpPr>
          <p:cNvPr id="9" name="ZoneTexte 67"/>
          <p:cNvSpPr txBox="1">
            <a:spLocks noChangeArrowheads="1"/>
          </p:cNvSpPr>
          <p:nvPr>
            <p:custDataLst>
              <p:tags r:id="rId4"/>
            </p:custDataLst>
          </p:nvPr>
        </p:nvSpPr>
        <p:spPr bwMode="auto">
          <a:xfrm>
            <a:off x="323528" y="2952240"/>
            <a:ext cx="8148896"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just" eaLnBrk="1" hangingPunct="1">
              <a:spcBef>
                <a:spcPct val="0"/>
              </a:spcBef>
              <a:buFontTx/>
              <a:buNone/>
            </a:pPr>
            <a:r>
              <a:rPr lang="zh-CN" altLang="en-US" sz="2400" b="1" dirty="0" smtClean="0">
                <a:solidFill>
                  <a:schemeClr val="bg1"/>
                </a:solidFill>
                <a:latin typeface="+mj-lt"/>
                <a:ea typeface="宋体" panose="02010600030101010101" pitchFamily="2" charset="-122"/>
              </a:rPr>
              <a:t>为何投资摩洛哥旅游业？</a:t>
            </a:r>
          </a:p>
        </p:txBody>
      </p:sp>
      <p:sp>
        <p:nvSpPr>
          <p:cNvPr id="12" name="object 9"/>
          <p:cNvSpPr/>
          <p:nvPr/>
        </p:nvSpPr>
        <p:spPr>
          <a:xfrm>
            <a:off x="76998" y="3805001"/>
            <a:ext cx="414655" cy="2786380"/>
          </a:xfrm>
          <a:custGeom>
            <a:avLst/>
            <a:gdLst/>
            <a:ahLst/>
            <a:cxnLst/>
            <a:rect l="l" t="t" r="r" b="b"/>
            <a:pathLst>
              <a:path w="414655" h="2786379">
                <a:moveTo>
                  <a:pt x="0" y="2785999"/>
                </a:moveTo>
                <a:lnTo>
                  <a:pt x="414336" y="2785999"/>
                </a:lnTo>
                <a:lnTo>
                  <a:pt x="414336" y="0"/>
                </a:lnTo>
                <a:lnTo>
                  <a:pt x="0" y="0"/>
                </a:lnTo>
                <a:lnTo>
                  <a:pt x="0" y="2785999"/>
                </a:lnTo>
                <a:close/>
              </a:path>
            </a:pathLst>
          </a:cu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15" name="object 13"/>
          <p:cNvSpPr/>
          <p:nvPr/>
        </p:nvSpPr>
        <p:spPr>
          <a:xfrm>
            <a:off x="293583" y="3858978"/>
            <a:ext cx="2097024" cy="1357249"/>
          </a:xfrm>
          <a:prstGeom prst="rect">
            <a:avLst/>
          </a:prstGeom>
          <a:blipFill>
            <a:blip r:embed="rId9" cstate="print"/>
            <a:stretch>
              <a:fillRect/>
            </a:stretch>
          </a:blipFill>
        </p:spPr>
        <p:txBody>
          <a:bodyPr wrap="square" lIns="0" tIns="0" rIns="0" bIns="0" rtlCol="0"/>
          <a:lstStyle/>
          <a:p>
            <a:endParaRPr/>
          </a:p>
        </p:txBody>
      </p:sp>
      <p:sp>
        <p:nvSpPr>
          <p:cNvPr id="16" name="object 14"/>
          <p:cNvSpPr/>
          <p:nvPr/>
        </p:nvSpPr>
        <p:spPr>
          <a:xfrm>
            <a:off x="299933" y="5227403"/>
            <a:ext cx="4241863" cy="1369949"/>
          </a:xfrm>
          <a:prstGeom prst="rect">
            <a:avLst/>
          </a:prstGeom>
          <a:blipFill>
            <a:blip r:embed="rId10" cstate="print"/>
            <a:stretch>
              <a:fillRect/>
            </a:stretch>
          </a:blipFill>
        </p:spPr>
        <p:txBody>
          <a:bodyPr wrap="square" lIns="0" tIns="0" rIns="0" bIns="0" rtlCol="0"/>
          <a:lstStyle/>
          <a:p>
            <a:endParaRPr/>
          </a:p>
        </p:txBody>
      </p:sp>
      <p:sp>
        <p:nvSpPr>
          <p:cNvPr id="17" name="object 15"/>
          <p:cNvSpPr/>
          <p:nvPr/>
        </p:nvSpPr>
        <p:spPr>
          <a:xfrm>
            <a:off x="2401847" y="3860502"/>
            <a:ext cx="4348099" cy="1368425"/>
          </a:xfrm>
          <a:prstGeom prst="rect">
            <a:avLst/>
          </a:prstGeom>
          <a:blipFill>
            <a:blip r:embed="rId11" cstate="print"/>
            <a:stretch>
              <a:fillRect/>
            </a:stretch>
          </a:blipFill>
        </p:spPr>
        <p:txBody>
          <a:bodyPr wrap="square" lIns="0" tIns="0" rIns="0" bIns="0" rtlCol="0"/>
          <a:lstStyle/>
          <a:p>
            <a:endParaRPr/>
          </a:p>
        </p:txBody>
      </p:sp>
      <p:sp>
        <p:nvSpPr>
          <p:cNvPr id="18" name="object 16"/>
          <p:cNvSpPr/>
          <p:nvPr/>
        </p:nvSpPr>
        <p:spPr>
          <a:xfrm>
            <a:off x="4552846" y="5238451"/>
            <a:ext cx="2197100" cy="1352550"/>
          </a:xfrm>
          <a:prstGeom prst="rect">
            <a:avLst/>
          </a:prstGeom>
          <a:blipFill>
            <a:blip r:embed="rId12" cstate="print"/>
            <a:stretch>
              <a:fillRect/>
            </a:stretch>
          </a:blipFill>
        </p:spPr>
        <p:txBody>
          <a:bodyPr wrap="square" lIns="0" tIns="0" rIns="0" bIns="0" rtlCol="0"/>
          <a:lstStyle/>
          <a:p>
            <a:endParaRPr/>
          </a:p>
        </p:txBody>
      </p:sp>
      <p:sp>
        <p:nvSpPr>
          <p:cNvPr id="19" name="object 17"/>
          <p:cNvSpPr/>
          <p:nvPr/>
        </p:nvSpPr>
        <p:spPr>
          <a:xfrm>
            <a:off x="6761122" y="3860628"/>
            <a:ext cx="2217673" cy="2730373"/>
          </a:xfrm>
          <a:prstGeom prst="rect">
            <a:avLst/>
          </a:prstGeom>
          <a:blipFill>
            <a:blip r:embed="rId13"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6"/>
          <p:cNvSpPr/>
          <p:nvPr/>
        </p:nvSpPr>
        <p:spPr>
          <a:xfrm>
            <a:off x="0" y="6259511"/>
            <a:ext cx="414655" cy="598805"/>
          </a:xfrm>
          <a:custGeom>
            <a:avLst/>
            <a:gdLst/>
            <a:ahLst/>
            <a:cxnLst/>
            <a:rect l="l" t="t" r="r" b="b"/>
            <a:pathLst>
              <a:path w="414655" h="598804">
                <a:moveTo>
                  <a:pt x="414336" y="598485"/>
                </a:moveTo>
                <a:lnTo>
                  <a:pt x="414336" y="0"/>
                </a:lnTo>
                <a:lnTo>
                  <a:pt x="0" y="0"/>
                </a:lnTo>
                <a:lnTo>
                  <a:pt x="0" y="598485"/>
                </a:lnTo>
                <a:lnTo>
                  <a:pt x="414336" y="598485"/>
                </a:lnTo>
                <a:close/>
              </a:path>
            </a:pathLst>
          </a:cu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10" name="object 8"/>
          <p:cNvSpPr/>
          <p:nvPr/>
        </p:nvSpPr>
        <p:spPr>
          <a:xfrm>
            <a:off x="458787" y="6308723"/>
            <a:ext cx="2076450" cy="500062"/>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12" name="object 10"/>
          <p:cNvSpPr txBox="1"/>
          <p:nvPr/>
        </p:nvSpPr>
        <p:spPr>
          <a:xfrm>
            <a:off x="467544" y="58039"/>
            <a:ext cx="8352928" cy="768350"/>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dirty="0">
                <a:ea typeface="宋体" panose="02010600030101010101" pitchFamily="2" charset="-122"/>
              </a:rPr>
              <a:t>为何投资摩洛哥旅游业？</a:t>
            </a:r>
          </a:p>
          <a:p>
            <a:r>
              <a:rPr lang="zh-CN" sz="2000" dirty="0">
                <a:ea typeface="宋体" panose="02010600030101010101" pitchFamily="2" charset="-122"/>
              </a:rPr>
              <a:t>一个仍未开发、逐渐兴起的旅游目的地</a:t>
            </a:r>
          </a:p>
        </p:txBody>
      </p:sp>
      <p:sp>
        <p:nvSpPr>
          <p:cNvPr id="19" name="Rectangle 4"/>
          <p:cNvSpPr>
            <a:spLocks noChangeArrowheads="1"/>
          </p:cNvSpPr>
          <p:nvPr>
            <p:custDataLst>
              <p:tags r:id="rId1"/>
            </p:custDataLst>
          </p:nvPr>
        </p:nvSpPr>
        <p:spPr bwMode="gray">
          <a:xfrm>
            <a:off x="973188" y="3622005"/>
            <a:ext cx="6991350" cy="638175"/>
          </a:xfrm>
          <a:prstGeom prst="rect">
            <a:avLst/>
          </a:prstGeom>
          <a:solidFill>
            <a:schemeClr val="bg1">
              <a:lumMod val="85000"/>
            </a:schemeClr>
          </a:solidFill>
          <a:ln>
            <a:solidFill>
              <a:srgbClr val="0066FF"/>
            </a:solidFill>
          </a:ln>
          <a:effectLst/>
        </p:spPr>
        <p:txBody>
          <a:bodyPr tIns="91440" bIns="91440" anchor="ctr"/>
          <a:lstStyle/>
          <a:p>
            <a:pPr algn="ctr" fontAlgn="auto">
              <a:spcBef>
                <a:spcPts val="0"/>
              </a:spcBef>
              <a:spcAft>
                <a:spcPts val="0"/>
              </a:spcAft>
              <a:defRPr/>
            </a:pPr>
            <a:r>
              <a:rPr lang="zh-CN" altLang="en-US" sz="2400" b="1" i="1" dirty="0">
                <a:latin typeface="+mj-lt"/>
                <a:cs typeface="Arial" panose="020B0604020202020204" pitchFamily="34" charset="0"/>
              </a:rPr>
              <a:t>安全、稳定的环境</a:t>
            </a:r>
            <a:r>
              <a:rPr lang="en-US" altLang="fr-FR" sz="2400" b="1" i="1" dirty="0">
                <a:latin typeface="+mj-lt"/>
                <a:cs typeface="Arial" panose="020B0604020202020204" pitchFamily="34" charset="0"/>
              </a:rPr>
              <a:t> </a:t>
            </a:r>
          </a:p>
        </p:txBody>
      </p:sp>
      <p:sp>
        <p:nvSpPr>
          <p:cNvPr id="20" name="Rectangle 5"/>
          <p:cNvSpPr>
            <a:spLocks noChangeArrowheads="1"/>
          </p:cNvSpPr>
          <p:nvPr>
            <p:custDataLst>
              <p:tags r:id="rId2"/>
            </p:custDataLst>
          </p:nvPr>
        </p:nvSpPr>
        <p:spPr bwMode="gray">
          <a:xfrm>
            <a:off x="971600" y="2852068"/>
            <a:ext cx="6991350" cy="638175"/>
          </a:xfrm>
          <a:prstGeom prst="rect">
            <a:avLst/>
          </a:prstGeom>
          <a:solidFill>
            <a:schemeClr val="bg1">
              <a:lumMod val="85000"/>
            </a:schemeClr>
          </a:solidFill>
          <a:ln>
            <a:solidFill>
              <a:srgbClr val="0066FF"/>
            </a:solidFill>
          </a:ln>
          <a:effectLst/>
        </p:spPr>
        <p:txBody>
          <a:bodyPr tIns="91440" bIns="91440" anchor="ctr"/>
          <a:lstStyle/>
          <a:p>
            <a:pPr algn="ctr" fontAlgn="auto">
              <a:spcBef>
                <a:spcPts val="0"/>
              </a:spcBef>
              <a:spcAft>
                <a:spcPts val="0"/>
              </a:spcAft>
              <a:defRPr/>
            </a:pPr>
            <a:r>
              <a:rPr lang="zh-CN" altLang="en-US" sz="2400" b="1" i="1" dirty="0">
                <a:latin typeface="+mj-lt"/>
                <a:cs typeface="Arial" panose="020B0604020202020204" pitchFamily="34" charset="0"/>
              </a:rPr>
              <a:t>政府优先考虑</a:t>
            </a:r>
          </a:p>
        </p:txBody>
      </p:sp>
      <p:sp>
        <p:nvSpPr>
          <p:cNvPr id="21" name="Rectangle 6"/>
          <p:cNvSpPr>
            <a:spLocks noChangeArrowheads="1"/>
          </p:cNvSpPr>
          <p:nvPr>
            <p:custDataLst>
              <p:tags r:id="rId3"/>
            </p:custDataLst>
          </p:nvPr>
        </p:nvSpPr>
        <p:spPr bwMode="gray">
          <a:xfrm>
            <a:off x="993825" y="5133305"/>
            <a:ext cx="6992938" cy="638175"/>
          </a:xfrm>
          <a:prstGeom prst="rect">
            <a:avLst/>
          </a:prstGeom>
          <a:solidFill>
            <a:schemeClr val="bg1">
              <a:lumMod val="85000"/>
            </a:schemeClr>
          </a:solidFill>
          <a:ln>
            <a:solidFill>
              <a:srgbClr val="0066FF"/>
            </a:solidFill>
          </a:ln>
          <a:effectLst/>
        </p:spPr>
        <p:txBody>
          <a:bodyPr tIns="91440" bIns="91440" anchor="ctr"/>
          <a:lstStyle/>
          <a:p>
            <a:pPr algn="ctr" fontAlgn="auto">
              <a:spcBef>
                <a:spcPts val="0"/>
              </a:spcBef>
              <a:spcAft>
                <a:spcPts val="0"/>
              </a:spcAft>
              <a:defRPr/>
            </a:pPr>
            <a:r>
              <a:rPr lang="zh-CN" altLang="en-US" sz="2400" b="1" i="1" dirty="0">
                <a:latin typeface="+mj-lt"/>
                <a:cs typeface="Arial" panose="020B0604020202020204" pitchFamily="34" charset="0"/>
              </a:rPr>
              <a:t>友好的投资环境</a:t>
            </a:r>
          </a:p>
        </p:txBody>
      </p:sp>
      <p:sp>
        <p:nvSpPr>
          <p:cNvPr id="22" name="Rectangle 7"/>
          <p:cNvSpPr>
            <a:spLocks noChangeArrowheads="1"/>
          </p:cNvSpPr>
          <p:nvPr>
            <p:custDataLst>
              <p:tags r:id="rId4"/>
            </p:custDataLst>
          </p:nvPr>
        </p:nvSpPr>
        <p:spPr bwMode="gray">
          <a:xfrm>
            <a:off x="971600" y="2099593"/>
            <a:ext cx="6991350" cy="639762"/>
          </a:xfrm>
          <a:prstGeom prst="rect">
            <a:avLst/>
          </a:prstGeom>
          <a:solidFill>
            <a:schemeClr val="bg1">
              <a:lumMod val="85000"/>
            </a:schemeClr>
          </a:solidFill>
          <a:ln>
            <a:solidFill>
              <a:srgbClr val="0066FF"/>
            </a:solidFill>
          </a:ln>
          <a:effectLst/>
        </p:spPr>
        <p:txBody>
          <a:bodyPr tIns="91440" bIns="91440" anchor="ctr"/>
          <a:lstStyle/>
          <a:p>
            <a:pPr algn="ctr" fontAlgn="auto">
              <a:spcBef>
                <a:spcPts val="0"/>
              </a:spcBef>
              <a:spcAft>
                <a:spcPts val="0"/>
              </a:spcAft>
              <a:defRPr/>
            </a:pPr>
            <a:r>
              <a:rPr lang="zh-CN" altLang="en-US" sz="2400" b="1" i="1" dirty="0">
                <a:latin typeface="+mj-lt"/>
                <a:cs typeface="Arial" panose="020B0604020202020204" pitchFamily="34" charset="0"/>
              </a:rPr>
              <a:t>无与伦比的旅游潜力</a:t>
            </a:r>
          </a:p>
        </p:txBody>
      </p:sp>
      <p:sp>
        <p:nvSpPr>
          <p:cNvPr id="23" name="Rectangle 22"/>
          <p:cNvSpPr>
            <a:spLocks noChangeArrowheads="1"/>
          </p:cNvSpPr>
          <p:nvPr>
            <p:custDataLst>
              <p:tags r:id="rId5"/>
            </p:custDataLst>
          </p:nvPr>
        </p:nvSpPr>
        <p:spPr bwMode="gray">
          <a:xfrm>
            <a:off x="971600" y="4385593"/>
            <a:ext cx="6991350" cy="639762"/>
          </a:xfrm>
          <a:prstGeom prst="rect">
            <a:avLst/>
          </a:prstGeom>
          <a:solidFill>
            <a:schemeClr val="bg1">
              <a:lumMod val="85000"/>
            </a:schemeClr>
          </a:solidFill>
          <a:ln>
            <a:solidFill>
              <a:srgbClr val="0066FF"/>
            </a:solidFill>
          </a:ln>
          <a:effectLst/>
        </p:spPr>
        <p:txBody>
          <a:bodyPr tIns="91440" bIns="91440" anchor="ctr"/>
          <a:lstStyle/>
          <a:p>
            <a:pPr algn="ctr" fontAlgn="auto">
              <a:spcBef>
                <a:spcPts val="0"/>
              </a:spcBef>
              <a:spcAft>
                <a:spcPts val="0"/>
              </a:spcAft>
              <a:defRPr/>
            </a:pPr>
            <a:r>
              <a:rPr lang="zh-CN" altLang="en-US" sz="2400" b="1" i="1" dirty="0">
                <a:latin typeface="+mj-lt"/>
                <a:cs typeface="Arial" panose="020B0604020202020204" pitchFamily="34" charset="0"/>
              </a:rPr>
              <a:t>一流</a:t>
            </a:r>
            <a:r>
              <a:rPr lang="zh-CN" altLang="en-US" sz="2400" b="1" i="1" dirty="0" smtClean="0">
                <a:latin typeface="+mj-lt"/>
                <a:cs typeface="Arial" panose="020B0604020202020204" pitchFamily="34" charset="0"/>
              </a:rPr>
              <a:t>的</a:t>
            </a:r>
            <a:r>
              <a:rPr lang="zh-CN" altLang="en-US" sz="2400" b="1" i="1" dirty="0">
                <a:latin typeface="+mj-lt"/>
                <a:cs typeface="Arial" panose="020B0604020202020204" pitchFamily="34" charset="0"/>
              </a:rPr>
              <a:t>基础</a:t>
            </a:r>
            <a:r>
              <a:rPr lang="zh-CN" altLang="en-US" sz="2400" b="1" i="1" dirty="0" smtClean="0">
                <a:latin typeface="+mj-lt"/>
                <a:cs typeface="Arial" panose="020B0604020202020204" pitchFamily="34" charset="0"/>
              </a:rPr>
              <a:t>设施</a:t>
            </a:r>
            <a:endParaRPr lang="zh-CN" altLang="en-US" sz="2400" b="1" i="1" dirty="0">
              <a:latin typeface="+mj-lt"/>
              <a:cs typeface="Arial" panose="020B0604020202020204" pitchFamily="34" charset="0"/>
            </a:endParaRPr>
          </a:p>
        </p:txBody>
      </p:sp>
      <p:sp>
        <p:nvSpPr>
          <p:cNvPr id="24" name="Rectangle 4"/>
          <p:cNvSpPr>
            <a:spLocks noChangeArrowheads="1"/>
          </p:cNvSpPr>
          <p:nvPr>
            <p:custDataLst>
              <p:tags r:id="rId6"/>
            </p:custDataLst>
          </p:nvPr>
        </p:nvSpPr>
        <p:spPr bwMode="gray">
          <a:xfrm>
            <a:off x="971600" y="1340768"/>
            <a:ext cx="6991350" cy="639762"/>
          </a:xfrm>
          <a:prstGeom prst="rect">
            <a:avLst/>
          </a:prstGeom>
          <a:solidFill>
            <a:schemeClr val="bg1">
              <a:lumMod val="85000"/>
            </a:schemeClr>
          </a:solidFill>
          <a:ln>
            <a:solidFill>
              <a:srgbClr val="0066FF"/>
            </a:solidFill>
          </a:ln>
          <a:effectLst/>
        </p:spPr>
        <p:txBody>
          <a:bodyPr tIns="91440" bIns="91440" anchor="ctr"/>
          <a:lstStyle/>
          <a:p>
            <a:pPr algn="ctr" fontAlgn="auto">
              <a:spcBef>
                <a:spcPts val="0"/>
              </a:spcBef>
              <a:spcAft>
                <a:spcPts val="0"/>
              </a:spcAft>
              <a:defRPr/>
            </a:pPr>
            <a:r>
              <a:rPr lang="zh-CN" altLang="en-US" sz="2400" b="1" i="1" dirty="0" smtClean="0">
                <a:latin typeface="+mj-lt"/>
                <a:cs typeface="Arial" panose="020B0604020202020204" pitchFamily="34" charset="0"/>
              </a:rPr>
              <a:t>富有活力的旅游目的地</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4"/>
          <p:cNvSpPr/>
          <p:nvPr/>
        </p:nvSpPr>
        <p:spPr>
          <a:xfrm>
            <a:off x="0" y="1052736"/>
            <a:ext cx="414655" cy="38100"/>
          </a:xfrm>
          <a:custGeom>
            <a:avLst/>
            <a:gdLst/>
            <a:ahLst/>
            <a:cxnLst/>
            <a:rect l="l" t="t" r="r" b="b"/>
            <a:pathLst>
              <a:path w="414655" h="38100">
                <a:moveTo>
                  <a:pt x="0" y="38100"/>
                </a:moveTo>
                <a:lnTo>
                  <a:pt x="414337" y="38100"/>
                </a:lnTo>
                <a:lnTo>
                  <a:pt x="414337" y="0"/>
                </a:lnTo>
                <a:lnTo>
                  <a:pt x="0" y="0"/>
                </a:lnTo>
                <a:lnTo>
                  <a:pt x="0" y="38100"/>
                </a:lnTo>
                <a:close/>
              </a:path>
            </a:pathLst>
          </a:custGeom>
          <a:solidFill>
            <a:srgbClr val="FFFFFF"/>
          </a:solidFill>
        </p:spPr>
        <p:txBody>
          <a:bodyPr wrap="square" lIns="0" tIns="0" rIns="0" bIns="0" rtlCol="0"/>
          <a:lstStyle/>
          <a:p>
            <a:endParaRPr>
              <a:latin typeface="+mj-lt"/>
            </a:endParaRPr>
          </a:p>
        </p:txBody>
      </p:sp>
      <p:sp>
        <p:nvSpPr>
          <p:cNvPr id="7" name="object 5"/>
          <p:cNvSpPr/>
          <p:nvPr/>
        </p:nvSpPr>
        <p:spPr>
          <a:xfrm>
            <a:off x="0" y="6218237"/>
            <a:ext cx="414655" cy="38100"/>
          </a:xfrm>
          <a:custGeom>
            <a:avLst/>
            <a:gdLst/>
            <a:ahLst/>
            <a:cxnLst/>
            <a:rect l="l" t="t" r="r" b="b"/>
            <a:pathLst>
              <a:path w="414655" h="38100">
                <a:moveTo>
                  <a:pt x="0" y="38100"/>
                </a:moveTo>
                <a:lnTo>
                  <a:pt x="414337" y="38100"/>
                </a:lnTo>
                <a:lnTo>
                  <a:pt x="414337" y="0"/>
                </a:lnTo>
                <a:lnTo>
                  <a:pt x="0" y="0"/>
                </a:lnTo>
                <a:lnTo>
                  <a:pt x="0" y="38100"/>
                </a:lnTo>
                <a:close/>
              </a:path>
            </a:pathLst>
          </a:custGeom>
          <a:solidFill>
            <a:srgbClr val="FFFFFF"/>
          </a:solidFill>
        </p:spPr>
        <p:txBody>
          <a:bodyPr wrap="square" lIns="0" tIns="0" rIns="0" bIns="0" rtlCol="0"/>
          <a:lstStyle/>
          <a:p>
            <a:endParaRPr>
              <a:latin typeface="+mj-lt"/>
            </a:endParaRPr>
          </a:p>
        </p:txBody>
      </p:sp>
      <p:sp>
        <p:nvSpPr>
          <p:cNvPr id="8" name="object 6"/>
          <p:cNvSpPr/>
          <p:nvPr/>
        </p:nvSpPr>
        <p:spPr>
          <a:xfrm>
            <a:off x="0" y="6259511"/>
            <a:ext cx="414655" cy="598805"/>
          </a:xfrm>
          <a:custGeom>
            <a:avLst/>
            <a:gdLst/>
            <a:ahLst/>
            <a:cxnLst/>
            <a:rect l="l" t="t" r="r" b="b"/>
            <a:pathLst>
              <a:path w="414655" h="598804">
                <a:moveTo>
                  <a:pt x="414336" y="598485"/>
                </a:moveTo>
                <a:lnTo>
                  <a:pt x="414336" y="0"/>
                </a:lnTo>
                <a:lnTo>
                  <a:pt x="0" y="0"/>
                </a:lnTo>
                <a:lnTo>
                  <a:pt x="0" y="598485"/>
                </a:lnTo>
                <a:lnTo>
                  <a:pt x="414336" y="598485"/>
                </a:lnTo>
                <a:close/>
              </a:path>
            </a:pathLst>
          </a:cu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latin typeface="+mj-lt"/>
            </a:endParaRPr>
          </a:p>
        </p:txBody>
      </p:sp>
      <p:sp>
        <p:nvSpPr>
          <p:cNvPr id="10" name="object 8"/>
          <p:cNvSpPr/>
          <p:nvPr/>
        </p:nvSpPr>
        <p:spPr>
          <a:xfrm>
            <a:off x="458787" y="6308723"/>
            <a:ext cx="2076450" cy="500062"/>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latin typeface="+mj-lt"/>
            </a:endParaRPr>
          </a:p>
        </p:txBody>
      </p:sp>
      <p:sp>
        <p:nvSpPr>
          <p:cNvPr id="11" name="object 9"/>
          <p:cNvSpPr/>
          <p:nvPr/>
        </p:nvSpPr>
        <p:spPr>
          <a:xfrm>
            <a:off x="815339" y="1165639"/>
            <a:ext cx="2220468" cy="868680"/>
          </a:xfrm>
          <a:prstGeom prst="rect">
            <a:avLst/>
          </a:prstGeom>
          <a:blipFill>
            <a:blip r:embed="rId2" cstate="print"/>
            <a:stretch>
              <a:fillRect/>
            </a:stretch>
          </a:blipFill>
        </p:spPr>
        <p:txBody>
          <a:bodyPr wrap="square" lIns="0" tIns="0" rIns="0" bIns="0" rtlCol="0"/>
          <a:lstStyle/>
          <a:p>
            <a:endParaRPr>
              <a:latin typeface="+mj-lt"/>
            </a:endParaRPr>
          </a:p>
        </p:txBody>
      </p:sp>
      <p:sp>
        <p:nvSpPr>
          <p:cNvPr id="12" name="object 10"/>
          <p:cNvSpPr txBox="1"/>
          <p:nvPr/>
        </p:nvSpPr>
        <p:spPr>
          <a:xfrm>
            <a:off x="1094350" y="1466779"/>
            <a:ext cx="1696949" cy="245745"/>
          </a:xfrm>
          <a:prstGeom prst="rect">
            <a:avLst/>
          </a:prstGeom>
        </p:spPr>
        <p:txBody>
          <a:bodyPr vert="horz" wrap="square" lIns="0" tIns="0" rIns="0" bIns="0" rtlCol="0">
            <a:spAutoFit/>
          </a:bodyPr>
          <a:lstStyle/>
          <a:p>
            <a:pPr marL="12700">
              <a:lnSpc>
                <a:spcPct val="100000"/>
              </a:lnSpc>
            </a:pPr>
            <a:r>
              <a:rPr lang="zh-CN" sz="1600" i="1" spc="-5" dirty="0">
                <a:solidFill>
                  <a:srgbClr val="FFFFFF"/>
                </a:solidFill>
                <a:latin typeface="+mj-lt"/>
                <a:cs typeface="Garamond" panose="02020404030301010803"/>
              </a:rPr>
              <a:t>世界一流品牌</a:t>
            </a:r>
          </a:p>
        </p:txBody>
      </p:sp>
      <p:sp>
        <p:nvSpPr>
          <p:cNvPr id="13" name="object 11"/>
          <p:cNvSpPr/>
          <p:nvPr/>
        </p:nvSpPr>
        <p:spPr>
          <a:xfrm>
            <a:off x="3599688" y="1165639"/>
            <a:ext cx="2221991" cy="868680"/>
          </a:xfrm>
          <a:prstGeom prst="rect">
            <a:avLst/>
          </a:prstGeom>
          <a:blipFill>
            <a:blip r:embed="rId2" cstate="print"/>
            <a:stretch>
              <a:fillRect/>
            </a:stretch>
          </a:blipFill>
        </p:spPr>
        <p:txBody>
          <a:bodyPr wrap="square" lIns="0" tIns="0" rIns="0" bIns="0" rtlCol="0"/>
          <a:lstStyle/>
          <a:p>
            <a:endParaRPr>
              <a:latin typeface="+mj-lt"/>
            </a:endParaRPr>
          </a:p>
        </p:txBody>
      </p:sp>
      <p:sp>
        <p:nvSpPr>
          <p:cNvPr id="14" name="object 12"/>
          <p:cNvSpPr txBox="1"/>
          <p:nvPr/>
        </p:nvSpPr>
        <p:spPr>
          <a:xfrm>
            <a:off x="3779912" y="1434880"/>
            <a:ext cx="1880489" cy="245745"/>
          </a:xfrm>
          <a:prstGeom prst="rect">
            <a:avLst/>
          </a:prstGeom>
        </p:spPr>
        <p:txBody>
          <a:bodyPr vert="horz" wrap="square" lIns="0" tIns="0" rIns="0" bIns="0" rtlCol="0">
            <a:spAutoFit/>
          </a:bodyPr>
          <a:lstStyle/>
          <a:p>
            <a:pPr marL="12700">
              <a:lnSpc>
                <a:spcPct val="100000"/>
              </a:lnSpc>
            </a:pPr>
            <a:r>
              <a:rPr lang="zh-CN" sz="1600" i="1" spc="-5" dirty="0">
                <a:solidFill>
                  <a:srgbClr val="FFFFFF"/>
                </a:solidFill>
                <a:latin typeface="+mj-lt"/>
                <a:cs typeface="Garamond" panose="02020404030301010803"/>
              </a:rPr>
              <a:t>顶尖的旅游投资者</a:t>
            </a:r>
          </a:p>
        </p:txBody>
      </p:sp>
      <p:sp>
        <p:nvSpPr>
          <p:cNvPr id="15" name="object 13"/>
          <p:cNvSpPr/>
          <p:nvPr/>
        </p:nvSpPr>
        <p:spPr>
          <a:xfrm>
            <a:off x="6251447" y="1124491"/>
            <a:ext cx="2255520" cy="1011936"/>
          </a:xfrm>
          <a:prstGeom prst="rect">
            <a:avLst/>
          </a:prstGeom>
          <a:blipFill>
            <a:blip r:embed="rId3" cstate="print"/>
            <a:stretch>
              <a:fillRect/>
            </a:stretch>
          </a:blipFill>
        </p:spPr>
        <p:txBody>
          <a:bodyPr wrap="square" lIns="0" tIns="0" rIns="0" bIns="0" rtlCol="0"/>
          <a:lstStyle/>
          <a:p>
            <a:endParaRPr>
              <a:latin typeface="+mj-lt"/>
            </a:endParaRPr>
          </a:p>
        </p:txBody>
      </p:sp>
      <p:sp>
        <p:nvSpPr>
          <p:cNvPr id="16" name="object 14"/>
          <p:cNvSpPr txBox="1"/>
          <p:nvPr/>
        </p:nvSpPr>
        <p:spPr>
          <a:xfrm>
            <a:off x="6442075" y="1435093"/>
            <a:ext cx="1874520" cy="245745"/>
          </a:xfrm>
          <a:prstGeom prst="rect">
            <a:avLst/>
          </a:prstGeom>
        </p:spPr>
        <p:txBody>
          <a:bodyPr vert="horz" wrap="square" lIns="0" tIns="0" rIns="0" bIns="0" rtlCol="0">
            <a:spAutoFit/>
          </a:bodyPr>
          <a:lstStyle/>
          <a:p>
            <a:pPr marL="12700" marR="5080" algn="ctr">
              <a:lnSpc>
                <a:spcPct val="100000"/>
              </a:lnSpc>
            </a:pPr>
            <a:r>
              <a:rPr lang="zh-CN" sz="1600" i="1" spc="-10" dirty="0" smtClean="0">
                <a:solidFill>
                  <a:srgbClr val="FFFFFF"/>
                </a:solidFill>
                <a:latin typeface="+mj-lt"/>
                <a:cs typeface="Garamond" panose="02020404030301010803"/>
              </a:rPr>
              <a:t>世界级旅游目的地</a:t>
            </a:r>
          </a:p>
        </p:txBody>
      </p:sp>
      <p:sp>
        <p:nvSpPr>
          <p:cNvPr id="18" name="object 16"/>
          <p:cNvSpPr/>
          <p:nvPr/>
        </p:nvSpPr>
        <p:spPr>
          <a:xfrm>
            <a:off x="863600" y="2135412"/>
            <a:ext cx="2052955" cy="3206750"/>
          </a:xfrm>
          <a:custGeom>
            <a:avLst/>
            <a:gdLst/>
            <a:ahLst/>
            <a:cxnLst/>
            <a:rect l="l" t="t" r="r" b="b"/>
            <a:pathLst>
              <a:path w="2052955" h="3206750">
                <a:moveTo>
                  <a:pt x="0" y="3206750"/>
                </a:moveTo>
                <a:lnTo>
                  <a:pt x="2052701" y="3206750"/>
                </a:lnTo>
                <a:lnTo>
                  <a:pt x="2052701" y="0"/>
                </a:lnTo>
                <a:lnTo>
                  <a:pt x="0" y="0"/>
                </a:lnTo>
                <a:lnTo>
                  <a:pt x="0" y="320675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latin typeface="+mj-lt"/>
            </a:endParaRPr>
          </a:p>
        </p:txBody>
      </p:sp>
      <p:sp>
        <p:nvSpPr>
          <p:cNvPr id="20" name="object 18"/>
          <p:cNvSpPr/>
          <p:nvPr/>
        </p:nvSpPr>
        <p:spPr>
          <a:xfrm>
            <a:off x="1945157" y="3008270"/>
            <a:ext cx="909637" cy="642937"/>
          </a:xfrm>
          <a:prstGeom prst="rect">
            <a:avLst/>
          </a:prstGeom>
          <a:blipFill>
            <a:blip r:embed="rId4" cstate="print"/>
            <a:stretch>
              <a:fillRect/>
            </a:stretch>
          </a:blipFill>
        </p:spPr>
        <p:txBody>
          <a:bodyPr wrap="square" lIns="0" tIns="0" rIns="0" bIns="0" rtlCol="0"/>
          <a:lstStyle/>
          <a:p>
            <a:endParaRPr>
              <a:latin typeface="+mj-lt"/>
            </a:endParaRPr>
          </a:p>
        </p:txBody>
      </p:sp>
      <p:sp>
        <p:nvSpPr>
          <p:cNvPr id="22" name="object 20"/>
          <p:cNvSpPr/>
          <p:nvPr/>
        </p:nvSpPr>
        <p:spPr>
          <a:xfrm>
            <a:off x="938098" y="4761305"/>
            <a:ext cx="986631" cy="448439"/>
          </a:xfrm>
          <a:prstGeom prst="rect">
            <a:avLst/>
          </a:prstGeom>
          <a:blipFill>
            <a:blip r:embed="rId5" cstate="print"/>
            <a:stretch>
              <a:fillRect/>
            </a:stretch>
          </a:blipFill>
        </p:spPr>
        <p:txBody>
          <a:bodyPr wrap="square" lIns="0" tIns="0" rIns="0" bIns="0" rtlCol="0"/>
          <a:lstStyle/>
          <a:p>
            <a:endParaRPr>
              <a:latin typeface="+mj-lt"/>
            </a:endParaRPr>
          </a:p>
        </p:txBody>
      </p:sp>
      <p:sp>
        <p:nvSpPr>
          <p:cNvPr id="27" name="object 25"/>
          <p:cNvSpPr/>
          <p:nvPr/>
        </p:nvSpPr>
        <p:spPr>
          <a:xfrm>
            <a:off x="3648075" y="2135412"/>
            <a:ext cx="2052955" cy="3206750"/>
          </a:xfrm>
          <a:custGeom>
            <a:avLst/>
            <a:gdLst/>
            <a:ahLst/>
            <a:cxnLst/>
            <a:rect l="l" t="t" r="r" b="b"/>
            <a:pathLst>
              <a:path w="2052954" h="3206750">
                <a:moveTo>
                  <a:pt x="0" y="3206750"/>
                </a:moveTo>
                <a:lnTo>
                  <a:pt x="2052701" y="3206750"/>
                </a:lnTo>
                <a:lnTo>
                  <a:pt x="2052701" y="0"/>
                </a:lnTo>
                <a:lnTo>
                  <a:pt x="0" y="0"/>
                </a:lnTo>
                <a:lnTo>
                  <a:pt x="0" y="320675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latin typeface="+mj-lt"/>
            </a:endParaRPr>
          </a:p>
        </p:txBody>
      </p:sp>
      <p:sp>
        <p:nvSpPr>
          <p:cNvPr id="31" name="object 29"/>
          <p:cNvSpPr/>
          <p:nvPr/>
        </p:nvSpPr>
        <p:spPr>
          <a:xfrm>
            <a:off x="6300851" y="2135412"/>
            <a:ext cx="2052955" cy="3206750"/>
          </a:xfrm>
          <a:custGeom>
            <a:avLst/>
            <a:gdLst/>
            <a:ahLst/>
            <a:cxnLst/>
            <a:rect l="l" t="t" r="r" b="b"/>
            <a:pathLst>
              <a:path w="2052954" h="3206750">
                <a:moveTo>
                  <a:pt x="0" y="3206750"/>
                </a:moveTo>
                <a:lnTo>
                  <a:pt x="2052574" y="3206750"/>
                </a:lnTo>
                <a:lnTo>
                  <a:pt x="2052574" y="0"/>
                </a:lnTo>
                <a:lnTo>
                  <a:pt x="0" y="0"/>
                </a:lnTo>
                <a:lnTo>
                  <a:pt x="0" y="320675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latin typeface="+mj-lt"/>
            </a:endParaRPr>
          </a:p>
        </p:txBody>
      </p:sp>
      <p:sp>
        <p:nvSpPr>
          <p:cNvPr id="32" name="object 30"/>
          <p:cNvSpPr/>
          <p:nvPr/>
        </p:nvSpPr>
        <p:spPr>
          <a:xfrm>
            <a:off x="6523101" y="2308386"/>
            <a:ext cx="1606550" cy="2836926"/>
          </a:xfrm>
          <a:prstGeom prst="rect">
            <a:avLst/>
          </a:prstGeom>
          <a:blipFill>
            <a:blip r:embed="rId6" cstate="print"/>
            <a:stretch>
              <a:fillRect/>
            </a:stretch>
          </a:blipFill>
        </p:spPr>
        <p:txBody>
          <a:bodyPr wrap="square" lIns="0" tIns="0" rIns="0" bIns="0" rtlCol="0"/>
          <a:lstStyle/>
          <a:p>
            <a:endParaRPr>
              <a:latin typeface="+mj-lt"/>
            </a:endParaRPr>
          </a:p>
        </p:txBody>
      </p:sp>
      <p:sp>
        <p:nvSpPr>
          <p:cNvPr id="33" name="object 31"/>
          <p:cNvSpPr/>
          <p:nvPr/>
        </p:nvSpPr>
        <p:spPr>
          <a:xfrm>
            <a:off x="3034283" y="3488215"/>
            <a:ext cx="457199" cy="419100"/>
          </a:xfrm>
          <a:prstGeom prst="rect">
            <a:avLst/>
          </a:prstGeom>
          <a:blipFill>
            <a:blip r:embed="rId7" cstate="print"/>
            <a:stretch>
              <a:fillRect/>
            </a:stretch>
          </a:blipFill>
        </p:spPr>
        <p:txBody>
          <a:bodyPr wrap="square" lIns="0" tIns="0" rIns="0" bIns="0" rtlCol="0"/>
          <a:lstStyle/>
          <a:p>
            <a:endParaRPr>
              <a:latin typeface="+mj-lt"/>
            </a:endParaRPr>
          </a:p>
        </p:txBody>
      </p:sp>
      <p:sp>
        <p:nvSpPr>
          <p:cNvPr id="34" name="object 32"/>
          <p:cNvSpPr/>
          <p:nvPr/>
        </p:nvSpPr>
        <p:spPr>
          <a:xfrm>
            <a:off x="5795771" y="3477547"/>
            <a:ext cx="480060" cy="417575"/>
          </a:xfrm>
          <a:prstGeom prst="rect">
            <a:avLst/>
          </a:prstGeom>
          <a:blipFill>
            <a:blip r:embed="rId8" cstate="print"/>
            <a:stretch>
              <a:fillRect/>
            </a:stretch>
          </a:blipFill>
        </p:spPr>
        <p:txBody>
          <a:bodyPr wrap="square" lIns="0" tIns="0" rIns="0" bIns="0" rtlCol="0"/>
          <a:lstStyle/>
          <a:p>
            <a:endParaRPr>
              <a:latin typeface="+mj-lt"/>
            </a:endParaRPr>
          </a:p>
        </p:txBody>
      </p:sp>
      <p:sp>
        <p:nvSpPr>
          <p:cNvPr id="36" name="object 34"/>
          <p:cNvSpPr/>
          <p:nvPr/>
        </p:nvSpPr>
        <p:spPr>
          <a:xfrm>
            <a:off x="3707904" y="4338410"/>
            <a:ext cx="927100" cy="881062"/>
          </a:xfrm>
          <a:prstGeom prst="rect">
            <a:avLst/>
          </a:prstGeom>
          <a:blipFill>
            <a:blip r:embed="rId9" cstate="print"/>
            <a:stretch>
              <a:fillRect/>
            </a:stretch>
          </a:blipFill>
        </p:spPr>
        <p:txBody>
          <a:bodyPr wrap="square" lIns="0" tIns="0" rIns="0" bIns="0" rtlCol="0"/>
          <a:lstStyle/>
          <a:p>
            <a:endParaRPr>
              <a:latin typeface="+mj-lt"/>
            </a:endParaRPr>
          </a:p>
        </p:txBody>
      </p:sp>
      <p:sp>
        <p:nvSpPr>
          <p:cNvPr id="37" name="object 35"/>
          <p:cNvSpPr/>
          <p:nvPr/>
        </p:nvSpPr>
        <p:spPr>
          <a:xfrm>
            <a:off x="4787916" y="3268734"/>
            <a:ext cx="839787" cy="819150"/>
          </a:xfrm>
          <a:prstGeom prst="rect">
            <a:avLst/>
          </a:prstGeom>
          <a:blipFill>
            <a:blip r:embed="rId10" cstate="print"/>
            <a:stretch>
              <a:fillRect/>
            </a:stretch>
          </a:blipFill>
        </p:spPr>
        <p:txBody>
          <a:bodyPr wrap="square" lIns="0" tIns="0" rIns="0" bIns="0" rtlCol="0"/>
          <a:lstStyle/>
          <a:p>
            <a:endParaRPr>
              <a:latin typeface="+mj-lt"/>
            </a:endParaRPr>
          </a:p>
        </p:txBody>
      </p:sp>
      <p:sp>
        <p:nvSpPr>
          <p:cNvPr id="41" name="object 10"/>
          <p:cNvSpPr txBox="1"/>
          <p:nvPr/>
        </p:nvSpPr>
        <p:spPr>
          <a:xfrm>
            <a:off x="395536" y="75104"/>
            <a:ext cx="8352928" cy="768350"/>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dirty="0">
                <a:ea typeface="宋体" panose="02010600030101010101" pitchFamily="2" charset="-122"/>
              </a:rPr>
              <a:t>为何投资摩洛哥旅游业？</a:t>
            </a:r>
          </a:p>
          <a:p>
            <a:r>
              <a:rPr lang="zh-CN" altLang="en-US" sz="2000" dirty="0" smtClean="0">
                <a:ea typeface="宋体" panose="02010600030101010101" pitchFamily="2" charset="-122"/>
              </a:rPr>
              <a:t>近年来，摩洛哥旅游业已逐渐发展壮大</a:t>
            </a:r>
          </a:p>
        </p:txBody>
      </p:sp>
      <p:sp>
        <p:nvSpPr>
          <p:cNvPr id="3" name="ZoneTexte 2"/>
          <p:cNvSpPr txBox="1"/>
          <p:nvPr/>
        </p:nvSpPr>
        <p:spPr>
          <a:xfrm>
            <a:off x="1095525" y="5513524"/>
            <a:ext cx="7411793" cy="829945"/>
          </a:xfrm>
          <a:prstGeom prst="rect">
            <a:avLst/>
          </a:prstGeom>
          <a:noFill/>
        </p:spPr>
        <p:txBody>
          <a:bodyPr wrap="square" rtlCol="0">
            <a:spAutoFit/>
          </a:bodyPr>
          <a:lstStyle/>
          <a:p>
            <a:pPr algn="ctr"/>
            <a:r>
              <a:rPr lang="zh-CN" altLang="en-US" sz="2400" b="1" i="1" dirty="0">
                <a:cs typeface="Bookman Old Style" panose="02050604050505020204"/>
              </a:rPr>
              <a:t>就游客数量而言，摩洛哥已位列非洲旅游目的地榜首；</a:t>
            </a:r>
            <a:endParaRPr lang="zh-CN" altLang="en-US" sz="2400" b="1" i="1" dirty="0" smtClean="0">
              <a:cs typeface="Bookman Old Style" panose="02050604050505020204"/>
            </a:endParaRPr>
          </a:p>
          <a:p>
            <a:pPr algn="ctr"/>
            <a:r>
              <a:rPr lang="en-US" sz="2400" b="1" i="1" dirty="0" smtClean="0">
                <a:cs typeface="Bookman Old Style" panose="02050604050505020204"/>
              </a:rPr>
              <a:t>2016</a:t>
            </a:r>
            <a:r>
              <a:rPr lang="zh-CN" altLang="en-US" sz="2400" b="1" i="1" dirty="0" smtClean="0">
                <a:cs typeface="Bookman Old Style" panose="02050604050505020204"/>
              </a:rPr>
              <a:t>年投资吸引力排名第一</a:t>
            </a:r>
            <a:r>
              <a:rPr lang="en-US" sz="2400" b="1" i="1" dirty="0">
                <a:cs typeface="Bookman Old Style" panose="02050604050505020204"/>
              </a:rPr>
              <a:t> </a:t>
            </a:r>
            <a:endParaRPr lang="fr-FR" sz="2400" dirty="0"/>
          </a:p>
        </p:txBody>
      </p:sp>
      <p:pic>
        <p:nvPicPr>
          <p:cNvPr id="14338" name="Picture 2"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39078" y="2214389"/>
            <a:ext cx="805618" cy="644494"/>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77336" y="3933056"/>
            <a:ext cx="1084722" cy="395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3" name="Picture 7" descr="Image result for sheraton"/>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01015" y="4645258"/>
            <a:ext cx="715497" cy="595055"/>
          </a:xfrm>
          <a:prstGeom prst="rect">
            <a:avLst/>
          </a:prstGeom>
          <a:noFill/>
          <a:extLst>
            <a:ext uri="{909E8E84-426E-40DD-AFC4-6F175D3DCCD1}">
              <a14:hiddenFill xmlns:a14="http://schemas.microsoft.com/office/drawing/2010/main">
                <a:solidFill>
                  <a:srgbClr val="FFFFFF"/>
                </a:solidFill>
              </a14:hiddenFill>
            </a:ext>
          </a:extLst>
        </p:spPr>
      </p:pic>
      <p:pic>
        <p:nvPicPr>
          <p:cNvPr id="14345" name="Picture 9" descr="Image result for accor hotel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96186" y="2335230"/>
            <a:ext cx="1069878" cy="435065"/>
          </a:xfrm>
          <a:prstGeom prst="rect">
            <a:avLst/>
          </a:prstGeom>
          <a:noFill/>
          <a:extLst>
            <a:ext uri="{909E8E84-426E-40DD-AFC4-6F175D3DCCD1}">
              <a14:hiddenFill xmlns:a14="http://schemas.microsoft.com/office/drawing/2010/main">
                <a:solidFill>
                  <a:srgbClr val="FFFFFF"/>
                </a:solidFill>
              </a14:hiddenFill>
            </a:ext>
          </a:extLst>
        </p:spPr>
      </p:pic>
      <p:pic>
        <p:nvPicPr>
          <p:cNvPr id="14347" name="Picture 11" descr="Image result for four seasons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41484" y="3006680"/>
            <a:ext cx="944860" cy="626709"/>
          </a:xfrm>
          <a:prstGeom prst="rect">
            <a:avLst/>
          </a:prstGeom>
          <a:noFill/>
          <a:extLst>
            <a:ext uri="{909E8E84-426E-40DD-AFC4-6F175D3DCCD1}">
              <a14:hiddenFill xmlns:a14="http://schemas.microsoft.com/office/drawing/2010/main">
                <a:solidFill>
                  <a:srgbClr val="FFFFFF"/>
                </a:solidFill>
              </a14:hiddenFill>
            </a:ext>
          </a:extLst>
        </p:spPr>
      </p:pic>
      <p:pic>
        <p:nvPicPr>
          <p:cNvPr id="14355" name="Picture 19" descr="Banyan Tree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3378" y="3759042"/>
            <a:ext cx="760309" cy="803952"/>
          </a:xfrm>
          <a:prstGeom prst="rect">
            <a:avLst/>
          </a:prstGeom>
          <a:noFill/>
          <a:extLst>
            <a:ext uri="{909E8E84-426E-40DD-AFC4-6F175D3DCCD1}">
              <a14:hiddenFill xmlns:a14="http://schemas.microsoft.com/office/drawing/2010/main">
                <a:solidFill>
                  <a:srgbClr val="FFFFFF"/>
                </a:solidFill>
              </a14:hiddenFill>
            </a:ext>
          </a:extLst>
        </p:spPr>
      </p:pic>
      <p:pic>
        <p:nvPicPr>
          <p:cNvPr id="14357" name="Picture 21"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704332" y="2267144"/>
            <a:ext cx="898732" cy="870110"/>
          </a:xfrm>
          <a:prstGeom prst="rect">
            <a:avLst/>
          </a:prstGeom>
          <a:noFill/>
          <a:extLst>
            <a:ext uri="{909E8E84-426E-40DD-AFC4-6F175D3DCCD1}">
              <a14:hiddenFill xmlns:a14="http://schemas.microsoft.com/office/drawing/2010/main">
                <a:solidFill>
                  <a:srgbClr val="FFFFFF"/>
                </a:solidFill>
              </a14:hiddenFill>
            </a:ext>
          </a:extLst>
        </p:spPr>
      </p:pic>
      <p:pic>
        <p:nvPicPr>
          <p:cNvPr id="14359" name="Picture 23" descr="Related imag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692648" y="2204864"/>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4362" name="Picture 26" descr="Image result for somed logo"/>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782662" y="3300502"/>
            <a:ext cx="876857" cy="755613"/>
          </a:xfrm>
          <a:prstGeom prst="rect">
            <a:avLst/>
          </a:prstGeom>
          <a:noFill/>
          <a:extLst>
            <a:ext uri="{909E8E84-426E-40DD-AFC4-6F175D3DCCD1}">
              <a14:hiddenFill xmlns:a14="http://schemas.microsoft.com/office/drawing/2010/main">
                <a:solidFill>
                  <a:srgbClr val="FFFFFF"/>
                </a:solidFill>
              </a14:hiddenFill>
            </a:ext>
          </a:extLst>
        </p:spPr>
      </p:pic>
      <p:pic>
        <p:nvPicPr>
          <p:cNvPr id="14363" name="Picture 2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704422" y="4484033"/>
            <a:ext cx="961884" cy="7096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6"/>
          <p:cNvSpPr/>
          <p:nvPr/>
        </p:nvSpPr>
        <p:spPr>
          <a:xfrm>
            <a:off x="0" y="6259511"/>
            <a:ext cx="414655" cy="598805"/>
          </a:xfrm>
          <a:custGeom>
            <a:avLst/>
            <a:gdLst/>
            <a:ahLst/>
            <a:cxnLst/>
            <a:rect l="l" t="t" r="r" b="b"/>
            <a:pathLst>
              <a:path w="414655" h="598804">
                <a:moveTo>
                  <a:pt x="414336" y="598485"/>
                </a:moveTo>
                <a:lnTo>
                  <a:pt x="414336" y="0"/>
                </a:lnTo>
                <a:lnTo>
                  <a:pt x="0" y="0"/>
                </a:lnTo>
                <a:lnTo>
                  <a:pt x="0" y="598485"/>
                </a:lnTo>
                <a:lnTo>
                  <a:pt x="414336" y="598485"/>
                </a:lnTo>
                <a:close/>
              </a:path>
            </a:pathLst>
          </a:cu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9" name="object 7"/>
          <p:cNvSpPr/>
          <p:nvPr/>
        </p:nvSpPr>
        <p:spPr>
          <a:xfrm>
            <a:off x="107505" y="980728"/>
            <a:ext cx="8928546" cy="5256559"/>
          </a:xfrm>
          <a:custGeom>
            <a:avLst/>
            <a:gdLst/>
            <a:ahLst/>
            <a:cxnLst/>
            <a:rect l="l" t="t" r="r" b="b"/>
            <a:pathLst>
              <a:path w="8702675" h="5041900">
                <a:moveTo>
                  <a:pt x="0" y="5041900"/>
                </a:moveTo>
                <a:lnTo>
                  <a:pt x="8702675" y="5041900"/>
                </a:lnTo>
                <a:lnTo>
                  <a:pt x="8702675" y="0"/>
                </a:lnTo>
                <a:lnTo>
                  <a:pt x="0" y="0"/>
                </a:lnTo>
                <a:lnTo>
                  <a:pt x="0" y="5041900"/>
                </a:lnTo>
                <a:close/>
              </a:path>
            </a:pathLst>
          </a:custGeom>
          <a:solidFill>
            <a:srgbClr val="F1F1F1"/>
          </a:solidFill>
        </p:spPr>
        <p:txBody>
          <a:bodyPr wrap="square" lIns="0" tIns="0" rIns="0" bIns="0" rtlCol="0"/>
          <a:lstStyle/>
          <a:p>
            <a:endParaRPr/>
          </a:p>
        </p:txBody>
      </p:sp>
      <p:sp>
        <p:nvSpPr>
          <p:cNvPr id="10" name="object 8"/>
          <p:cNvSpPr/>
          <p:nvPr/>
        </p:nvSpPr>
        <p:spPr>
          <a:xfrm>
            <a:off x="458787" y="6308723"/>
            <a:ext cx="2076450" cy="500062"/>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lstStyle/>
          <a:p>
            <a:endParaRPr/>
          </a:p>
        </p:txBody>
      </p:sp>
      <p:sp>
        <p:nvSpPr>
          <p:cNvPr id="67" name="object 10"/>
          <p:cNvSpPr txBox="1"/>
          <p:nvPr/>
        </p:nvSpPr>
        <p:spPr>
          <a:xfrm>
            <a:off x="395536" y="75104"/>
            <a:ext cx="8352928" cy="768350"/>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dirty="0">
                <a:ea typeface="宋体" panose="02010600030101010101" pitchFamily="2" charset="-122"/>
                <a:sym typeface="+mn-ea"/>
              </a:rPr>
              <a:t>为何投资摩洛哥旅游业？</a:t>
            </a:r>
            <a:endParaRPr dirty="0"/>
          </a:p>
          <a:p>
            <a:r>
              <a:rPr lang="zh-CN" altLang="en-US" sz="2000" dirty="0" smtClean="0">
                <a:ea typeface="宋体" panose="02010600030101010101" pitchFamily="2" charset="-122"/>
              </a:rPr>
              <a:t>一个安全稳定的环境</a:t>
            </a:r>
          </a:p>
        </p:txBody>
      </p:sp>
      <p:sp>
        <p:nvSpPr>
          <p:cNvPr id="68" name="ZoneTexte 13"/>
          <p:cNvSpPr txBox="1">
            <a:spLocks noChangeArrowheads="1"/>
          </p:cNvSpPr>
          <p:nvPr>
            <p:custDataLst>
              <p:tags r:id="rId1"/>
            </p:custDataLst>
          </p:nvPr>
        </p:nvSpPr>
        <p:spPr bwMode="auto">
          <a:xfrm>
            <a:off x="5938212" y="1413070"/>
            <a:ext cx="3065462"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dash"/>
                <a:miter lim="800000"/>
                <a:headEnd/>
                <a:tailEnd/>
              </a14:hiddenLine>
            </a:ext>
          </a:extLst>
        </p:spPr>
        <p:txBody>
          <a:bodyPr/>
          <a:lstStyle>
            <a:lvl1pPr>
              <a:defRPr sz="3200">
                <a:solidFill>
                  <a:schemeClr val="tx1"/>
                </a:solidFill>
                <a:latin typeface="Calibri" panose="020F0502020204030204" pitchFamily="34" charset="0"/>
              </a:defRPr>
            </a:lvl1pPr>
            <a:lvl2pPr>
              <a:defRPr sz="2800">
                <a:solidFill>
                  <a:schemeClr val="tx1"/>
                </a:solidFill>
                <a:latin typeface="Calibri" panose="020F0502020204030204" pitchFamily="34" charset="0"/>
              </a:defRPr>
            </a:lvl2pPr>
            <a:lvl3pPr>
              <a:defRPr sz="2400">
                <a:solidFill>
                  <a:schemeClr val="tx1"/>
                </a:solidFill>
                <a:latin typeface="Calibri" panose="020F0502020204030204" pitchFamily="34" charset="0"/>
              </a:defRPr>
            </a:lvl3pPr>
            <a:lvl4pPr>
              <a:defRPr sz="2000">
                <a:solidFill>
                  <a:schemeClr val="tx1"/>
                </a:solidFill>
                <a:latin typeface="Calibri" panose="020F0502020204030204" pitchFamily="34" charset="0"/>
              </a:defRPr>
            </a:lvl4pPr>
            <a:lvl5pPr>
              <a:defRPr sz="2000">
                <a:solidFill>
                  <a:schemeClr val="tx1"/>
                </a:solidFill>
                <a:latin typeface="Calibri" panose="020F0502020204030204" pitchFamily="34" charset="0"/>
              </a:defRPr>
            </a:lvl5pPr>
            <a:lvl6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6pPr>
            <a:lvl7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7pPr>
            <a:lvl8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8pPr>
            <a:lvl9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a:r>
              <a:rPr lang="zh-CN" altLang="en-US" sz="1800" i="1" dirty="0">
                <a:solidFill>
                  <a:srgbClr val="000000"/>
                </a:solidFill>
                <a:latin typeface="+mj-lt"/>
              </a:rPr>
              <a:t>尽管面临全球金融危机，但自</a:t>
            </a:r>
            <a:r>
              <a:rPr lang="en-US" altLang="zh-CN" sz="1800" i="1" dirty="0">
                <a:solidFill>
                  <a:srgbClr val="000000"/>
                </a:solidFill>
                <a:latin typeface="+mj-lt"/>
              </a:rPr>
              <a:t>2010</a:t>
            </a:r>
            <a:r>
              <a:rPr lang="zh-CN" altLang="en-US" sz="1800" i="1" dirty="0">
                <a:solidFill>
                  <a:srgbClr val="000000"/>
                </a:solidFill>
                <a:latin typeface="+mj-lt"/>
              </a:rPr>
              <a:t>年以来，</a:t>
            </a:r>
            <a:r>
              <a:rPr lang="zh-CN" altLang="en-US" sz="1800" b="1" i="1" dirty="0">
                <a:solidFill>
                  <a:srgbClr val="000000"/>
                </a:solidFill>
                <a:latin typeface="+mj-lt"/>
              </a:rPr>
              <a:t>摩洛哥GDP年均率为</a:t>
            </a:r>
            <a:r>
              <a:rPr lang="en-US" altLang="zh-CN" sz="1800" b="1" i="1" dirty="0">
                <a:solidFill>
                  <a:srgbClr val="000000"/>
                </a:solidFill>
                <a:latin typeface="+mj-lt"/>
              </a:rPr>
              <a:t>4.5%</a:t>
            </a:r>
            <a:r>
              <a:rPr lang="zh-CN" altLang="en-US" sz="1800" b="1" i="1" dirty="0">
                <a:solidFill>
                  <a:srgbClr val="000000"/>
                </a:solidFill>
                <a:latin typeface="+mj-lt"/>
              </a:rPr>
              <a:t>，呈现了很强的韧性</a:t>
            </a:r>
            <a:r>
              <a:rPr lang="zh-CN" altLang="en-US" sz="1800" i="1" dirty="0">
                <a:solidFill>
                  <a:srgbClr val="000000"/>
                </a:solidFill>
                <a:latin typeface="+mj-lt"/>
              </a:rPr>
              <a:t>。</a:t>
            </a:r>
            <a:endParaRPr lang="en-US" altLang="fr-FR" sz="1800" b="1" dirty="0">
              <a:solidFill>
                <a:srgbClr val="000000"/>
              </a:solidFill>
              <a:latin typeface="+mj-lt"/>
            </a:endParaRPr>
          </a:p>
          <a:p>
            <a:pPr algn="just"/>
            <a:endParaRPr lang="en-US" altLang="fr-FR" sz="1600" b="1" dirty="0">
              <a:solidFill>
                <a:srgbClr val="000000"/>
              </a:solidFill>
              <a:latin typeface="+mj-lt"/>
            </a:endParaRPr>
          </a:p>
          <a:p>
            <a:pPr algn="just"/>
            <a:endParaRPr lang="en-US" altLang="fr-FR" sz="1600" b="1" dirty="0">
              <a:solidFill>
                <a:srgbClr val="000000"/>
              </a:solidFill>
              <a:latin typeface="+mj-lt"/>
            </a:endParaRPr>
          </a:p>
        </p:txBody>
      </p:sp>
      <p:sp>
        <p:nvSpPr>
          <p:cNvPr id="69" name="ZoneTexte 13"/>
          <p:cNvSpPr txBox="1">
            <a:spLocks noChangeArrowheads="1"/>
          </p:cNvSpPr>
          <p:nvPr>
            <p:custDataLst>
              <p:tags r:id="rId2"/>
            </p:custDataLst>
          </p:nvPr>
        </p:nvSpPr>
        <p:spPr bwMode="auto">
          <a:xfrm>
            <a:off x="5926777" y="2526348"/>
            <a:ext cx="2965703"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dash"/>
                <a:miter lim="800000"/>
                <a:headEnd/>
                <a:tailEnd/>
              </a14:hiddenLine>
            </a:ext>
          </a:extLst>
        </p:spPr>
        <p:txBody>
          <a:bodyPr/>
          <a:lstStyle>
            <a:lvl1pPr>
              <a:defRPr sz="3200">
                <a:solidFill>
                  <a:schemeClr val="tx1"/>
                </a:solidFill>
                <a:latin typeface="Calibri" panose="020F0502020204030204" pitchFamily="34" charset="0"/>
              </a:defRPr>
            </a:lvl1pPr>
            <a:lvl2pPr>
              <a:defRPr sz="2800">
                <a:solidFill>
                  <a:schemeClr val="tx1"/>
                </a:solidFill>
                <a:latin typeface="Calibri" panose="020F0502020204030204" pitchFamily="34" charset="0"/>
              </a:defRPr>
            </a:lvl2pPr>
            <a:lvl3pPr>
              <a:defRPr sz="2400">
                <a:solidFill>
                  <a:schemeClr val="tx1"/>
                </a:solidFill>
                <a:latin typeface="Calibri" panose="020F0502020204030204" pitchFamily="34" charset="0"/>
              </a:defRPr>
            </a:lvl3pPr>
            <a:lvl4pPr>
              <a:defRPr sz="2000">
                <a:solidFill>
                  <a:schemeClr val="tx1"/>
                </a:solidFill>
                <a:latin typeface="Calibri" panose="020F0502020204030204" pitchFamily="34" charset="0"/>
              </a:defRPr>
            </a:lvl4pPr>
            <a:lvl5pPr>
              <a:defRPr sz="2000">
                <a:solidFill>
                  <a:schemeClr val="tx1"/>
                </a:solidFill>
                <a:latin typeface="Calibri" panose="020F0502020204030204" pitchFamily="34" charset="0"/>
              </a:defRPr>
            </a:lvl5pPr>
            <a:lvl6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6pPr>
            <a:lvl7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7pPr>
            <a:lvl8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8pPr>
            <a:lvl9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a:r>
              <a:rPr lang="zh-CN" altLang="en-US" sz="1800" i="1" dirty="0" smtClean="0">
                <a:solidFill>
                  <a:srgbClr val="000000"/>
                </a:solidFill>
                <a:latin typeface="+mj-lt"/>
              </a:rPr>
              <a:t>摩洛哥</a:t>
            </a:r>
            <a:r>
              <a:rPr lang="zh-CN" altLang="en-US" sz="1800" b="1" i="1" dirty="0" smtClean="0">
                <a:solidFill>
                  <a:srgbClr val="000000"/>
                </a:solidFill>
                <a:latin typeface="+mj-lt"/>
              </a:rPr>
              <a:t>经济多元化</a:t>
            </a:r>
            <a:r>
              <a:rPr lang="zh-CN" altLang="en-US" sz="1800" i="1" dirty="0" smtClean="0">
                <a:solidFill>
                  <a:srgbClr val="000000"/>
                </a:solidFill>
                <a:latin typeface="+mj-lt"/>
              </a:rPr>
              <a:t>，依赖可再生能源、磷酸盐、食品和旅游业。尽管中东和北非地区持续动荡不安，但</a:t>
            </a:r>
            <a:r>
              <a:rPr lang="zh-CN" altLang="en-US" sz="1800" b="1" i="1" dirty="0" smtClean="0">
                <a:solidFill>
                  <a:srgbClr val="000000"/>
                </a:solidFill>
                <a:latin typeface="+mj-lt"/>
              </a:rPr>
              <a:t>摩洛哥游客数量从未减少</a:t>
            </a:r>
            <a:r>
              <a:rPr lang="zh-CN" altLang="en-US" sz="1800" i="1" dirty="0" smtClean="0">
                <a:solidFill>
                  <a:srgbClr val="000000"/>
                </a:solidFill>
                <a:latin typeface="+mj-lt"/>
              </a:rPr>
              <a:t>。</a:t>
            </a:r>
          </a:p>
          <a:p>
            <a:pPr algn="just"/>
            <a:endParaRPr lang="en-US" altLang="fr-FR" sz="1800" b="1" dirty="0">
              <a:solidFill>
                <a:srgbClr val="000000"/>
              </a:solidFill>
              <a:latin typeface="+mj-lt"/>
            </a:endParaRPr>
          </a:p>
          <a:p>
            <a:pPr algn="just"/>
            <a:endParaRPr lang="en-US" altLang="fr-FR" sz="1800" b="1" dirty="0">
              <a:solidFill>
                <a:srgbClr val="000000"/>
              </a:solidFill>
              <a:latin typeface="+mj-lt"/>
            </a:endParaRPr>
          </a:p>
          <a:p>
            <a:pPr algn="just"/>
            <a:endParaRPr lang="en-US" altLang="fr-FR" sz="1800" b="1" dirty="0">
              <a:solidFill>
                <a:srgbClr val="000000"/>
              </a:solidFill>
              <a:latin typeface="+mj-lt"/>
            </a:endParaRPr>
          </a:p>
          <a:p>
            <a:pPr algn="just"/>
            <a:endParaRPr lang="en-US" altLang="fr-FR" sz="1800" b="1" dirty="0">
              <a:solidFill>
                <a:srgbClr val="000000"/>
              </a:solidFill>
              <a:latin typeface="+mj-lt"/>
            </a:endParaRPr>
          </a:p>
          <a:p>
            <a:pPr algn="just"/>
            <a:endParaRPr lang="en-US" altLang="fr-FR" sz="1800" b="1" dirty="0">
              <a:solidFill>
                <a:srgbClr val="000000"/>
              </a:solidFill>
              <a:latin typeface="+mj-lt"/>
            </a:endParaRPr>
          </a:p>
        </p:txBody>
      </p:sp>
      <p:sp>
        <p:nvSpPr>
          <p:cNvPr id="70" name="ZoneTexte 13"/>
          <p:cNvSpPr txBox="1">
            <a:spLocks noChangeArrowheads="1"/>
          </p:cNvSpPr>
          <p:nvPr>
            <p:custDataLst>
              <p:tags r:id="rId3"/>
            </p:custDataLst>
          </p:nvPr>
        </p:nvSpPr>
        <p:spPr bwMode="auto">
          <a:xfrm>
            <a:off x="5938520" y="4000529"/>
            <a:ext cx="3130550"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dash"/>
                <a:miter lim="800000"/>
                <a:headEnd/>
                <a:tailEnd/>
              </a14:hiddenLine>
            </a:ext>
          </a:extLst>
        </p:spPr>
        <p:txBody>
          <a:bodyPr/>
          <a:lstStyle>
            <a:lvl1pPr>
              <a:defRPr sz="3200">
                <a:solidFill>
                  <a:schemeClr val="tx1"/>
                </a:solidFill>
                <a:latin typeface="Calibri" panose="020F0502020204030204" pitchFamily="34" charset="0"/>
              </a:defRPr>
            </a:lvl1pPr>
            <a:lvl2pPr>
              <a:defRPr sz="2800">
                <a:solidFill>
                  <a:schemeClr val="tx1"/>
                </a:solidFill>
                <a:latin typeface="Calibri" panose="020F0502020204030204" pitchFamily="34" charset="0"/>
              </a:defRPr>
            </a:lvl2pPr>
            <a:lvl3pPr>
              <a:defRPr sz="2400">
                <a:solidFill>
                  <a:schemeClr val="tx1"/>
                </a:solidFill>
                <a:latin typeface="Calibri" panose="020F0502020204030204" pitchFamily="34" charset="0"/>
              </a:defRPr>
            </a:lvl3pPr>
            <a:lvl4pPr>
              <a:defRPr sz="2000">
                <a:solidFill>
                  <a:schemeClr val="tx1"/>
                </a:solidFill>
                <a:latin typeface="Calibri" panose="020F0502020204030204" pitchFamily="34" charset="0"/>
              </a:defRPr>
            </a:lvl4pPr>
            <a:lvl5pPr>
              <a:defRPr sz="2000">
                <a:solidFill>
                  <a:schemeClr val="tx1"/>
                </a:solidFill>
                <a:latin typeface="Calibri" panose="020F0502020204030204" pitchFamily="34" charset="0"/>
              </a:defRPr>
            </a:lvl5pPr>
            <a:lvl6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6pPr>
            <a:lvl7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7pPr>
            <a:lvl8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8pPr>
            <a:lvl9pPr eaLnBrk="0" fontAlgn="base" hangingPunct="0">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a:r>
              <a:rPr lang="zh-CN" altLang="en-US" sz="1800" i="1" dirty="0">
                <a:solidFill>
                  <a:srgbClr val="000000"/>
                </a:solidFill>
                <a:latin typeface="+mj-lt"/>
              </a:rPr>
              <a:t>连续</a:t>
            </a:r>
            <a:r>
              <a:rPr lang="en-US" altLang="zh-CN" sz="1800" i="1" dirty="0">
                <a:solidFill>
                  <a:srgbClr val="000000"/>
                </a:solidFill>
                <a:latin typeface="+mj-lt"/>
              </a:rPr>
              <a:t>9</a:t>
            </a:r>
            <a:r>
              <a:rPr lang="zh-CN" altLang="en-US" sz="1800" i="1" dirty="0">
                <a:solidFill>
                  <a:srgbClr val="000000"/>
                </a:solidFill>
                <a:latin typeface="+mj-lt"/>
              </a:rPr>
              <a:t>年，</a:t>
            </a:r>
            <a:r>
              <a:rPr lang="zh-CN" altLang="en-US" sz="1800" b="1" i="1" dirty="0">
                <a:solidFill>
                  <a:srgbClr val="000000"/>
                </a:solidFill>
                <a:latin typeface="+mj-lt"/>
              </a:rPr>
              <a:t>失业率降至</a:t>
            </a:r>
            <a:r>
              <a:rPr lang="en-US" altLang="zh-CN" sz="1800" b="1" i="1" dirty="0">
                <a:solidFill>
                  <a:srgbClr val="000000"/>
                </a:solidFill>
                <a:latin typeface="+mj-lt"/>
              </a:rPr>
              <a:t>10%</a:t>
            </a:r>
            <a:r>
              <a:rPr lang="zh-CN" altLang="en-US" sz="1800" b="1" i="1" dirty="0">
                <a:solidFill>
                  <a:srgbClr val="000000"/>
                </a:solidFill>
                <a:latin typeface="+mj-lt"/>
              </a:rPr>
              <a:t>以下</a:t>
            </a:r>
            <a:r>
              <a:rPr lang="zh-CN" altLang="en-US" sz="1800" i="1" dirty="0">
                <a:solidFill>
                  <a:srgbClr val="000000"/>
                </a:solidFill>
                <a:latin typeface="+mj-lt"/>
              </a:rPr>
              <a:t>。</a:t>
            </a:r>
            <a:endParaRPr lang="zh-CN" altLang="en-US" sz="1800" b="1" i="1" dirty="0">
              <a:solidFill>
                <a:srgbClr val="000000"/>
              </a:solidFill>
              <a:latin typeface="+mj-lt"/>
            </a:endParaRPr>
          </a:p>
          <a:p>
            <a:pPr algn="just"/>
            <a:endParaRPr lang="en-US" altLang="fr-FR" sz="1800" b="1" i="1" dirty="0">
              <a:solidFill>
                <a:srgbClr val="000000"/>
              </a:solidFill>
              <a:latin typeface="+mj-lt"/>
            </a:endParaRPr>
          </a:p>
        </p:txBody>
      </p:sp>
      <p:pic>
        <p:nvPicPr>
          <p:cNvPr id="57" name="Image 56" descr="http://www.invest.gov.ma/upload/wysiwyg/images/Morocco%20Overview%20Veng%20700x499%20px(2).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9512" y="1412776"/>
            <a:ext cx="5628112" cy="4320480"/>
          </a:xfrm>
          <a:prstGeom prst="rect">
            <a:avLst/>
          </a:prstGeom>
          <a:noFill/>
          <a:ln>
            <a:noFill/>
          </a:ln>
        </p:spPr>
      </p:pic>
      <p:sp>
        <p:nvSpPr>
          <p:cNvPr id="2" name="文本框 1"/>
          <p:cNvSpPr txBox="1"/>
          <p:nvPr/>
        </p:nvSpPr>
        <p:spPr>
          <a:xfrm>
            <a:off x="4038600" y="1571625"/>
            <a:ext cx="1572895" cy="460375"/>
          </a:xfrm>
          <a:prstGeom prst="rect">
            <a:avLst/>
          </a:prstGeom>
          <a:noFill/>
        </p:spPr>
        <p:txBody>
          <a:bodyPr wrap="square" rtlCol="0">
            <a:spAutoFit/>
          </a:bodyPr>
          <a:lstStyle/>
          <a:p>
            <a:r>
              <a:rPr lang="zh-CN" altLang="zh-CN" sz="800"/>
              <a:t>货币</a:t>
            </a:r>
          </a:p>
          <a:p>
            <a:r>
              <a:rPr lang="zh-CN" altLang="zh-CN" sz="800"/>
              <a:t>摩洛哥迪拉姆（</a:t>
            </a:r>
            <a:r>
              <a:rPr lang="en-US" altLang="zh-CN" sz="800"/>
              <a:t>MAD</a:t>
            </a:r>
            <a:r>
              <a:rPr lang="zh-CN" altLang="en-US" sz="800"/>
              <a:t>）</a:t>
            </a:r>
          </a:p>
          <a:p>
            <a:r>
              <a:rPr lang="en-US" altLang="zh-CN" sz="800"/>
              <a:t>1</a:t>
            </a:r>
            <a:r>
              <a:rPr lang="zh-CN" altLang="en-US" sz="800"/>
              <a:t>美元：</a:t>
            </a:r>
            <a:r>
              <a:rPr lang="en-US" altLang="zh-CN" sz="800"/>
              <a:t>9.8232</a:t>
            </a:r>
            <a:r>
              <a:rPr lang="zh-CN" altLang="en-US" sz="800"/>
              <a:t>迪拉姆（</a:t>
            </a:r>
            <a:r>
              <a:rPr lang="en-US" altLang="zh-CN" sz="800"/>
              <a:t>2016</a:t>
            </a:r>
            <a:r>
              <a:rPr lang="zh-CN" altLang="en-US" sz="800"/>
              <a:t>年）</a:t>
            </a:r>
          </a:p>
        </p:txBody>
      </p:sp>
      <p:sp>
        <p:nvSpPr>
          <p:cNvPr id="3" name="文本框 2"/>
          <p:cNvSpPr txBox="1"/>
          <p:nvPr/>
        </p:nvSpPr>
        <p:spPr>
          <a:xfrm>
            <a:off x="4039235" y="3153410"/>
            <a:ext cx="1768475" cy="1076325"/>
          </a:xfrm>
          <a:prstGeom prst="rect">
            <a:avLst/>
          </a:prstGeom>
          <a:noFill/>
        </p:spPr>
        <p:txBody>
          <a:bodyPr wrap="square" rtlCol="0">
            <a:spAutoFit/>
          </a:bodyPr>
          <a:lstStyle/>
          <a:p>
            <a:r>
              <a:rPr lang="zh-CN" altLang="zh-CN" sz="800"/>
              <a:t>基本信息</a:t>
            </a:r>
          </a:p>
          <a:p>
            <a:r>
              <a:rPr lang="zh-CN" altLang="en-US" sz="800"/>
              <a:t>首都：拉巴特</a:t>
            </a:r>
          </a:p>
          <a:p>
            <a:r>
              <a:rPr lang="zh-CN" altLang="en-US" sz="800"/>
              <a:t>制服体系：民主和社会君主立宪制</a:t>
            </a:r>
          </a:p>
          <a:p>
            <a:r>
              <a:rPr lang="zh-CN" altLang="en-US" sz="800"/>
              <a:t>位置：北非</a:t>
            </a:r>
          </a:p>
          <a:p>
            <a:r>
              <a:rPr lang="zh-CN" altLang="en-US" sz="800"/>
              <a:t>面积：</a:t>
            </a:r>
            <a:r>
              <a:rPr lang="en-US" altLang="zh-CN" sz="800"/>
              <a:t>710850</a:t>
            </a:r>
            <a:r>
              <a:rPr lang="zh-CN" altLang="en-US" sz="800"/>
              <a:t>平方公里</a:t>
            </a:r>
          </a:p>
          <a:p>
            <a:r>
              <a:rPr lang="zh-CN" altLang="en-US" sz="800"/>
              <a:t>气候：地中海气候</a:t>
            </a:r>
          </a:p>
          <a:p>
            <a:r>
              <a:rPr lang="zh-CN" altLang="en-US" sz="800"/>
              <a:t>时区：</a:t>
            </a:r>
            <a:r>
              <a:rPr lang="en-US" sz="800"/>
              <a:t>GMT</a:t>
            </a:r>
            <a:r>
              <a:rPr sz="800"/>
              <a:t>（夏时令+1小时）</a:t>
            </a:r>
          </a:p>
          <a:p>
            <a:endParaRPr lang="zh-CN" altLang="en-US" sz="800"/>
          </a:p>
        </p:txBody>
      </p:sp>
      <p:sp>
        <p:nvSpPr>
          <p:cNvPr id="4" name="文本框 3"/>
          <p:cNvSpPr txBox="1"/>
          <p:nvPr/>
        </p:nvSpPr>
        <p:spPr>
          <a:xfrm>
            <a:off x="4039235" y="4281805"/>
            <a:ext cx="1572895" cy="460375"/>
          </a:xfrm>
          <a:prstGeom prst="rect">
            <a:avLst/>
          </a:prstGeom>
          <a:noFill/>
        </p:spPr>
        <p:txBody>
          <a:bodyPr wrap="square" rtlCol="0">
            <a:spAutoFit/>
          </a:bodyPr>
          <a:lstStyle/>
          <a:p>
            <a:r>
              <a:rPr lang="zh-CN" altLang="zh-CN" sz="800"/>
              <a:t>外商直接投资</a:t>
            </a:r>
          </a:p>
          <a:p>
            <a:r>
              <a:rPr lang="en-US" altLang="zh-CN" sz="800"/>
              <a:t>228</a:t>
            </a:r>
            <a:r>
              <a:rPr lang="zh-CN" altLang="en-US" sz="800"/>
              <a:t>亿迪拉姆（</a:t>
            </a:r>
            <a:r>
              <a:rPr lang="en-US" altLang="zh-CN" sz="800"/>
              <a:t>=23</a:t>
            </a:r>
            <a:r>
              <a:rPr lang="zh-CN" altLang="en-US" sz="800"/>
              <a:t>亿美元）</a:t>
            </a:r>
          </a:p>
          <a:p>
            <a:endParaRPr lang="zh-CN" altLang="en-US" sz="800"/>
          </a:p>
        </p:txBody>
      </p:sp>
      <p:sp>
        <p:nvSpPr>
          <p:cNvPr id="5" name="文本框 4"/>
          <p:cNvSpPr txBox="1"/>
          <p:nvPr/>
        </p:nvSpPr>
        <p:spPr>
          <a:xfrm>
            <a:off x="4354195" y="4587875"/>
            <a:ext cx="1572895" cy="1076325"/>
          </a:xfrm>
          <a:prstGeom prst="rect">
            <a:avLst/>
          </a:prstGeom>
          <a:noFill/>
        </p:spPr>
        <p:txBody>
          <a:bodyPr wrap="square" rtlCol="0">
            <a:spAutoFit/>
          </a:bodyPr>
          <a:lstStyle/>
          <a:p>
            <a:r>
              <a:rPr lang="zh-CN" altLang="zh-CN" sz="800"/>
              <a:t>人口</a:t>
            </a:r>
          </a:p>
          <a:p>
            <a:r>
              <a:rPr lang="zh-CN" altLang="en-US" sz="800"/>
              <a:t>人口数量：</a:t>
            </a:r>
            <a:r>
              <a:rPr lang="en-US" altLang="zh-CN" sz="800"/>
              <a:t>3450</a:t>
            </a:r>
            <a:r>
              <a:rPr lang="zh-CN" altLang="en-US" sz="800"/>
              <a:t>万</a:t>
            </a:r>
          </a:p>
          <a:p>
            <a:r>
              <a:rPr lang="zh-CN" altLang="en-US" sz="800"/>
              <a:t>活动人口：</a:t>
            </a:r>
            <a:r>
              <a:rPr lang="en-US" altLang="zh-CN" sz="800"/>
              <a:t>1180</a:t>
            </a:r>
            <a:r>
              <a:rPr lang="zh-CN" altLang="en-US" sz="800"/>
              <a:t>万</a:t>
            </a:r>
          </a:p>
          <a:p>
            <a:r>
              <a:rPr lang="zh-CN" altLang="en-US" sz="800"/>
              <a:t>语言：阿拉伯语和 柏柏尔语（官方）</a:t>
            </a:r>
          </a:p>
          <a:p>
            <a:r>
              <a:rPr lang="zh-CN" altLang="en-US" sz="800"/>
              <a:t>法语（</a:t>
            </a:r>
            <a:r>
              <a:rPr lang="en-US" altLang="zh-CN" sz="800"/>
              <a:t>1000</a:t>
            </a:r>
            <a:r>
              <a:rPr lang="zh-CN" altLang="en-US" sz="800"/>
              <a:t>万人）</a:t>
            </a:r>
          </a:p>
          <a:p>
            <a:r>
              <a:rPr lang="zh-CN" altLang="en-US" sz="800"/>
              <a:t>西班牙语（</a:t>
            </a:r>
            <a:r>
              <a:rPr lang="en-US" altLang="zh-CN" sz="800"/>
              <a:t>500</a:t>
            </a:r>
            <a:r>
              <a:rPr lang="zh-CN" altLang="en-US" sz="800"/>
              <a:t>万人）</a:t>
            </a:r>
          </a:p>
          <a:p>
            <a:r>
              <a:rPr lang="zh-CN" altLang="en-US" sz="800"/>
              <a:t>大部分人都会说英语</a:t>
            </a:r>
          </a:p>
        </p:txBody>
      </p:sp>
      <p:sp>
        <p:nvSpPr>
          <p:cNvPr id="6" name="文本框 5"/>
          <p:cNvSpPr txBox="1"/>
          <p:nvPr/>
        </p:nvSpPr>
        <p:spPr>
          <a:xfrm>
            <a:off x="1204595" y="4181475"/>
            <a:ext cx="1572895" cy="706755"/>
          </a:xfrm>
          <a:prstGeom prst="rect">
            <a:avLst/>
          </a:prstGeom>
          <a:noFill/>
        </p:spPr>
        <p:txBody>
          <a:bodyPr wrap="square" rtlCol="0">
            <a:spAutoFit/>
          </a:bodyPr>
          <a:lstStyle/>
          <a:p>
            <a:r>
              <a:rPr lang="zh-CN" altLang="zh-CN" sz="800"/>
              <a:t>贸易</a:t>
            </a:r>
          </a:p>
          <a:p>
            <a:r>
              <a:rPr lang="zh-CN" altLang="en-US" sz="800"/>
              <a:t>出口：</a:t>
            </a:r>
          </a:p>
          <a:p>
            <a:r>
              <a:rPr lang="en-US" altLang="zh-CN" sz="800"/>
              <a:t>3347</a:t>
            </a:r>
            <a:r>
              <a:rPr lang="zh-CN" altLang="en-US" sz="800"/>
              <a:t>亿迪拉姆（</a:t>
            </a:r>
            <a:r>
              <a:rPr lang="en-US" altLang="zh-CN" sz="800"/>
              <a:t>=341</a:t>
            </a:r>
            <a:r>
              <a:rPr lang="zh-CN" altLang="en-US" sz="800"/>
              <a:t>亿美元）</a:t>
            </a:r>
          </a:p>
          <a:p>
            <a:r>
              <a:rPr lang="zh-CN" altLang="en-US" sz="800"/>
              <a:t>进口：</a:t>
            </a:r>
          </a:p>
          <a:p>
            <a:r>
              <a:rPr lang="en-US" altLang="zh-CN" sz="800"/>
              <a:t>4413</a:t>
            </a:r>
            <a:r>
              <a:rPr lang="zh-CN" altLang="en-US" sz="800"/>
              <a:t>亿迪拉姆（</a:t>
            </a:r>
            <a:r>
              <a:rPr lang="en-US" altLang="zh-CN" sz="800"/>
              <a:t>=449</a:t>
            </a:r>
            <a:r>
              <a:rPr lang="zh-CN" altLang="en-US" sz="800"/>
              <a:t>亿美元）</a:t>
            </a:r>
          </a:p>
        </p:txBody>
      </p:sp>
      <p:sp>
        <p:nvSpPr>
          <p:cNvPr id="7" name="文本框 6"/>
          <p:cNvSpPr txBox="1"/>
          <p:nvPr/>
        </p:nvSpPr>
        <p:spPr>
          <a:xfrm>
            <a:off x="414655" y="1412875"/>
            <a:ext cx="2212340" cy="1198880"/>
          </a:xfrm>
          <a:prstGeom prst="rect">
            <a:avLst/>
          </a:prstGeom>
          <a:noFill/>
        </p:spPr>
        <p:txBody>
          <a:bodyPr wrap="square" rtlCol="0">
            <a:spAutoFit/>
          </a:bodyPr>
          <a:lstStyle/>
          <a:p>
            <a:r>
              <a:rPr lang="zh-CN" altLang="zh-CN" sz="800"/>
              <a:t>整体经济</a:t>
            </a:r>
          </a:p>
          <a:p>
            <a:r>
              <a:rPr lang="en-US" sz="800"/>
              <a:t>GDP</a:t>
            </a:r>
            <a:r>
              <a:rPr lang="zh-CN" altLang="en-US" sz="800"/>
              <a:t>：</a:t>
            </a:r>
            <a:r>
              <a:rPr lang="en-US" altLang="zh-CN" sz="800"/>
              <a:t>1.016</a:t>
            </a:r>
            <a:r>
              <a:rPr lang="zh-CN" altLang="en-US" sz="800"/>
              <a:t>万亿迪拉姆（</a:t>
            </a:r>
            <a:r>
              <a:rPr lang="en-US" altLang="zh-CN" sz="800"/>
              <a:t>=1030</a:t>
            </a:r>
            <a:r>
              <a:rPr lang="zh-CN" altLang="en-US" sz="800"/>
              <a:t>亿美元）</a:t>
            </a:r>
          </a:p>
          <a:p>
            <a:r>
              <a:rPr lang="zh-CN" altLang="en-US" sz="800"/>
              <a:t>人均</a:t>
            </a:r>
            <a:r>
              <a:rPr lang="en-US" altLang="zh-CN" sz="800"/>
              <a:t>GDP</a:t>
            </a:r>
            <a:r>
              <a:rPr lang="zh-CN" altLang="en-US" sz="800"/>
              <a:t>：</a:t>
            </a:r>
            <a:r>
              <a:rPr lang="en-US" altLang="zh-CN" sz="800"/>
              <a:t>29464</a:t>
            </a:r>
            <a:r>
              <a:rPr lang="zh-CN" altLang="en-US" sz="800"/>
              <a:t>迪拉姆（</a:t>
            </a:r>
            <a:r>
              <a:rPr lang="en-US" altLang="zh-CN" sz="800"/>
              <a:t>=3000</a:t>
            </a:r>
            <a:r>
              <a:rPr lang="zh-CN" altLang="en-US" sz="800"/>
              <a:t>美元）</a:t>
            </a:r>
          </a:p>
          <a:p>
            <a:r>
              <a:rPr lang="zh-CN" altLang="en-US" sz="800"/>
              <a:t>增长值：</a:t>
            </a:r>
            <a:r>
              <a:rPr lang="en-US" altLang="zh-CN" sz="800"/>
              <a:t>+1.2%</a:t>
            </a:r>
          </a:p>
          <a:p>
            <a:r>
              <a:rPr lang="en-US" altLang="zh-CN" sz="800"/>
              <a:t>GDP</a:t>
            </a:r>
            <a:r>
              <a:rPr lang="zh-CN" altLang="en-US" sz="800"/>
              <a:t>分布：第一产业：</a:t>
            </a:r>
            <a:r>
              <a:rPr lang="en-US" altLang="zh-CN" sz="800"/>
              <a:t>15%</a:t>
            </a:r>
            <a:r>
              <a:rPr lang="zh-CN" altLang="en-US" sz="800"/>
              <a:t>、第二产业：</a:t>
            </a:r>
            <a:r>
              <a:rPr lang="en-US" altLang="zh-CN" sz="800"/>
              <a:t>29%</a:t>
            </a:r>
          </a:p>
          <a:p>
            <a:r>
              <a:rPr lang="en-US" altLang="zh-CN" sz="800"/>
              <a:t>                     </a:t>
            </a:r>
            <a:r>
              <a:rPr lang="zh-CN" altLang="en-US" sz="800"/>
              <a:t>第三产业：</a:t>
            </a:r>
            <a:r>
              <a:rPr lang="en-US" altLang="zh-CN" sz="800"/>
              <a:t>57%</a:t>
            </a:r>
          </a:p>
          <a:p>
            <a:r>
              <a:rPr lang="zh-CN" altLang="en-US" sz="800"/>
              <a:t>通货膨胀率：</a:t>
            </a:r>
            <a:r>
              <a:rPr lang="en-US" altLang="zh-CN" sz="800"/>
              <a:t>1.6%</a:t>
            </a:r>
          </a:p>
          <a:p>
            <a:r>
              <a:rPr lang="en-US" altLang="zh-CN" sz="800"/>
              <a:t>                </a:t>
            </a:r>
          </a:p>
          <a:p>
            <a:endParaRPr lang="zh-CN" altLang="en-US" sz="80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bject 10"/>
          <p:cNvSpPr txBox="1"/>
          <p:nvPr/>
        </p:nvSpPr>
        <p:spPr>
          <a:xfrm>
            <a:off x="395536" y="61456"/>
            <a:ext cx="8352928" cy="768350"/>
          </a:xfrm>
          <a:prstGeom prst="rect">
            <a:avLst/>
          </a:prstGeom>
          <a:noFill/>
          <a:ln>
            <a:noFill/>
          </a:ln>
        </p:spPr>
        <p:txBody>
          <a:bodyPr wrap="square">
            <a:spAutoFit/>
          </a:bodyPr>
          <a:lstStyle>
            <a:defPPr>
              <a:defRPr lang="fr-FR"/>
            </a:defPPr>
            <a:lvl1pPr algn="just">
              <a:spcBef>
                <a:spcPct val="0"/>
              </a:spcBef>
              <a:buFontTx/>
              <a:buNone/>
              <a:defRPr sz="2400" b="1">
                <a:solidFill>
                  <a:schemeClr val="bg1"/>
                </a:solidFill>
                <a:latin typeface="+mj-lt"/>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ea typeface="MS PGothic" panose="020B0600070205080204" pitchFamily="34" charset="-128"/>
              </a:defRPr>
            </a:lvl9pPr>
          </a:lstStyle>
          <a:p>
            <a:r>
              <a:rPr lang="zh-CN" dirty="0">
                <a:ea typeface="宋体" panose="02010600030101010101" pitchFamily="2" charset="-122"/>
              </a:rPr>
              <a:t>为何投资摩洛哥旅游业？</a:t>
            </a:r>
          </a:p>
          <a:p>
            <a:r>
              <a:rPr lang="en-US" sz="2000" dirty="0" smtClean="0"/>
              <a:t>无与伦比的潜力</a:t>
            </a:r>
          </a:p>
        </p:txBody>
      </p:sp>
      <p:pic>
        <p:nvPicPr>
          <p:cNvPr id="12" name="Image 7" descr="maroc-voyage-sejour-desert-dunes.jpg"/>
          <p:cNvPicPr preferRelativeResize="0"/>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274959" y="2557463"/>
            <a:ext cx="1722438"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45"/>
          <p:cNvSpPr>
            <a:spLocks noChangeArrowheads="1"/>
          </p:cNvSpPr>
          <p:nvPr/>
        </p:nvSpPr>
        <p:spPr bwMode="auto">
          <a:xfrm>
            <a:off x="2178372" y="1426210"/>
            <a:ext cx="2282825" cy="847090"/>
          </a:xfrm>
          <a:prstGeom prst="rect">
            <a:avLst/>
          </a:prstGeom>
          <a:solidFill>
            <a:schemeClr val="bg1"/>
          </a:solidFill>
          <a:ln w="9525">
            <a:solidFill>
              <a:schemeClr val="accent1"/>
            </a:solidFill>
            <a:prstDash val="sysDot"/>
            <a:miter lim="800000"/>
          </a:ln>
        </p:spPr>
        <p:txBody>
          <a:bodyPr>
            <a:spAutoFit/>
          </a:bodyPr>
          <a:lstStyle/>
          <a:p>
            <a:pPr algn="ctr">
              <a:lnSpc>
                <a:spcPct val="120000"/>
              </a:lnSpc>
              <a:spcBef>
                <a:spcPts val="865"/>
              </a:spcBef>
            </a:pPr>
            <a:r>
              <a:rPr lang="zh-CN" altLang="en-US" sz="1100" b="1" dirty="0">
                <a:solidFill>
                  <a:srgbClr val="00B0F0"/>
                </a:solidFill>
                <a:latin typeface="Bookman Old Style" panose="02050604050505020204" pitchFamily="18" charset="0"/>
              </a:rPr>
              <a:t>全年温度适宜</a:t>
            </a:r>
            <a:endParaRPr lang="en-US" altLang="fr-FR" sz="1200" b="1" dirty="0">
              <a:solidFill>
                <a:srgbClr val="000000"/>
              </a:solidFill>
              <a:latin typeface="Bookman Old Style" panose="02050604050505020204" pitchFamily="18" charset="0"/>
            </a:endParaRPr>
          </a:p>
          <a:p>
            <a:pPr algn="ctr">
              <a:lnSpc>
                <a:spcPct val="120000"/>
              </a:lnSpc>
              <a:spcBef>
                <a:spcPts val="865"/>
              </a:spcBef>
            </a:pPr>
            <a:r>
              <a:rPr lang="zh-CN" altLang="en-US" sz="1200" b="1" dirty="0">
                <a:solidFill>
                  <a:srgbClr val="000000"/>
                </a:solidFill>
                <a:latin typeface="Bookman Old Style" panose="02050604050505020204" pitchFamily="18" charset="0"/>
              </a:rPr>
              <a:t>内陆地区冬季气候温暖，沿海地带夏季凉爽</a:t>
            </a:r>
            <a:r>
              <a:rPr lang="en-US" altLang="fr-FR" sz="1200" b="1" dirty="0">
                <a:solidFill>
                  <a:srgbClr val="000000"/>
                </a:solidFill>
                <a:latin typeface="Bookman Old Style" panose="02050604050505020204" pitchFamily="18" charset="0"/>
              </a:rPr>
              <a:t> </a:t>
            </a:r>
          </a:p>
        </p:txBody>
      </p:sp>
      <p:sp>
        <p:nvSpPr>
          <p:cNvPr id="15" name="Rectangle 49"/>
          <p:cNvSpPr>
            <a:spLocks noChangeArrowheads="1"/>
          </p:cNvSpPr>
          <p:nvPr/>
        </p:nvSpPr>
        <p:spPr bwMode="auto">
          <a:xfrm>
            <a:off x="2172022" y="3002924"/>
            <a:ext cx="2282825" cy="958850"/>
          </a:xfrm>
          <a:prstGeom prst="rect">
            <a:avLst/>
          </a:prstGeom>
          <a:solidFill>
            <a:schemeClr val="bg1"/>
          </a:solidFill>
          <a:ln w="9525">
            <a:solidFill>
              <a:schemeClr val="accent1"/>
            </a:solidFill>
            <a:prstDash val="sysDot"/>
            <a:miter lim="800000"/>
          </a:ln>
        </p:spPr>
        <p:txBody>
          <a:bodyPr>
            <a:spAutoFit/>
          </a:bodyPr>
          <a:lstStyle/>
          <a:p>
            <a:pPr algn="ctr">
              <a:lnSpc>
                <a:spcPct val="120000"/>
              </a:lnSpc>
              <a:spcBef>
                <a:spcPts val="865"/>
              </a:spcBef>
            </a:pPr>
            <a:r>
              <a:rPr lang="zh-CN" altLang="en-US" sz="1100" b="1" dirty="0">
                <a:solidFill>
                  <a:srgbClr val="00B0F0"/>
                </a:solidFill>
                <a:latin typeface="Bookman Old Style" panose="02050604050505020204" pitchFamily="18" charset="0"/>
              </a:rPr>
              <a:t>令人惊叹的遗址遗迹</a:t>
            </a:r>
          </a:p>
          <a:p>
            <a:pPr algn="ctr">
              <a:spcBef>
                <a:spcPts val="865"/>
              </a:spcBef>
            </a:pPr>
            <a:r>
              <a:rPr lang="zh-CN" altLang="en-US" sz="1200" b="1" dirty="0">
                <a:solidFill>
                  <a:srgbClr val="000000"/>
                </a:solidFill>
                <a:latin typeface="Bookman Old Style" panose="02050604050505020204" pitchFamily="18" charset="0"/>
              </a:rPr>
              <a:t>皇城、宫殿、露天剧场、古城堡、中世纪城镇，著名的烹饪艺术和手工业</a:t>
            </a:r>
          </a:p>
        </p:txBody>
      </p:sp>
      <p:pic>
        <p:nvPicPr>
          <p:cNvPr id="24" name="Picture 3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484" y="3763963"/>
            <a:ext cx="1703388" cy="1244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16"/>
          <p:cNvSpPr>
            <a:spLocks noChangeArrowheads="1"/>
          </p:cNvSpPr>
          <p:nvPr/>
        </p:nvSpPr>
        <p:spPr bwMode="auto">
          <a:xfrm>
            <a:off x="4634552" y="1426210"/>
            <a:ext cx="2268537" cy="847090"/>
          </a:xfrm>
          <a:prstGeom prst="rect">
            <a:avLst/>
          </a:prstGeom>
          <a:solidFill>
            <a:schemeClr val="bg1"/>
          </a:solidFill>
          <a:ln w="9525">
            <a:solidFill>
              <a:schemeClr val="accent1"/>
            </a:solidFill>
            <a:prstDash val="sysDot"/>
            <a:miter lim="800000"/>
          </a:ln>
        </p:spPr>
        <p:txBody>
          <a:bodyPr>
            <a:spAutoFit/>
          </a:bodyPr>
          <a:lstStyle/>
          <a:p>
            <a:pPr algn="ctr">
              <a:lnSpc>
                <a:spcPct val="120000"/>
              </a:lnSpc>
              <a:spcBef>
                <a:spcPts val="865"/>
              </a:spcBef>
            </a:pPr>
            <a:r>
              <a:rPr lang="zh-CN" altLang="en-US" sz="1100" b="1" dirty="0">
                <a:solidFill>
                  <a:srgbClr val="00B0F0"/>
                </a:solidFill>
                <a:latin typeface="Bookman Old Style" panose="02050604050505020204" pitchFamily="18" charset="0"/>
              </a:rPr>
              <a:t>充满活力的多元文化</a:t>
            </a:r>
          </a:p>
          <a:p>
            <a:pPr algn="ctr">
              <a:lnSpc>
                <a:spcPct val="120000"/>
              </a:lnSpc>
              <a:spcBef>
                <a:spcPts val="865"/>
              </a:spcBef>
            </a:pPr>
            <a:r>
              <a:rPr lang="zh-CN" altLang="en-US" sz="1200" b="1" dirty="0">
                <a:solidFill>
                  <a:srgbClr val="000000"/>
                </a:solidFill>
                <a:latin typeface="Bookman Old Style" panose="02050604050505020204" pitchFamily="18" charset="0"/>
              </a:rPr>
              <a:t>受非洲和欧洲影响而形成的独特的摩尔文化</a:t>
            </a:r>
            <a:r>
              <a:rPr lang="en-US" altLang="fr-FR" sz="1200" b="1" dirty="0">
                <a:solidFill>
                  <a:srgbClr val="000000"/>
                </a:solidFill>
                <a:latin typeface="Bookman Old Style" panose="02050604050505020204" pitchFamily="18" charset="0"/>
              </a:rPr>
              <a:t> </a:t>
            </a:r>
          </a:p>
        </p:txBody>
      </p:sp>
      <p:sp>
        <p:nvSpPr>
          <p:cNvPr id="27" name="Rectangle 14"/>
          <p:cNvSpPr>
            <a:spLocks noChangeArrowheads="1"/>
          </p:cNvSpPr>
          <p:nvPr/>
        </p:nvSpPr>
        <p:spPr bwMode="auto">
          <a:xfrm>
            <a:off x="2172022" y="4475163"/>
            <a:ext cx="2289175" cy="1068070"/>
          </a:xfrm>
          <a:prstGeom prst="rect">
            <a:avLst/>
          </a:prstGeom>
          <a:solidFill>
            <a:schemeClr val="bg1"/>
          </a:solidFill>
          <a:ln w="9525">
            <a:solidFill>
              <a:schemeClr val="accent1"/>
            </a:solidFill>
            <a:prstDash val="sysDot"/>
            <a:miter lim="800000"/>
          </a:ln>
        </p:spPr>
        <p:txBody>
          <a:bodyPr>
            <a:spAutoFit/>
          </a:bodyPr>
          <a:lstStyle/>
          <a:p>
            <a:pPr algn="ctr">
              <a:lnSpc>
                <a:spcPct val="120000"/>
              </a:lnSpc>
              <a:spcBef>
                <a:spcPts val="865"/>
              </a:spcBef>
            </a:pPr>
            <a:r>
              <a:rPr lang="zh-CN" altLang="en-US" sz="1100" b="1" dirty="0">
                <a:solidFill>
                  <a:srgbClr val="00B0F0"/>
                </a:solidFill>
                <a:latin typeface="Bookman Old Style" panose="02050604050505020204" pitchFamily="18" charset="0"/>
              </a:rPr>
              <a:t>热情好客</a:t>
            </a:r>
            <a:endParaRPr lang="en-US" altLang="fr-FR" sz="1200" b="1" dirty="0">
              <a:solidFill>
                <a:srgbClr val="000000"/>
              </a:solidFill>
              <a:latin typeface="Bookman Old Style" panose="02050604050505020204" pitchFamily="18" charset="0"/>
            </a:endParaRPr>
          </a:p>
          <a:p>
            <a:pPr algn="ctr">
              <a:lnSpc>
                <a:spcPct val="120000"/>
              </a:lnSpc>
              <a:spcBef>
                <a:spcPts val="865"/>
              </a:spcBef>
            </a:pPr>
            <a:r>
              <a:rPr lang="zh-CN" altLang="en-US" sz="1200" b="1" dirty="0">
                <a:solidFill>
                  <a:srgbClr val="000000"/>
                </a:solidFill>
                <a:latin typeface="Bookman Old Style" panose="02050604050505020204" pitchFamily="18" charset="0"/>
              </a:rPr>
              <a:t>据</a:t>
            </a:r>
            <a:r>
              <a:rPr lang="en-US" altLang="fr-FR" sz="1200" b="1" dirty="0">
                <a:solidFill>
                  <a:srgbClr val="000000"/>
                </a:solidFill>
                <a:latin typeface="Bookman Old Style" panose="02050604050505020204" pitchFamily="18" charset="0"/>
              </a:rPr>
              <a:t>《华盛顿邮报》</a:t>
            </a:r>
            <a:r>
              <a:rPr lang="zh-CN" altLang="en-US" sz="1200" b="1" dirty="0">
                <a:solidFill>
                  <a:srgbClr val="000000"/>
                </a:solidFill>
                <a:latin typeface="Bookman Old Style" panose="02050604050505020204" pitchFamily="18" charset="0"/>
              </a:rPr>
              <a:t>报道，摩洛哥是世界上最受欢迎的三个国家之一。</a:t>
            </a:r>
          </a:p>
        </p:txBody>
      </p:sp>
      <p:pic>
        <p:nvPicPr>
          <p:cNvPr id="28" name="Picture 4" descr="http://www.aitayoub-voyages.com/wp-content/uploads/2013/10/31/le-the-marocain-avec-le-gateau-jaime/the-marocaine-images.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2484" y="5072063"/>
            <a:ext cx="1635125"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6" descr="http://www.kasbahdutoubkal.com/i/tours/marrakech/remparts.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484" y="1292225"/>
            <a:ext cx="1703388" cy="114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17"/>
          <p:cNvSpPr>
            <a:spLocks noChangeArrowheads="1"/>
          </p:cNvSpPr>
          <p:nvPr/>
        </p:nvSpPr>
        <p:spPr bwMode="auto">
          <a:xfrm>
            <a:off x="4637092" y="2893378"/>
            <a:ext cx="2268537" cy="1068070"/>
          </a:xfrm>
          <a:prstGeom prst="rect">
            <a:avLst/>
          </a:prstGeom>
          <a:solidFill>
            <a:schemeClr val="bg1"/>
          </a:solidFill>
          <a:ln w="9525">
            <a:solidFill>
              <a:schemeClr val="accent1"/>
            </a:solidFill>
            <a:prstDash val="sysDot"/>
            <a:miter lim="800000"/>
          </a:ln>
        </p:spPr>
        <p:txBody>
          <a:bodyPr>
            <a:spAutoFit/>
          </a:bodyPr>
          <a:lstStyle/>
          <a:p>
            <a:pPr algn="ctr">
              <a:lnSpc>
                <a:spcPct val="120000"/>
              </a:lnSpc>
              <a:spcBef>
                <a:spcPts val="865"/>
              </a:spcBef>
            </a:pPr>
            <a:r>
              <a:rPr lang="zh-CN" altLang="en-US" sz="1100" b="1" dirty="0">
                <a:solidFill>
                  <a:srgbClr val="00B0F0"/>
                </a:solidFill>
                <a:latin typeface="Bookman Old Style" panose="02050604050505020204" pitchFamily="18" charset="0"/>
              </a:rPr>
              <a:t>美丽的风景</a:t>
            </a:r>
            <a:endParaRPr lang="en-US" altLang="fr-FR" sz="1200" b="1" dirty="0">
              <a:solidFill>
                <a:srgbClr val="000000"/>
              </a:solidFill>
              <a:latin typeface="Bookman Old Style" panose="02050604050505020204" pitchFamily="18" charset="0"/>
            </a:endParaRPr>
          </a:p>
          <a:p>
            <a:pPr algn="ctr">
              <a:lnSpc>
                <a:spcPct val="120000"/>
              </a:lnSpc>
              <a:spcBef>
                <a:spcPts val="865"/>
              </a:spcBef>
            </a:pPr>
            <a:r>
              <a:rPr lang="en-US" altLang="fr-FR" sz="1200" b="1" dirty="0">
                <a:solidFill>
                  <a:srgbClr val="000000"/>
                </a:solidFill>
                <a:latin typeface="Bookman Old Style" panose="02050604050505020204" pitchFamily="18" charset="0"/>
              </a:rPr>
              <a:t>3500</a:t>
            </a:r>
            <a:r>
              <a:rPr lang="zh-CN" altLang="en-US" sz="1200" b="1" dirty="0">
                <a:solidFill>
                  <a:srgbClr val="000000"/>
                </a:solidFill>
                <a:latin typeface="Bookman Old Style" panose="02050604050505020204" pitchFamily="18" charset="0"/>
              </a:rPr>
              <a:t>公里的海岸线、河流和湖泊、阿特拉斯山脉、沙哈拉沙漠</a:t>
            </a:r>
          </a:p>
        </p:txBody>
      </p:sp>
      <p:sp>
        <p:nvSpPr>
          <p:cNvPr id="31" name="Rectangle 18"/>
          <p:cNvSpPr>
            <a:spLocks noChangeArrowheads="1"/>
          </p:cNvSpPr>
          <p:nvPr/>
        </p:nvSpPr>
        <p:spPr bwMode="auto">
          <a:xfrm>
            <a:off x="4637409" y="4475163"/>
            <a:ext cx="2265363" cy="1068070"/>
          </a:xfrm>
          <a:prstGeom prst="rect">
            <a:avLst/>
          </a:prstGeom>
          <a:solidFill>
            <a:schemeClr val="bg1"/>
          </a:solidFill>
          <a:ln w="9525">
            <a:solidFill>
              <a:schemeClr val="accent1"/>
            </a:solidFill>
            <a:prstDash val="sysDot"/>
            <a:miter lim="800000"/>
          </a:ln>
        </p:spPr>
        <p:txBody>
          <a:bodyPr>
            <a:spAutoFit/>
          </a:bodyPr>
          <a:lstStyle/>
          <a:p>
            <a:pPr algn="ctr">
              <a:lnSpc>
                <a:spcPct val="120000"/>
              </a:lnSpc>
              <a:spcBef>
                <a:spcPts val="865"/>
              </a:spcBef>
            </a:pPr>
            <a:r>
              <a:rPr lang="zh-CN" altLang="en-US" sz="1100" b="1" dirty="0">
                <a:solidFill>
                  <a:srgbClr val="00B0F0"/>
                </a:solidFill>
                <a:latin typeface="Bookman Old Style" panose="02050604050505020204" pitchFamily="18" charset="0"/>
              </a:rPr>
              <a:t>全球知名品牌</a:t>
            </a:r>
          </a:p>
          <a:p>
            <a:pPr algn="ctr">
              <a:lnSpc>
                <a:spcPct val="120000"/>
              </a:lnSpc>
              <a:spcBef>
                <a:spcPts val="865"/>
              </a:spcBef>
            </a:pPr>
            <a:r>
              <a:rPr lang="zh-CN" altLang="en-US" sz="1200" b="1" dirty="0">
                <a:solidFill>
                  <a:srgbClr val="000000"/>
                </a:solidFill>
                <a:latin typeface="Bookman Old Style" panose="02050604050505020204" pitchFamily="18" charset="0"/>
              </a:rPr>
              <a:t>谁从未听说过卡萨布兰卡、马拉喀什、摩洛哥薄荷茶和库斯库斯（</a:t>
            </a:r>
            <a:r>
              <a:rPr lang="en-US" altLang="fr-FR" sz="1200" b="1" dirty="0">
                <a:solidFill>
                  <a:srgbClr val="000000"/>
                </a:solidFill>
                <a:latin typeface="Bookman Old Style" panose="02050604050505020204" pitchFamily="18" charset="0"/>
                <a:sym typeface="+mn-ea"/>
              </a:rPr>
              <a:t>Couscous</a:t>
            </a:r>
            <a:r>
              <a:rPr lang="zh-CN" altLang="en-US" sz="1200" b="1" dirty="0">
                <a:solidFill>
                  <a:srgbClr val="000000"/>
                </a:solidFill>
                <a:latin typeface="Bookman Old Style" panose="02050604050505020204" pitchFamily="18" charset="0"/>
                <a:sym typeface="+mn-ea"/>
              </a:rPr>
              <a:t>）</a:t>
            </a:r>
            <a:r>
              <a:rPr lang="zh-CN" altLang="en-US" sz="1200" b="1" dirty="0">
                <a:solidFill>
                  <a:srgbClr val="000000"/>
                </a:solidFill>
                <a:latin typeface="Bookman Old Style" panose="02050604050505020204" pitchFamily="18" charset="0"/>
              </a:rPr>
              <a:t>呢？</a:t>
            </a:r>
          </a:p>
        </p:txBody>
      </p:sp>
      <p:pic>
        <p:nvPicPr>
          <p:cNvPr id="32" name="Picture 30" descr="http://www.bladna.nl/IMG/arton7899.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5022" y="1284288"/>
            <a:ext cx="169545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31372" y="2519363"/>
            <a:ext cx="167322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4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8297" y="5127625"/>
            <a:ext cx="1701800" cy="1011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50" descr="C:\Users\smikram\Desktop\dakhla-maroc.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26609" y="3798888"/>
            <a:ext cx="1668463" cy="111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XdIh8jSUKUNVQ1z3P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2esbnR5UK.Z.CebQNt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2esbnR5UK.Z.CebQNt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Y_xB4HUD0KwuaT.bIz.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PLh5vMH0WjfEIQM.Aq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rPLh5vMH0WjfEIQM.Aq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rPLh5vMH0WjfEIQM.Aq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pcAONMnmkKJd.keP4hJ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8AQnCbW0UejZ.I_sJIx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8AQnCbW0UejZ.I_sJIx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8AQnCbW0UejZ.I_sJIx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fqRtpQULEafH_HSgp8v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KRGYDc5wEKndYWCtNZf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RnuTnII3EeCBK4g3_vt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ebCKKnQ70eMcoTPUscF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J4Gqs_ZV0WCmDcgjdxJ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zcFC_X4hk2ZcMxh0h7g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8ztr.d.nEG3_fynghbt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xWZ8IRcEEOUAkKEcKpm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ykN59F2A0WxuEUnVHwb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NTkyWzI2EKABr4Awc5g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8AQnCbW0UejZ.I_sJIx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C6.qaTyyE2zOu.Dvdss2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AWWcMRrE0eYm2HZv8yq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yqSuPL06kySFZ56SnJR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U5P5fhV4Ua3vDBrRGjy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mXqPQlO00mRfK_OiHXd3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TXeSNlc0kuS4MRUiyjo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8AQnCbW0UejZ.I_sJIx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8AQnCbW0UejZ.I_sJIx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Y_xB4HUD0KwuaT.bI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wZ7TLcj5kmRTskqLe5rn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TotalTime>
  <Words>1733</Words>
  <Application>Microsoft Office PowerPoint</Application>
  <PresentationFormat>全屏显示(4:3)</PresentationFormat>
  <Paragraphs>256</Paragraphs>
  <Slides>20</Slides>
  <Notes>7</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0</vt:i4>
      </vt:variant>
    </vt:vector>
  </HeadingPairs>
  <TitlesOfParts>
    <vt:vector size="22" baseType="lpstr">
      <vt:lpstr>Thème Offic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欢迎联系我们！ 摩洛哥旅游发展署（SMIT）：助您在摩洛哥获得成功的好伙伴</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Nada</dc:creator>
  <cp:lastModifiedBy>juliacbn</cp:lastModifiedBy>
  <cp:revision>199</cp:revision>
  <dcterms:created xsi:type="dcterms:W3CDTF">2017-06-08T10:53:00Z</dcterms:created>
  <dcterms:modified xsi:type="dcterms:W3CDTF">2017-10-13T09:5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749</vt:lpwstr>
  </property>
</Properties>
</file>